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comments/modernComment_122_BA528485.xml" ContentType="application/vnd.ms-powerpoint.comment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221" r:id="rId4"/>
  </p:sldMasterIdLst>
  <p:notesMasterIdLst>
    <p:notesMasterId r:id="rId102"/>
  </p:notesMasterIdLst>
  <p:sldIdLst>
    <p:sldId id="2147483634" r:id="rId5"/>
    <p:sldId id="326" r:id="rId6"/>
    <p:sldId id="257" r:id="rId7"/>
    <p:sldId id="2147483647" r:id="rId8"/>
    <p:sldId id="323" r:id="rId9"/>
    <p:sldId id="282" r:id="rId10"/>
    <p:sldId id="284" r:id="rId11"/>
    <p:sldId id="285" r:id="rId12"/>
    <p:sldId id="283" r:id="rId13"/>
    <p:sldId id="2147483643" r:id="rId14"/>
    <p:sldId id="320" r:id="rId15"/>
    <p:sldId id="2147483646" r:id="rId16"/>
    <p:sldId id="258" r:id="rId17"/>
    <p:sldId id="2147483642" r:id="rId18"/>
    <p:sldId id="321" r:id="rId19"/>
    <p:sldId id="322" r:id="rId20"/>
    <p:sldId id="324" r:id="rId21"/>
    <p:sldId id="271" r:id="rId22"/>
    <p:sldId id="2147483618" r:id="rId23"/>
    <p:sldId id="2147483620" r:id="rId24"/>
    <p:sldId id="2147483621" r:id="rId25"/>
    <p:sldId id="2147483619" r:id="rId26"/>
    <p:sldId id="261" r:id="rId27"/>
    <p:sldId id="262" r:id="rId28"/>
    <p:sldId id="325" r:id="rId29"/>
    <p:sldId id="327" r:id="rId30"/>
    <p:sldId id="328" r:id="rId31"/>
    <p:sldId id="329" r:id="rId32"/>
    <p:sldId id="330" r:id="rId33"/>
    <p:sldId id="331" r:id="rId34"/>
    <p:sldId id="332" r:id="rId35"/>
    <p:sldId id="333" r:id="rId36"/>
    <p:sldId id="334" r:id="rId37"/>
    <p:sldId id="335" r:id="rId38"/>
    <p:sldId id="2147483635" r:id="rId39"/>
    <p:sldId id="2147483636" r:id="rId40"/>
    <p:sldId id="2147483637" r:id="rId41"/>
    <p:sldId id="2147483638" r:id="rId42"/>
    <p:sldId id="2147483639" r:id="rId43"/>
    <p:sldId id="256" r:id="rId44"/>
    <p:sldId id="2147483640" r:id="rId45"/>
    <p:sldId id="2147483641" r:id="rId46"/>
    <p:sldId id="2147483644" r:id="rId47"/>
    <p:sldId id="276" r:id="rId48"/>
    <p:sldId id="263" r:id="rId49"/>
    <p:sldId id="264" r:id="rId50"/>
    <p:sldId id="265" r:id="rId51"/>
    <p:sldId id="275" r:id="rId52"/>
    <p:sldId id="266" r:id="rId53"/>
    <p:sldId id="274" r:id="rId54"/>
    <p:sldId id="286" r:id="rId55"/>
    <p:sldId id="281" r:id="rId56"/>
    <p:sldId id="259" r:id="rId57"/>
    <p:sldId id="280" r:id="rId58"/>
    <p:sldId id="260" r:id="rId59"/>
    <p:sldId id="267" r:id="rId60"/>
    <p:sldId id="268" r:id="rId61"/>
    <p:sldId id="288" r:id="rId62"/>
    <p:sldId id="269" r:id="rId63"/>
    <p:sldId id="270" r:id="rId64"/>
    <p:sldId id="272" r:id="rId65"/>
    <p:sldId id="273" r:id="rId66"/>
    <p:sldId id="277" r:id="rId67"/>
    <p:sldId id="278" r:id="rId68"/>
    <p:sldId id="279" r:id="rId69"/>
    <p:sldId id="287" r:id="rId70"/>
    <p:sldId id="290" r:id="rId71"/>
    <p:sldId id="294" r:id="rId72"/>
    <p:sldId id="292" r:id="rId73"/>
    <p:sldId id="293" r:id="rId74"/>
    <p:sldId id="291" r:id="rId75"/>
    <p:sldId id="311" r:id="rId76"/>
    <p:sldId id="310" r:id="rId77"/>
    <p:sldId id="308" r:id="rId78"/>
    <p:sldId id="295" r:id="rId79"/>
    <p:sldId id="309" r:id="rId80"/>
    <p:sldId id="312" r:id="rId81"/>
    <p:sldId id="313" r:id="rId82"/>
    <p:sldId id="314" r:id="rId83"/>
    <p:sldId id="316" r:id="rId84"/>
    <p:sldId id="317" r:id="rId85"/>
    <p:sldId id="318" r:id="rId86"/>
    <p:sldId id="315" r:id="rId87"/>
    <p:sldId id="319" r:id="rId88"/>
    <p:sldId id="296" r:id="rId89"/>
    <p:sldId id="297" r:id="rId90"/>
    <p:sldId id="298" r:id="rId91"/>
    <p:sldId id="299" r:id="rId92"/>
    <p:sldId id="300" r:id="rId93"/>
    <p:sldId id="301" r:id="rId94"/>
    <p:sldId id="302" r:id="rId95"/>
    <p:sldId id="303" r:id="rId96"/>
    <p:sldId id="304" r:id="rId97"/>
    <p:sldId id="305" r:id="rId98"/>
    <p:sldId id="306" r:id="rId99"/>
    <p:sldId id="307" r:id="rId100"/>
    <p:sldId id="289" r:id="rId10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2DC9EF5-8BF0-DE4E-9785-C6BB5EC20885}">
          <p14:sldIdLst>
            <p14:sldId id="2147483634"/>
            <p14:sldId id="326"/>
            <p14:sldId id="257"/>
            <p14:sldId id="2147483647"/>
            <p14:sldId id="323"/>
            <p14:sldId id="282"/>
            <p14:sldId id="284"/>
            <p14:sldId id="285"/>
            <p14:sldId id="283"/>
            <p14:sldId id="2147483643"/>
            <p14:sldId id="320"/>
            <p14:sldId id="2147483646"/>
            <p14:sldId id="258"/>
            <p14:sldId id="2147483642"/>
            <p14:sldId id="321"/>
            <p14:sldId id="322"/>
            <p14:sldId id="324"/>
            <p14:sldId id="271"/>
            <p14:sldId id="2147483618"/>
            <p14:sldId id="2147483620"/>
            <p14:sldId id="2147483621"/>
            <p14:sldId id="2147483619"/>
            <p14:sldId id="261"/>
            <p14:sldId id="262"/>
            <p14:sldId id="325"/>
            <p14:sldId id="327"/>
            <p14:sldId id="328"/>
            <p14:sldId id="329"/>
            <p14:sldId id="330"/>
            <p14:sldId id="331"/>
            <p14:sldId id="332"/>
            <p14:sldId id="333"/>
            <p14:sldId id="334"/>
            <p14:sldId id="335"/>
            <p14:sldId id="2147483635"/>
            <p14:sldId id="2147483636"/>
            <p14:sldId id="2147483637"/>
            <p14:sldId id="2147483638"/>
            <p14:sldId id="2147483639"/>
            <p14:sldId id="256"/>
            <p14:sldId id="2147483640"/>
            <p14:sldId id="2147483641"/>
            <p14:sldId id="2147483644"/>
            <p14:sldId id="276"/>
            <p14:sldId id="263"/>
            <p14:sldId id="264"/>
            <p14:sldId id="265"/>
            <p14:sldId id="275"/>
            <p14:sldId id="266"/>
            <p14:sldId id="274"/>
            <p14:sldId id="286"/>
            <p14:sldId id="281"/>
            <p14:sldId id="259"/>
            <p14:sldId id="280"/>
            <p14:sldId id="260"/>
            <p14:sldId id="267"/>
            <p14:sldId id="268"/>
            <p14:sldId id="288"/>
            <p14:sldId id="269"/>
            <p14:sldId id="270"/>
            <p14:sldId id="272"/>
            <p14:sldId id="273"/>
            <p14:sldId id="277"/>
            <p14:sldId id="278"/>
            <p14:sldId id="279"/>
            <p14:sldId id="287"/>
            <p14:sldId id="290"/>
            <p14:sldId id="294"/>
            <p14:sldId id="292"/>
            <p14:sldId id="293"/>
            <p14:sldId id="291"/>
            <p14:sldId id="311"/>
            <p14:sldId id="310"/>
            <p14:sldId id="308"/>
            <p14:sldId id="295"/>
            <p14:sldId id="309"/>
            <p14:sldId id="312"/>
            <p14:sldId id="313"/>
            <p14:sldId id="314"/>
            <p14:sldId id="316"/>
            <p14:sldId id="317"/>
            <p14:sldId id="318"/>
            <p14:sldId id="315"/>
            <p14:sldId id="319"/>
            <p14:sldId id="296"/>
            <p14:sldId id="297"/>
            <p14:sldId id="298"/>
            <p14:sldId id="299"/>
            <p14:sldId id="300"/>
            <p14:sldId id="301"/>
            <p14:sldId id="302"/>
            <p14:sldId id="303"/>
            <p14:sldId id="304"/>
            <p14:sldId id="305"/>
            <p14:sldId id="306"/>
            <p14:sldId id="307"/>
            <p14:sldId id="289"/>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F34B127-DC9C-9208-79E6-B13060635417}" name="Clement, Sameer" initials="" userId="S::sameer.clement@accenture.com::58753c9b-5dc5-45b7-8050-17a1d4e9bc12" providerId="AD"/>
  <p188:author id="{05F7462A-B1D9-58C0-EF52-4D2CE2AE11E9}" name="Prost, Camille" initials="CP" userId="S::c.prost@accenture.com::ca17ae6d-6b55-4d0f-a0b1-c65c88c7767b" providerId="AD"/>
  <p188:author id="{5685C42D-7DAB-D452-1E4E-3601804FF82F}" name="Poletto, Cori" initials="CP" userId="S::cori.poletto@accenture.com::b0e98f4b-0cad-42b5-90b3-0f8c73098950" providerId="AD"/>
  <p188:author id="{7A7CFA2E-A2F2-BFDC-3A09-7672F153BEE0}" name="Nagaraj, Rohith Y." initials="RN" userId="S::rohith.y.nagaraj@accenture.com::64d4a951-68af-4007-bff9-37ecd8414f79" providerId="AD"/>
  <p188:author id="{ABA0D43A-11BD-3C01-0E68-E5C0AC09AD2E}" name="Cherla Sastry, Anita" initials="" userId="S::anita.cherla.sastry@accenture.com::15a55b78-f0f4-4139-9d5a-7feaf9ae9c17" providerId="AD"/>
  <p188:author id="{D8D74E3D-30C6-7442-68AD-15530A463359}" name="Sinha, Priya P." initials="PS" userId="S::priya.p.sinha@accenture.com::1aef568c-8aa9-4fd9-a60d-e99199b9af77" providerId="AD"/>
  <p188:author id="{7D80473F-2FB5-28EB-BF6D-EB6273B43943}" name="McGinty, Mary E." initials="MM" userId="S::mary.e.mcginty@accenture.com::d93ac263-90d4-4e7d-9f4b-38cfc92dc021" providerId="AD"/>
  <p188:author id="{36C54B3F-C7A1-D21E-5C86-36CF7EBB079C}" name="Robinson, Tricia" initials="" userId="S::patricia.h.robinson@accenture.com::75334238-9b08-457c-89b7-3f1550102490" providerId="AD"/>
  <p188:author id="{A43D0E44-EE28-1E57-93BE-26CFF4B328D0}" name="Robillard, Nate" initials="" userId="S::nate.robillard@accenture.com::fdf0dace-6c89-456e-9595-0f30d5e2b8c9" providerId="AD"/>
  <p188:author id="{A4396D4E-2E97-A37C-4A05-85D3F1DE4111}" name="Nagar, Keertana" initials="" userId="S::keertana.nagar@accenture.com::fc2e723e-01e4-4fbc-9d4e-02e174ec4835" providerId="AD"/>
  <p188:author id="{40F2F54F-E3BB-C19C-C6ED-6C8FAB86F3B7}" name="Fausti, Alex" initials="AF" userId="S::alexander.d.fausti@accenture.com::d352ed2c-026b-474e-a06d-9ccadd0e0be1" providerId="AD"/>
  <p188:author id="{FEAAF64F-E874-EDCD-1562-EE3493A027AE}" name="Sereiva, Kestas" initials="" userId="S::kestas.sereiva@accenture.com::31748224-2acf-4815-9886-6b2b5515c8b0" providerId="AD"/>
  <p188:author id="{077AE65A-7286-17DC-7F82-40A78205EBF4}" name="Engelson, Robin L." initials="" userId="S::robin.l.engelson@accenture.com::f63fb5bf-af77-4f05-9ef8-6f7a6fd3ba6f" providerId="AD"/>
  <p188:author id="{A080F563-5A10-E83D-8C4B-644EC0B37924}" name="Nomeli, Mo" initials="" userId="S::mo.nomeli@accenture.com::03501b65-0e27-4b56-8c1f-6f5a4f41fafa" providerId="AD"/>
  <p188:author id="{702E8064-6A6C-EC41-BBDF-04EB9BDFB986}" name="Srivastava, Padmini" initials="PS" userId="S::padmini.srivastava@accenture.com::e51f3245-f55f-4c95-90f9-7602598519de" providerId="AD"/>
  <p188:author id="{64B7246B-3BEB-6613-C506-C2A1484AF74B}" name="Jones, Rebecca" initials="JR" userId="S::rebecca.g.jones@accenture.com::f8354457-7cd7-4c6e-8666-ccb0753073f5" providerId="AD"/>
  <p188:author id="{BFAA8E6E-7786-1758-EC03-8273A8517198}" name="Sarao, Smita K." initials="SS" userId="S::smita.k.sarao@accenture.com::a35d0601-6d3b-4ad1-a9a6-705a037bf31f" providerId="AD"/>
  <p188:author id="{0679A59A-0685-77AE-DE69-8F395627D295}" name="Kevin Jesse" initials="KJ" userId="65c4901a5c01efbf" providerId="Windows Live"/>
  <p188:author id="{D3F279A1-2ED3-D0CD-2991-F4D0B1BB8220}" name="Tully, Kate" initials="KT" userId="S::katherine.tully@accenture.com::7471695e-d9aa-4c32-8696-c53907f88269" providerId="AD"/>
  <p188:author id="{19CB69B9-5919-29DE-EAA3-4929D3D02039}" name="Sandhu, Isha" initials="SI" userId="S::isha.sandhu@accenture.com::6ead9ed1-d099-445b-ad7a-7a043c47ddab" providerId="AD"/>
  <p188:author id="{4CDD18CB-7263-D83D-3C03-6D38F0EEC10B}" name="Jesse, Kevin" initials="KJ" userId="S::kevin.jesse@accenture.com::6f05423f-cf98-4c12-b626-169f8a1317c4" providerId="AD"/>
  <p188:author id="{49FAE5CF-9AB0-5BA6-DB34-DF5CE772BB7B}" name="Bohra, Dhiren" initials="DB" userId="S::dhiren.a.bohra@accenture.com::e828a787-bc1b-4841-b3f7-e08fb27aa4a2" providerId="AD"/>
  <p188:author id="{4096C0D1-148F-9FD8-24CC-3F2C7E2D87C1}" name="Gault, Ryan" initials="" userId="S::ryan.gault@accenture.com::295d7207-ba90-4abb-aa0b-d9b52efcdb6b" providerId="AD"/>
  <p188:author id="{497E17ED-86D1-9B3D-0364-38FCF83E8ED2}" name="Kestas Sereiva" initials="K.S." userId="Kestas Sereiva" providerId="None"/>
  <p188:author id="{6DA545F2-12D2-B6E2-AFCE-E39E891D5BFC}" name="Heighes, Sahil" initials="" userId="S::sahil.heighes@accenture.com::6ef8b58c-d5b5-473f-8202-fb109a3b7016" providerId="AD"/>
  <p188:author id="{885768F8-D4D3-C664-82B3-099CA8E69561}" name="Yu, Kenneth" initials="" userId="S::kenneth.yu@accenture.com::7cd7bb62-fdba-460d-bdb6-7b6116c4a00d"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E3A4FF"/>
    <a:srgbClr val="A055F5"/>
    <a:srgbClr val="004B3C"/>
    <a:srgbClr val="006450"/>
    <a:srgbClr val="91CFA9"/>
    <a:srgbClr val="C2E2D6"/>
    <a:srgbClr val="000000"/>
    <a:srgbClr val="008555"/>
    <a:srgbClr val="231F20"/>
    <a:srgbClr val="99CE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8DBCD6C-6385-3C41-AE0F-2D6468ED360B}" v="1114" dt="2025-08-21T20:59:38.90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6" Type="http://schemas.openxmlformats.org/officeDocument/2006/relationships/slide" Target="slides/slide12.xml"/><Relationship Id="rId107" Type="http://schemas.microsoft.com/office/2016/11/relationships/changesInfo" Target="changesInfos/changesInfo1.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notesMaster" Target="notesMasters/notesMaster1.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presProps" Target="presProps.xml"/><Relationship Id="rId108" Type="http://schemas.microsoft.com/office/2015/10/relationships/revisionInfo" Target="revisionInfo.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6" Type="http://schemas.openxmlformats.org/officeDocument/2006/relationships/tableStyles" Target="tableStyle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microsoft.com/office/2018/10/relationships/authors" Target="authors.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viewProps" Target="viewProps.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esse, Kevin" userId="6f05423f-cf98-4c12-b626-169f8a1317c4" providerId="ADAL" clId="{8DE3E814-5BCB-9E42-A0EA-A26EDC1C9D22}"/>
    <pc:docChg chg="undo redo custSel addSld delSld modSld sldOrd addMainMaster delMainMaster modMainMaster addSection delSection modSection">
      <pc:chgData name="Jesse, Kevin" userId="6f05423f-cf98-4c12-b626-169f8a1317c4" providerId="ADAL" clId="{8DE3E814-5BCB-9E42-A0EA-A26EDC1C9D22}" dt="2025-06-19T20:34:36.777" v="28058" actId="20577"/>
      <pc:docMkLst>
        <pc:docMk/>
      </pc:docMkLst>
      <pc:sldChg chg="modSp new mod">
        <pc:chgData name="Jesse, Kevin" userId="6f05423f-cf98-4c12-b626-169f8a1317c4" providerId="ADAL" clId="{8DE3E814-5BCB-9E42-A0EA-A26EDC1C9D22}" dt="2025-05-22T00:19:09.015" v="10122" actId="255"/>
        <pc:sldMkLst>
          <pc:docMk/>
          <pc:sldMk cId="1680333029" sldId="258"/>
        </pc:sldMkLst>
      </pc:sldChg>
      <pc:sldChg chg="modSp add mod">
        <pc:chgData name="Jesse, Kevin" userId="6f05423f-cf98-4c12-b626-169f8a1317c4" providerId="ADAL" clId="{8DE3E814-5BCB-9E42-A0EA-A26EDC1C9D22}" dt="2025-05-23T19:51:55.130" v="10152" actId="20577"/>
        <pc:sldMkLst>
          <pc:docMk/>
          <pc:sldMk cId="2033996445" sldId="259"/>
        </pc:sldMkLst>
      </pc:sldChg>
      <pc:sldChg chg="modSp add mod">
        <pc:chgData name="Jesse, Kevin" userId="6f05423f-cf98-4c12-b626-169f8a1317c4" providerId="ADAL" clId="{8DE3E814-5BCB-9E42-A0EA-A26EDC1C9D22}" dt="2025-05-23T19:52:09.802" v="10165" actId="20577"/>
        <pc:sldMkLst>
          <pc:docMk/>
          <pc:sldMk cId="1029316185" sldId="260"/>
        </pc:sldMkLst>
      </pc:sldChg>
      <pc:sldChg chg="modSp mod">
        <pc:chgData name="Jesse, Kevin" userId="6f05423f-cf98-4c12-b626-169f8a1317c4" providerId="ADAL" clId="{8DE3E814-5BCB-9E42-A0EA-A26EDC1C9D22}" dt="2025-05-21T17:13:33.664" v="2073" actId="20577"/>
        <pc:sldMkLst>
          <pc:docMk/>
          <pc:sldMk cId="3723191733" sldId="262"/>
        </pc:sldMkLst>
      </pc:sldChg>
      <pc:sldChg chg="modSp add mod">
        <pc:chgData name="Jesse, Kevin" userId="6f05423f-cf98-4c12-b626-169f8a1317c4" providerId="ADAL" clId="{8DE3E814-5BCB-9E42-A0EA-A26EDC1C9D22}" dt="2025-05-23T19:52:14.083" v="10174" actId="20577"/>
        <pc:sldMkLst>
          <pc:docMk/>
          <pc:sldMk cId="512901361" sldId="267"/>
        </pc:sldMkLst>
      </pc:sldChg>
      <pc:sldChg chg="modSp add mod">
        <pc:chgData name="Jesse, Kevin" userId="6f05423f-cf98-4c12-b626-169f8a1317c4" providerId="ADAL" clId="{8DE3E814-5BCB-9E42-A0EA-A26EDC1C9D22}" dt="2025-05-23T19:52:18.936" v="10196" actId="20577"/>
        <pc:sldMkLst>
          <pc:docMk/>
          <pc:sldMk cId="498975820" sldId="268"/>
        </pc:sldMkLst>
      </pc:sldChg>
      <pc:sldChg chg="modSp add mod">
        <pc:chgData name="Jesse, Kevin" userId="6f05423f-cf98-4c12-b626-169f8a1317c4" providerId="ADAL" clId="{8DE3E814-5BCB-9E42-A0EA-A26EDC1C9D22}" dt="2025-05-23T19:52:33.447" v="10241" actId="20577"/>
        <pc:sldMkLst>
          <pc:docMk/>
          <pc:sldMk cId="3773639313" sldId="269"/>
        </pc:sldMkLst>
      </pc:sldChg>
      <pc:sldChg chg="modSp add mod">
        <pc:chgData name="Jesse, Kevin" userId="6f05423f-cf98-4c12-b626-169f8a1317c4" providerId="ADAL" clId="{8DE3E814-5BCB-9E42-A0EA-A26EDC1C9D22}" dt="2025-05-23T19:52:52.027" v="10270" actId="20577"/>
        <pc:sldMkLst>
          <pc:docMk/>
          <pc:sldMk cId="1488655906" sldId="270"/>
        </pc:sldMkLst>
      </pc:sldChg>
      <pc:sldChg chg="addSp delSp modSp mod">
        <pc:chgData name="Jesse, Kevin" userId="6f05423f-cf98-4c12-b626-169f8a1317c4" providerId="ADAL" clId="{8DE3E814-5BCB-9E42-A0EA-A26EDC1C9D22}" dt="2025-05-23T23:33:54.396" v="10523"/>
        <pc:sldMkLst>
          <pc:docMk/>
          <pc:sldMk cId="4070023767" sldId="271"/>
        </pc:sldMkLst>
      </pc:sldChg>
      <pc:sldChg chg="modSp add mod">
        <pc:chgData name="Jesse, Kevin" userId="6f05423f-cf98-4c12-b626-169f8a1317c4" providerId="ADAL" clId="{8DE3E814-5BCB-9E42-A0EA-A26EDC1C9D22}" dt="2025-05-23T19:53:08.561" v="10305" actId="20577"/>
        <pc:sldMkLst>
          <pc:docMk/>
          <pc:sldMk cId="3453381404" sldId="272"/>
        </pc:sldMkLst>
      </pc:sldChg>
      <pc:sldChg chg="add">
        <pc:chgData name="Jesse, Kevin" userId="6f05423f-cf98-4c12-b626-169f8a1317c4" providerId="ADAL" clId="{8DE3E814-5BCB-9E42-A0EA-A26EDC1C9D22}" dt="2025-05-23T19:53:02.480" v="10272"/>
        <pc:sldMkLst>
          <pc:docMk/>
          <pc:sldMk cId="1109540436" sldId="273"/>
        </pc:sldMkLst>
      </pc:sldChg>
      <pc:sldChg chg="modSp mod">
        <pc:chgData name="Jesse, Kevin" userId="6f05423f-cf98-4c12-b626-169f8a1317c4" providerId="ADAL" clId="{8DE3E814-5BCB-9E42-A0EA-A26EDC1C9D22}" dt="2025-05-21T17:14:11.747" v="2075" actId="20577"/>
        <pc:sldMkLst>
          <pc:docMk/>
          <pc:sldMk cId="623885124" sldId="274"/>
        </pc:sldMkLst>
      </pc:sldChg>
      <pc:sldChg chg="modSp mod">
        <pc:chgData name="Jesse, Kevin" userId="6f05423f-cf98-4c12-b626-169f8a1317c4" providerId="ADAL" clId="{8DE3E814-5BCB-9E42-A0EA-A26EDC1C9D22}" dt="2025-05-23T16:41:44.415" v="10129" actId="14100"/>
        <pc:sldMkLst>
          <pc:docMk/>
          <pc:sldMk cId="1884301532" sldId="276"/>
        </pc:sldMkLst>
      </pc:sldChg>
      <pc:sldChg chg="modSp add mod">
        <pc:chgData name="Jesse, Kevin" userId="6f05423f-cf98-4c12-b626-169f8a1317c4" providerId="ADAL" clId="{8DE3E814-5BCB-9E42-A0EA-A26EDC1C9D22}" dt="2025-05-23T19:53:36.289" v="10321" actId="20577"/>
        <pc:sldMkLst>
          <pc:docMk/>
          <pc:sldMk cId="928141952" sldId="277"/>
        </pc:sldMkLst>
      </pc:sldChg>
      <pc:sldChg chg="modSp add mod">
        <pc:chgData name="Jesse, Kevin" userId="6f05423f-cf98-4c12-b626-169f8a1317c4" providerId="ADAL" clId="{8DE3E814-5BCB-9E42-A0EA-A26EDC1C9D22}" dt="2025-05-23T19:53:53.145" v="10345" actId="20577"/>
        <pc:sldMkLst>
          <pc:docMk/>
          <pc:sldMk cId="2596061825" sldId="278"/>
        </pc:sldMkLst>
      </pc:sldChg>
      <pc:sldChg chg="modSp add mod ord">
        <pc:chgData name="Jesse, Kevin" userId="6f05423f-cf98-4c12-b626-169f8a1317c4" providerId="ADAL" clId="{8DE3E814-5BCB-9E42-A0EA-A26EDC1C9D22}" dt="2025-05-27T14:32:03.106" v="15329" actId="20578"/>
        <pc:sldMkLst>
          <pc:docMk/>
          <pc:sldMk cId="1066708131" sldId="279"/>
        </pc:sldMkLst>
      </pc:sldChg>
      <pc:sldChg chg="modSp add mod">
        <pc:chgData name="Jesse, Kevin" userId="6f05423f-cf98-4c12-b626-169f8a1317c4" providerId="ADAL" clId="{8DE3E814-5BCB-9E42-A0EA-A26EDC1C9D22}" dt="2025-05-29T17:52:44.827" v="24674" actId="20577"/>
        <pc:sldMkLst>
          <pc:docMk/>
          <pc:sldMk cId="307684153" sldId="280"/>
        </pc:sldMkLst>
      </pc:sldChg>
      <pc:sldChg chg="addSp delSp modSp add del mod modClrScheme chgLayout">
        <pc:chgData name="Jesse, Kevin" userId="6f05423f-cf98-4c12-b626-169f8a1317c4" providerId="ADAL" clId="{8DE3E814-5BCB-9E42-A0EA-A26EDC1C9D22}" dt="2025-05-29T17:51:18.134" v="24636" actId="2696"/>
        <pc:sldMkLst>
          <pc:docMk/>
          <pc:sldMk cId="653993413" sldId="280"/>
        </pc:sldMkLst>
      </pc:sldChg>
      <pc:sldChg chg="addSp modSp new del mod modAnim">
        <pc:chgData name="Jesse, Kevin" userId="6f05423f-cf98-4c12-b626-169f8a1317c4" providerId="ADAL" clId="{8DE3E814-5BCB-9E42-A0EA-A26EDC1C9D22}" dt="2025-05-29T17:51:18.134" v="24636" actId="2696"/>
        <pc:sldMkLst>
          <pc:docMk/>
          <pc:sldMk cId="1725293069" sldId="281"/>
        </pc:sldMkLst>
      </pc:sldChg>
      <pc:sldChg chg="modSp add mod ord">
        <pc:chgData name="Jesse, Kevin" userId="6f05423f-cf98-4c12-b626-169f8a1317c4" providerId="ADAL" clId="{8DE3E814-5BCB-9E42-A0EA-A26EDC1C9D22}" dt="2025-05-29T18:44:40.130" v="24856" actId="20577"/>
        <pc:sldMkLst>
          <pc:docMk/>
          <pc:sldMk cId="2116748383" sldId="281"/>
        </pc:sldMkLst>
      </pc:sldChg>
      <pc:sldChg chg="addSp delSp modSp new add del mod modClrScheme chgLayout">
        <pc:chgData name="Jesse, Kevin" userId="6f05423f-cf98-4c12-b626-169f8a1317c4" providerId="ADAL" clId="{8DE3E814-5BCB-9E42-A0EA-A26EDC1C9D22}" dt="2025-05-29T19:10:37.094" v="26341" actId="2696"/>
        <pc:sldMkLst>
          <pc:docMk/>
          <pc:sldMk cId="817395895" sldId="282"/>
        </pc:sldMkLst>
      </pc:sldChg>
      <pc:sldChg chg="modSp new del mod ord">
        <pc:chgData name="Jesse, Kevin" userId="6f05423f-cf98-4c12-b626-169f8a1317c4" providerId="ADAL" clId="{8DE3E814-5BCB-9E42-A0EA-A26EDC1C9D22}" dt="2025-05-29T19:10:36.757" v="26340" actId="680"/>
        <pc:sldMkLst>
          <pc:docMk/>
          <pc:sldMk cId="1337105083" sldId="282"/>
        </pc:sldMkLst>
      </pc:sldChg>
      <pc:sldChg chg="addSp delSp modSp add del mod ord modAnim">
        <pc:chgData name="Jesse, Kevin" userId="6f05423f-cf98-4c12-b626-169f8a1317c4" providerId="ADAL" clId="{8DE3E814-5BCB-9E42-A0EA-A26EDC1C9D22}" dt="2025-05-29T17:51:18.134" v="24636" actId="2696"/>
        <pc:sldMkLst>
          <pc:docMk/>
          <pc:sldMk cId="4148823290" sldId="282"/>
        </pc:sldMkLst>
      </pc:sldChg>
      <pc:sldChg chg="addSp delSp modSp new mod modClrScheme chgLayout">
        <pc:chgData name="Jesse, Kevin" userId="6f05423f-cf98-4c12-b626-169f8a1317c4" providerId="ADAL" clId="{8DE3E814-5BCB-9E42-A0EA-A26EDC1C9D22}" dt="2025-05-29T19:01:33.570" v="26254" actId="20577"/>
        <pc:sldMkLst>
          <pc:docMk/>
          <pc:sldMk cId="1377192544" sldId="283"/>
        </pc:sldMkLst>
      </pc:sldChg>
      <pc:sldChg chg="addSp modSp add del mod">
        <pc:chgData name="Jesse, Kevin" userId="6f05423f-cf98-4c12-b626-169f8a1317c4" providerId="ADAL" clId="{8DE3E814-5BCB-9E42-A0EA-A26EDC1C9D22}" dt="2025-05-29T17:51:18.134" v="24636" actId="2696"/>
        <pc:sldMkLst>
          <pc:docMk/>
          <pc:sldMk cId="2856842067" sldId="283"/>
        </pc:sldMkLst>
      </pc:sldChg>
      <pc:sldChg chg="addSp delSp modSp add del mod ord">
        <pc:chgData name="Jesse, Kevin" userId="6f05423f-cf98-4c12-b626-169f8a1317c4" providerId="ADAL" clId="{8DE3E814-5BCB-9E42-A0EA-A26EDC1C9D22}" dt="2025-05-29T17:51:18.134" v="24636" actId="2696"/>
        <pc:sldMkLst>
          <pc:docMk/>
          <pc:sldMk cId="3909053473" sldId="284"/>
        </pc:sldMkLst>
      </pc:sldChg>
      <pc:sldChg chg="addSp modSp add mod">
        <pc:chgData name="Jesse, Kevin" userId="6f05423f-cf98-4c12-b626-169f8a1317c4" providerId="ADAL" clId="{8DE3E814-5BCB-9E42-A0EA-A26EDC1C9D22}" dt="2025-05-29T19:18:49.318" v="27151" actId="20577"/>
        <pc:sldMkLst>
          <pc:docMk/>
          <pc:sldMk cId="4110142185" sldId="284"/>
        </pc:sldMkLst>
      </pc:sldChg>
      <pc:sldChg chg="add del">
        <pc:chgData name="Jesse, Kevin" userId="6f05423f-cf98-4c12-b626-169f8a1317c4" providerId="ADAL" clId="{8DE3E814-5BCB-9E42-A0EA-A26EDC1C9D22}" dt="2025-05-29T19:10:45.309" v="26343"/>
        <pc:sldMkLst>
          <pc:docMk/>
          <pc:sldMk cId="4162426609" sldId="284"/>
        </pc:sldMkLst>
      </pc:sldChg>
      <pc:sldChg chg="new del">
        <pc:chgData name="Jesse, Kevin" userId="6f05423f-cf98-4c12-b626-169f8a1317c4" providerId="ADAL" clId="{8DE3E814-5BCB-9E42-A0EA-A26EDC1C9D22}" dt="2025-05-29T18:55:03.639" v="25456" actId="680"/>
        <pc:sldMkLst>
          <pc:docMk/>
          <pc:sldMk cId="4248681255" sldId="284"/>
        </pc:sldMkLst>
      </pc:sldChg>
      <pc:sldChg chg="addSp modSp add del mod ord">
        <pc:chgData name="Jesse, Kevin" userId="6f05423f-cf98-4c12-b626-169f8a1317c4" providerId="ADAL" clId="{8DE3E814-5BCB-9E42-A0EA-A26EDC1C9D22}" dt="2025-05-29T17:51:18.134" v="24636" actId="2696"/>
        <pc:sldMkLst>
          <pc:docMk/>
          <pc:sldMk cId="216323256" sldId="285"/>
        </pc:sldMkLst>
      </pc:sldChg>
      <pc:sldChg chg="addSp delSp modSp new mod modClrScheme chgLayout">
        <pc:chgData name="Jesse, Kevin" userId="6f05423f-cf98-4c12-b626-169f8a1317c4" providerId="ADAL" clId="{8DE3E814-5BCB-9E42-A0EA-A26EDC1C9D22}" dt="2025-05-29T20:23:25.408" v="27978" actId="20577"/>
        <pc:sldMkLst>
          <pc:docMk/>
          <pc:sldMk cId="1851661533" sldId="285"/>
        </pc:sldMkLst>
      </pc:sldChg>
      <pc:sldChg chg="addSp modSp add del">
        <pc:chgData name="Jesse, Kevin" userId="6f05423f-cf98-4c12-b626-169f8a1317c4" providerId="ADAL" clId="{8DE3E814-5BCB-9E42-A0EA-A26EDC1C9D22}" dt="2025-05-29T17:51:18.134" v="24636" actId="2696"/>
        <pc:sldMkLst>
          <pc:docMk/>
          <pc:sldMk cId="4193106003" sldId="286"/>
        </pc:sldMkLst>
      </pc:sldChg>
      <pc:sldChg chg="addSp modSp add del mod modShow">
        <pc:chgData name="Jesse, Kevin" userId="6f05423f-cf98-4c12-b626-169f8a1317c4" providerId="ADAL" clId="{8DE3E814-5BCB-9E42-A0EA-A26EDC1C9D22}" dt="2025-05-29T17:51:18.134" v="24636" actId="2696"/>
        <pc:sldMkLst>
          <pc:docMk/>
          <pc:sldMk cId="453235953" sldId="287"/>
        </pc:sldMkLst>
      </pc:sldChg>
      <pc:sldChg chg="addSp delSp modSp new del mod">
        <pc:chgData name="Jesse, Kevin" userId="6f05423f-cf98-4c12-b626-169f8a1317c4" providerId="ADAL" clId="{8DE3E814-5BCB-9E42-A0EA-A26EDC1C9D22}" dt="2025-06-19T20:34:36.455" v="28054" actId="680"/>
        <pc:sldMkLst>
          <pc:docMk/>
          <pc:sldMk cId="3348236124" sldId="287"/>
        </pc:sldMkLst>
      </pc:sldChg>
      <pc:sldChg chg="addSp modSp add del mod modAnim">
        <pc:chgData name="Jesse, Kevin" userId="6f05423f-cf98-4c12-b626-169f8a1317c4" providerId="ADAL" clId="{8DE3E814-5BCB-9E42-A0EA-A26EDC1C9D22}" dt="2025-05-29T17:51:18.134" v="24636" actId="2696"/>
        <pc:sldMkLst>
          <pc:docMk/>
          <pc:sldMk cId="1628800615" sldId="288"/>
        </pc:sldMkLst>
      </pc:sldChg>
      <pc:sldChg chg="add del">
        <pc:chgData name="Jesse, Kevin" userId="6f05423f-cf98-4c12-b626-169f8a1317c4" providerId="ADAL" clId="{8DE3E814-5BCB-9E42-A0EA-A26EDC1C9D22}" dt="2025-05-23T23:33:31.185" v="10515"/>
        <pc:sldMkLst>
          <pc:docMk/>
          <pc:sldMk cId="1749456858" sldId="288"/>
        </pc:sldMkLst>
      </pc:sldChg>
      <pc:sldChg chg="add del ord">
        <pc:chgData name="Jesse, Kevin" userId="6f05423f-cf98-4c12-b626-169f8a1317c4" providerId="ADAL" clId="{8DE3E814-5BCB-9E42-A0EA-A26EDC1C9D22}" dt="2025-05-27T14:32:01.171" v="15328" actId="20578"/>
        <pc:sldMkLst>
          <pc:docMk/>
          <pc:sldMk cId="0" sldId="289"/>
        </pc:sldMkLst>
      </pc:sldChg>
      <pc:sldChg chg="addSp delSp modSp new del mod modClrScheme chgLayout">
        <pc:chgData name="Jesse, Kevin" userId="6f05423f-cf98-4c12-b626-169f8a1317c4" providerId="ADAL" clId="{8DE3E814-5BCB-9E42-A0EA-A26EDC1C9D22}" dt="2025-05-29T17:51:18.134" v="24636" actId="2696"/>
        <pc:sldMkLst>
          <pc:docMk/>
          <pc:sldMk cId="4104552862" sldId="290"/>
        </pc:sldMkLst>
      </pc:sldChg>
      <pc:sldChg chg="modSp add del mod">
        <pc:chgData name="Jesse, Kevin" userId="6f05423f-cf98-4c12-b626-169f8a1317c4" providerId="ADAL" clId="{8DE3E814-5BCB-9E42-A0EA-A26EDC1C9D22}" dt="2025-05-29T17:51:18.134" v="24636" actId="2696"/>
        <pc:sldMkLst>
          <pc:docMk/>
          <pc:sldMk cId="3051398970" sldId="291"/>
        </pc:sldMkLst>
      </pc:sldChg>
      <pc:sldChg chg="addSp delSp modSp new del mod">
        <pc:chgData name="Jesse, Kevin" userId="6f05423f-cf98-4c12-b626-169f8a1317c4" providerId="ADAL" clId="{8DE3E814-5BCB-9E42-A0EA-A26EDC1C9D22}" dt="2025-05-29T17:51:18.134" v="24636" actId="2696"/>
        <pc:sldMkLst>
          <pc:docMk/>
          <pc:sldMk cId="1019949057" sldId="292"/>
        </pc:sldMkLst>
      </pc:sldChg>
      <pc:sldChg chg="addSp delSp modSp new del mod modTransition modClrScheme chgLayout">
        <pc:chgData name="Jesse, Kevin" userId="6f05423f-cf98-4c12-b626-169f8a1317c4" providerId="ADAL" clId="{8DE3E814-5BCB-9E42-A0EA-A26EDC1C9D22}" dt="2025-05-29T17:51:18.134" v="24636" actId="2696"/>
        <pc:sldMkLst>
          <pc:docMk/>
          <pc:sldMk cId="3662690243" sldId="293"/>
        </pc:sldMkLst>
      </pc:sldChg>
      <pc:sldChg chg="addSp delSp modSp new del mod modClrScheme chgLayout">
        <pc:chgData name="Jesse, Kevin" userId="6f05423f-cf98-4c12-b626-169f8a1317c4" providerId="ADAL" clId="{8DE3E814-5BCB-9E42-A0EA-A26EDC1C9D22}" dt="2025-05-29T17:51:18.134" v="24636" actId="2696"/>
        <pc:sldMkLst>
          <pc:docMk/>
          <pc:sldMk cId="862109776" sldId="294"/>
        </pc:sldMkLst>
      </pc:sldChg>
      <pc:sldChg chg="addSp delSp modSp new del mod modClrScheme chgLayout">
        <pc:chgData name="Jesse, Kevin" userId="6f05423f-cf98-4c12-b626-169f8a1317c4" providerId="ADAL" clId="{8DE3E814-5BCB-9E42-A0EA-A26EDC1C9D22}" dt="2025-05-29T17:51:18.134" v="24636" actId="2696"/>
        <pc:sldMkLst>
          <pc:docMk/>
          <pc:sldMk cId="3544437047" sldId="295"/>
        </pc:sldMkLst>
      </pc:sldChg>
      <pc:sldChg chg="new del">
        <pc:chgData name="Jesse, Kevin" userId="6f05423f-cf98-4c12-b626-169f8a1317c4" providerId="ADAL" clId="{8DE3E814-5BCB-9E42-A0EA-A26EDC1C9D22}" dt="2025-05-27T16:21:32.108" v="17657" actId="680"/>
        <pc:sldMkLst>
          <pc:docMk/>
          <pc:sldMk cId="993061180" sldId="296"/>
        </pc:sldMkLst>
      </pc:sldChg>
      <pc:sldChg chg="addSp modSp new del mod">
        <pc:chgData name="Jesse, Kevin" userId="6f05423f-cf98-4c12-b626-169f8a1317c4" providerId="ADAL" clId="{8DE3E814-5BCB-9E42-A0EA-A26EDC1C9D22}" dt="2025-05-29T17:51:18.134" v="24636" actId="2696"/>
        <pc:sldMkLst>
          <pc:docMk/>
          <pc:sldMk cId="1795980445" sldId="296"/>
        </pc:sldMkLst>
      </pc:sldChg>
      <pc:sldChg chg="add del">
        <pc:chgData name="Jesse, Kevin" userId="6f05423f-cf98-4c12-b626-169f8a1317c4" providerId="ADAL" clId="{8DE3E814-5BCB-9E42-A0EA-A26EDC1C9D22}" dt="2025-05-27T19:38:45.856" v="17777"/>
        <pc:sldMkLst>
          <pc:docMk/>
          <pc:sldMk cId="4213608985" sldId="296"/>
        </pc:sldMkLst>
      </pc:sldChg>
      <pc:sldChg chg="modSp add del mod">
        <pc:chgData name="Jesse, Kevin" userId="6f05423f-cf98-4c12-b626-169f8a1317c4" providerId="ADAL" clId="{8DE3E814-5BCB-9E42-A0EA-A26EDC1C9D22}" dt="2025-05-29T17:51:18.134" v="24636" actId="2696"/>
        <pc:sldMkLst>
          <pc:docMk/>
          <pc:sldMk cId="74860698" sldId="297"/>
        </pc:sldMkLst>
      </pc:sldChg>
      <pc:sldChg chg="modSp add del mod">
        <pc:chgData name="Jesse, Kevin" userId="6f05423f-cf98-4c12-b626-169f8a1317c4" providerId="ADAL" clId="{8DE3E814-5BCB-9E42-A0EA-A26EDC1C9D22}" dt="2025-05-29T17:51:18.134" v="24636" actId="2696"/>
        <pc:sldMkLst>
          <pc:docMk/>
          <pc:sldMk cId="2140750541" sldId="298"/>
        </pc:sldMkLst>
      </pc:sldChg>
      <pc:sldChg chg="modSp new del mod modShow">
        <pc:chgData name="Jesse, Kevin" userId="6f05423f-cf98-4c12-b626-169f8a1317c4" providerId="ADAL" clId="{8DE3E814-5BCB-9E42-A0EA-A26EDC1C9D22}" dt="2025-05-29T15:36:03.746" v="22410" actId="2696"/>
        <pc:sldMkLst>
          <pc:docMk/>
          <pc:sldMk cId="2475897068" sldId="298"/>
        </pc:sldMkLst>
      </pc:sldChg>
      <pc:sldChg chg="modSp add del mod">
        <pc:chgData name="Jesse, Kevin" userId="6f05423f-cf98-4c12-b626-169f8a1317c4" providerId="ADAL" clId="{8DE3E814-5BCB-9E42-A0EA-A26EDC1C9D22}" dt="2025-05-29T17:51:18.134" v="24636" actId="2696"/>
        <pc:sldMkLst>
          <pc:docMk/>
          <pc:sldMk cId="1607623728" sldId="299"/>
        </pc:sldMkLst>
      </pc:sldChg>
      <pc:sldChg chg="new del">
        <pc:chgData name="Jesse, Kevin" userId="6f05423f-cf98-4c12-b626-169f8a1317c4" providerId="ADAL" clId="{8DE3E814-5BCB-9E42-A0EA-A26EDC1C9D22}" dt="2025-05-28T22:33:57.870" v="19950" actId="2696"/>
        <pc:sldMkLst>
          <pc:docMk/>
          <pc:sldMk cId="2261932933" sldId="299"/>
        </pc:sldMkLst>
      </pc:sldChg>
      <pc:sldChg chg="addSp delSp modSp new del mod modAnim">
        <pc:chgData name="Jesse, Kevin" userId="6f05423f-cf98-4c12-b626-169f8a1317c4" providerId="ADAL" clId="{8DE3E814-5BCB-9E42-A0EA-A26EDC1C9D22}" dt="2025-05-29T17:51:18.134" v="24636" actId="2696"/>
        <pc:sldMkLst>
          <pc:docMk/>
          <pc:sldMk cId="358832979" sldId="300"/>
        </pc:sldMkLst>
      </pc:sldChg>
      <pc:sldChg chg="addSp delSp modSp add del mod modAnim">
        <pc:chgData name="Jesse, Kevin" userId="6f05423f-cf98-4c12-b626-169f8a1317c4" providerId="ADAL" clId="{8DE3E814-5BCB-9E42-A0EA-A26EDC1C9D22}" dt="2025-05-29T17:51:18.134" v="24636" actId="2696"/>
        <pc:sldMkLst>
          <pc:docMk/>
          <pc:sldMk cId="3167435086" sldId="301"/>
        </pc:sldMkLst>
      </pc:sldChg>
      <pc:sldChg chg="addSp delSp modSp add del mod modAnim">
        <pc:chgData name="Jesse, Kevin" userId="6f05423f-cf98-4c12-b626-169f8a1317c4" providerId="ADAL" clId="{8DE3E814-5BCB-9E42-A0EA-A26EDC1C9D22}" dt="2025-05-29T17:51:18.134" v="24636" actId="2696"/>
        <pc:sldMkLst>
          <pc:docMk/>
          <pc:sldMk cId="905161836" sldId="302"/>
        </pc:sldMkLst>
      </pc:sldChg>
      <pc:sldChg chg="add del">
        <pc:chgData name="Jesse, Kevin" userId="6f05423f-cf98-4c12-b626-169f8a1317c4" providerId="ADAL" clId="{8DE3E814-5BCB-9E42-A0EA-A26EDC1C9D22}" dt="2025-05-27T21:12:46.451" v="19948" actId="2696"/>
        <pc:sldMkLst>
          <pc:docMk/>
          <pc:sldMk cId="1772366235" sldId="303"/>
        </pc:sldMkLst>
      </pc:sldChg>
      <pc:sldChg chg="new del">
        <pc:chgData name="Jesse, Kevin" userId="6f05423f-cf98-4c12-b626-169f8a1317c4" providerId="ADAL" clId="{8DE3E814-5BCB-9E42-A0EA-A26EDC1C9D22}" dt="2025-05-29T00:20:54.190" v="21360" actId="680"/>
        <pc:sldMkLst>
          <pc:docMk/>
          <pc:sldMk cId="3787780913" sldId="303"/>
        </pc:sldMkLst>
      </pc:sldChg>
      <pc:sldChg chg="addSp delSp modSp new del mod modClrScheme chgLayout">
        <pc:chgData name="Jesse, Kevin" userId="6f05423f-cf98-4c12-b626-169f8a1317c4" providerId="ADAL" clId="{8DE3E814-5BCB-9E42-A0EA-A26EDC1C9D22}" dt="2025-05-29T17:51:18.134" v="24636" actId="2696"/>
        <pc:sldMkLst>
          <pc:docMk/>
          <pc:sldMk cId="4256936658" sldId="303"/>
        </pc:sldMkLst>
      </pc:sldChg>
      <pc:sldChg chg="addSp delSp modSp add del mod modClrScheme chgLayout">
        <pc:chgData name="Jesse, Kevin" userId="6f05423f-cf98-4c12-b626-169f8a1317c4" providerId="ADAL" clId="{8DE3E814-5BCB-9E42-A0EA-A26EDC1C9D22}" dt="2025-05-29T17:51:18.134" v="24636" actId="2696"/>
        <pc:sldMkLst>
          <pc:docMk/>
          <pc:sldMk cId="2313482584" sldId="304"/>
        </pc:sldMkLst>
      </pc:sldChg>
      <pc:sldChg chg="addSp delSp modSp add del mod modClrScheme chgLayout">
        <pc:chgData name="Jesse, Kevin" userId="6f05423f-cf98-4c12-b626-169f8a1317c4" providerId="ADAL" clId="{8DE3E814-5BCB-9E42-A0EA-A26EDC1C9D22}" dt="2025-05-29T17:51:18.134" v="24636" actId="2696"/>
        <pc:sldMkLst>
          <pc:docMk/>
          <pc:sldMk cId="4116460408" sldId="305"/>
        </pc:sldMkLst>
      </pc:sldChg>
      <pc:sldChg chg="addSp delSp modSp add del mod modClrScheme chgLayout">
        <pc:chgData name="Jesse, Kevin" userId="6f05423f-cf98-4c12-b626-169f8a1317c4" providerId="ADAL" clId="{8DE3E814-5BCB-9E42-A0EA-A26EDC1C9D22}" dt="2025-05-29T17:51:18.134" v="24636" actId="2696"/>
        <pc:sldMkLst>
          <pc:docMk/>
          <pc:sldMk cId="692822360" sldId="306"/>
        </pc:sldMkLst>
      </pc:sldChg>
      <pc:sldChg chg="delSp modSp add del mod">
        <pc:chgData name="Jesse, Kevin" userId="6f05423f-cf98-4c12-b626-169f8a1317c4" providerId="ADAL" clId="{8DE3E814-5BCB-9E42-A0EA-A26EDC1C9D22}" dt="2025-05-29T15:36:20.483" v="22412" actId="2696"/>
        <pc:sldMkLst>
          <pc:docMk/>
          <pc:sldMk cId="1134258378" sldId="307"/>
        </pc:sldMkLst>
      </pc:sldChg>
      <pc:sldChg chg="new del">
        <pc:chgData name="Jesse, Kevin" userId="6f05423f-cf98-4c12-b626-169f8a1317c4" providerId="ADAL" clId="{8DE3E814-5BCB-9E42-A0EA-A26EDC1C9D22}" dt="2025-05-29T17:51:18.134" v="24636" actId="2696"/>
        <pc:sldMkLst>
          <pc:docMk/>
          <pc:sldMk cId="3622207955" sldId="307"/>
        </pc:sldMkLst>
      </pc:sldChg>
      <pc:sldChg chg="modSp new del mod">
        <pc:chgData name="Jesse, Kevin" userId="6f05423f-cf98-4c12-b626-169f8a1317c4" providerId="ADAL" clId="{8DE3E814-5BCB-9E42-A0EA-A26EDC1C9D22}" dt="2025-05-29T17:51:18.134" v="24636" actId="2696"/>
        <pc:sldMkLst>
          <pc:docMk/>
          <pc:sldMk cId="4053031731" sldId="308"/>
        </pc:sldMkLst>
      </pc:sldChg>
      <pc:sldChg chg="addSp delSp modSp new del mod modAnim">
        <pc:chgData name="Jesse, Kevin" userId="6f05423f-cf98-4c12-b626-169f8a1317c4" providerId="ADAL" clId="{8DE3E814-5BCB-9E42-A0EA-A26EDC1C9D22}" dt="2025-05-29T17:51:18.134" v="24636" actId="2696"/>
        <pc:sldMkLst>
          <pc:docMk/>
          <pc:sldMk cId="3290886287" sldId="309"/>
        </pc:sldMkLst>
      </pc:sldChg>
      <pc:sldChg chg="addSp delSp modSp add del mod">
        <pc:chgData name="Jesse, Kevin" userId="6f05423f-cf98-4c12-b626-169f8a1317c4" providerId="ADAL" clId="{8DE3E814-5BCB-9E42-A0EA-A26EDC1C9D22}" dt="2025-05-29T17:51:18.134" v="24636" actId="2696"/>
        <pc:sldMkLst>
          <pc:docMk/>
          <pc:sldMk cId="966248961" sldId="310"/>
        </pc:sldMkLst>
      </pc:sldChg>
      <pc:sldChg chg="modSp add del mod">
        <pc:chgData name="Jesse, Kevin" userId="6f05423f-cf98-4c12-b626-169f8a1317c4" providerId="ADAL" clId="{8DE3E814-5BCB-9E42-A0EA-A26EDC1C9D22}" dt="2025-05-29T15:39:53.954" v="22413" actId="2696"/>
        <pc:sldMkLst>
          <pc:docMk/>
          <pc:sldMk cId="1210806148" sldId="310"/>
        </pc:sldMkLst>
      </pc:sldChg>
      <pc:sldChg chg="addSp delSp modSp new del mod modAnim">
        <pc:chgData name="Jesse, Kevin" userId="6f05423f-cf98-4c12-b626-169f8a1317c4" providerId="ADAL" clId="{8DE3E814-5BCB-9E42-A0EA-A26EDC1C9D22}" dt="2025-05-29T17:51:18.134" v="24636" actId="2696"/>
        <pc:sldMkLst>
          <pc:docMk/>
          <pc:sldMk cId="3479262881" sldId="311"/>
        </pc:sldMkLst>
      </pc:sldChg>
      <pc:sldChg chg="addSp delSp modSp add del mod">
        <pc:chgData name="Jesse, Kevin" userId="6f05423f-cf98-4c12-b626-169f8a1317c4" providerId="ADAL" clId="{8DE3E814-5BCB-9E42-A0EA-A26EDC1C9D22}" dt="2025-05-29T17:51:18.134" v="24636" actId="2696"/>
        <pc:sldMkLst>
          <pc:docMk/>
          <pc:sldMk cId="1818489678" sldId="312"/>
        </pc:sldMkLst>
      </pc:sldChg>
      <pc:sldChg chg="addSp delSp modSp new del mod">
        <pc:chgData name="Jesse, Kevin" userId="6f05423f-cf98-4c12-b626-169f8a1317c4" providerId="ADAL" clId="{8DE3E814-5BCB-9E42-A0EA-A26EDC1C9D22}" dt="2025-05-29T17:51:18.134" v="24636" actId="2696"/>
        <pc:sldMkLst>
          <pc:docMk/>
          <pc:sldMk cId="2578498618" sldId="313"/>
        </pc:sldMkLst>
      </pc:sldChg>
      <pc:sldChg chg="addSp delSp modSp new del mod modClrScheme chgLayout">
        <pc:chgData name="Jesse, Kevin" userId="6f05423f-cf98-4c12-b626-169f8a1317c4" providerId="ADAL" clId="{8DE3E814-5BCB-9E42-A0EA-A26EDC1C9D22}" dt="2025-05-29T17:51:18.134" v="24636" actId="2696"/>
        <pc:sldMkLst>
          <pc:docMk/>
          <pc:sldMk cId="3979112305" sldId="314"/>
        </pc:sldMkLst>
      </pc:sldChg>
      <pc:sldChg chg="modSp mod">
        <pc:chgData name="Jesse, Kevin" userId="6f05423f-cf98-4c12-b626-169f8a1317c4" providerId="ADAL" clId="{8DE3E814-5BCB-9E42-A0EA-A26EDC1C9D22}" dt="2025-06-19T20:34:36.777" v="28058" actId="20577"/>
        <pc:sldMkLst>
          <pc:docMk/>
          <pc:sldMk cId="1975510891" sldId="326"/>
        </pc:sldMkLst>
      </pc:sldChg>
      <pc:sldChg chg="addSp delSp modSp new mod modClrScheme chgLayout">
        <pc:chgData name="Jesse, Kevin" userId="6f05423f-cf98-4c12-b626-169f8a1317c4" providerId="ADAL" clId="{8DE3E814-5BCB-9E42-A0EA-A26EDC1C9D22}" dt="2025-05-21T16:30:11.118" v="685" actId="1076"/>
        <pc:sldMkLst>
          <pc:docMk/>
          <pc:sldMk cId="2570728674" sldId="2147483635"/>
        </pc:sldMkLst>
      </pc:sldChg>
      <pc:sldChg chg="addSp modSp new mod">
        <pc:chgData name="Jesse, Kevin" userId="6f05423f-cf98-4c12-b626-169f8a1317c4" providerId="ADAL" clId="{8DE3E814-5BCB-9E42-A0EA-A26EDC1C9D22}" dt="2025-05-21T16:42:27.694" v="2072" actId="1076"/>
        <pc:sldMkLst>
          <pc:docMk/>
          <pc:sldMk cId="2095824639" sldId="2147483636"/>
        </pc:sldMkLst>
      </pc:sldChg>
      <pc:sldChg chg="addSp modSp add mod">
        <pc:chgData name="Jesse, Kevin" userId="6f05423f-cf98-4c12-b626-169f8a1317c4" providerId="ADAL" clId="{8DE3E814-5BCB-9E42-A0EA-A26EDC1C9D22}" dt="2025-05-21T18:00:26.948" v="2079" actId="1076"/>
        <pc:sldMkLst>
          <pc:docMk/>
          <pc:sldMk cId="2971747464" sldId="2147483637"/>
        </pc:sldMkLst>
      </pc:sldChg>
      <pc:sldChg chg="addSp delSp modSp new mod">
        <pc:chgData name="Jesse, Kevin" userId="6f05423f-cf98-4c12-b626-169f8a1317c4" providerId="ADAL" clId="{8DE3E814-5BCB-9E42-A0EA-A26EDC1C9D22}" dt="2025-05-21T19:02:17.241" v="4817" actId="121"/>
        <pc:sldMkLst>
          <pc:docMk/>
          <pc:sldMk cId="4140122485" sldId="2147483638"/>
        </pc:sldMkLst>
      </pc:sldChg>
      <pc:sldChg chg="modSp add mod modNotesTx">
        <pc:chgData name="Jesse, Kevin" userId="6f05423f-cf98-4c12-b626-169f8a1317c4" providerId="ADAL" clId="{8DE3E814-5BCB-9E42-A0EA-A26EDC1C9D22}" dt="2025-05-21T19:02:45.669" v="4821" actId="20577"/>
        <pc:sldMkLst>
          <pc:docMk/>
          <pc:sldMk cId="2502176759" sldId="2147483639"/>
        </pc:sldMkLst>
      </pc:sldChg>
      <pc:sldChg chg="addSp delSp modSp add mod modAnim">
        <pc:chgData name="Jesse, Kevin" userId="6f05423f-cf98-4c12-b626-169f8a1317c4" providerId="ADAL" clId="{8DE3E814-5BCB-9E42-A0EA-A26EDC1C9D22}" dt="2025-05-21T19:24:03.129" v="6339" actId="20577"/>
        <pc:sldMkLst>
          <pc:docMk/>
          <pc:sldMk cId="1076811304" sldId="2147483640"/>
        </pc:sldMkLst>
      </pc:sldChg>
      <pc:sldChg chg="addSp delSp modSp new mod modClrScheme chgLayout">
        <pc:chgData name="Jesse, Kevin" userId="6f05423f-cf98-4c12-b626-169f8a1317c4" providerId="ADAL" clId="{8DE3E814-5BCB-9E42-A0EA-A26EDC1C9D22}" dt="2025-05-21T19:35:25.174" v="6611"/>
        <pc:sldMkLst>
          <pc:docMk/>
          <pc:sldMk cId="844582635" sldId="2147483641"/>
        </pc:sldMkLst>
      </pc:sldChg>
      <pc:sldChg chg="addSp delSp modSp add mod">
        <pc:chgData name="Jesse, Kevin" userId="6f05423f-cf98-4c12-b626-169f8a1317c4" providerId="ADAL" clId="{8DE3E814-5BCB-9E42-A0EA-A26EDC1C9D22}" dt="2025-05-21T20:11:09.386" v="7360" actId="26606"/>
        <pc:sldMkLst>
          <pc:docMk/>
          <pc:sldMk cId="2360893946" sldId="2147483642"/>
        </pc:sldMkLst>
      </pc:sldChg>
      <pc:sldChg chg="addSp delSp modSp add mod">
        <pc:chgData name="Jesse, Kevin" userId="6f05423f-cf98-4c12-b626-169f8a1317c4" providerId="ADAL" clId="{8DE3E814-5BCB-9E42-A0EA-A26EDC1C9D22}" dt="2025-05-21T21:35:52.565" v="7481" actId="403"/>
        <pc:sldMkLst>
          <pc:docMk/>
          <pc:sldMk cId="2684141960" sldId="2147483643"/>
        </pc:sldMkLst>
      </pc:sldChg>
      <pc:sldChg chg="addSp delSp modSp add mod setBg">
        <pc:chgData name="Jesse, Kevin" userId="6f05423f-cf98-4c12-b626-169f8a1317c4" providerId="ADAL" clId="{8DE3E814-5BCB-9E42-A0EA-A26EDC1C9D22}" dt="2025-05-22T00:00:00.407" v="8822" actId="1076"/>
        <pc:sldMkLst>
          <pc:docMk/>
          <pc:sldMk cId="1828713913" sldId="2147483644"/>
        </pc:sldMkLst>
      </pc:sldChg>
      <pc:sldChg chg="addSp delSp modSp new del mod modClrScheme chgLayout">
        <pc:chgData name="Jesse, Kevin" userId="6f05423f-cf98-4c12-b626-169f8a1317c4" providerId="ADAL" clId="{8DE3E814-5BCB-9E42-A0EA-A26EDC1C9D22}" dt="2025-05-22T00:12:26.731" v="9604" actId="2696"/>
        <pc:sldMkLst>
          <pc:docMk/>
          <pc:sldMk cId="2039116588" sldId="2147483645"/>
        </pc:sldMkLst>
      </pc:sldChg>
      <pc:sldChg chg="addSp delSp modSp add mod chgLayout">
        <pc:chgData name="Jesse, Kevin" userId="6f05423f-cf98-4c12-b626-169f8a1317c4" providerId="ADAL" clId="{8DE3E814-5BCB-9E42-A0EA-A26EDC1C9D22}" dt="2025-05-22T00:11:05.908" v="9603" actId="207"/>
        <pc:sldMkLst>
          <pc:docMk/>
          <pc:sldMk cId="1318925039" sldId="2147483646"/>
        </pc:sldMkLst>
      </pc:sldChg>
      <pc:sldChg chg="modSp add mod ord">
        <pc:chgData name="Jesse, Kevin" userId="6f05423f-cf98-4c12-b626-169f8a1317c4" providerId="ADAL" clId="{8DE3E814-5BCB-9E42-A0EA-A26EDC1C9D22}" dt="2025-05-22T00:13:32.015" v="9635" actId="20577"/>
        <pc:sldMkLst>
          <pc:docMk/>
          <pc:sldMk cId="3813025775" sldId="2147483647"/>
        </pc:sldMkLst>
      </pc:sldChg>
      <pc:sldMasterChg chg="delSldLayout modSldLayout">
        <pc:chgData name="Jesse, Kevin" userId="6f05423f-cf98-4c12-b626-169f8a1317c4" providerId="ADAL" clId="{8DE3E814-5BCB-9E42-A0EA-A26EDC1C9D22}" dt="2025-05-29T17:51:18.134" v="24636" actId="2696"/>
        <pc:sldMasterMkLst>
          <pc:docMk/>
          <pc:sldMasterMk cId="1734570045" sldId="2147484221"/>
        </pc:sldMasterMkLst>
        <pc:sldLayoutChg chg="del">
          <pc:chgData name="Jesse, Kevin" userId="6f05423f-cf98-4c12-b626-169f8a1317c4" providerId="ADAL" clId="{8DE3E814-5BCB-9E42-A0EA-A26EDC1C9D22}" dt="2025-05-29T17:51:18.134" v="24636" actId="2696"/>
          <pc:sldLayoutMkLst>
            <pc:docMk/>
            <pc:sldMasterMk cId="1734570045" sldId="2147484221"/>
            <pc:sldLayoutMk cId="532086654" sldId="2147484239"/>
          </pc:sldLayoutMkLst>
        </pc:sldLayoutChg>
        <pc:sldLayoutChg chg="addSp delSp modSp mod setBg">
          <pc:chgData name="Jesse, Kevin" userId="6f05423f-cf98-4c12-b626-169f8a1317c4" providerId="ADAL" clId="{8DE3E814-5BCB-9E42-A0EA-A26EDC1C9D22}" dt="2025-05-22T00:10:13.227" v="9595" actId="14100"/>
          <pc:sldLayoutMkLst>
            <pc:docMk/>
            <pc:sldMasterMk cId="1734570045" sldId="2147484221"/>
            <pc:sldLayoutMk cId="1587633954" sldId="2147484240"/>
          </pc:sldLayoutMkLst>
        </pc:sldLayoutChg>
        <pc:sldLayoutChg chg="del">
          <pc:chgData name="Jesse, Kevin" userId="6f05423f-cf98-4c12-b626-169f8a1317c4" providerId="ADAL" clId="{8DE3E814-5BCB-9E42-A0EA-A26EDC1C9D22}" dt="2025-05-29T17:51:18.134" v="24636" actId="2696"/>
          <pc:sldLayoutMkLst>
            <pc:docMk/>
            <pc:sldMasterMk cId="1734570045" sldId="2147484221"/>
            <pc:sldLayoutMk cId="909353293" sldId="2147484242"/>
          </pc:sldLayoutMkLst>
        </pc:sldLayoutChg>
      </pc:sldMasterChg>
      <pc:sldMasterChg chg="new del mod addSldLayout delSldLayout">
        <pc:chgData name="Jesse, Kevin" userId="6f05423f-cf98-4c12-b626-169f8a1317c4" providerId="ADAL" clId="{8DE3E814-5BCB-9E42-A0EA-A26EDC1C9D22}" dt="2025-05-22T00:09:09.267" v="9586" actId="6938"/>
        <pc:sldMasterMkLst>
          <pc:docMk/>
          <pc:sldMasterMk cId="3246317686" sldId="2147484241"/>
        </pc:sldMasterMkLst>
        <pc:sldLayoutChg chg="new del replId">
          <pc:chgData name="Jesse, Kevin" userId="6f05423f-cf98-4c12-b626-169f8a1317c4" providerId="ADAL" clId="{8DE3E814-5BCB-9E42-A0EA-A26EDC1C9D22}" dt="2025-05-22T00:09:09.267" v="9586" actId="6938"/>
          <pc:sldLayoutMkLst>
            <pc:docMk/>
            <pc:sldMasterMk cId="3246317686" sldId="2147484241"/>
            <pc:sldLayoutMk cId="1996304837" sldId="2147484242"/>
          </pc:sldLayoutMkLst>
        </pc:sldLayoutChg>
        <pc:sldLayoutChg chg="new del replId">
          <pc:chgData name="Jesse, Kevin" userId="6f05423f-cf98-4c12-b626-169f8a1317c4" providerId="ADAL" clId="{8DE3E814-5BCB-9E42-A0EA-A26EDC1C9D22}" dt="2025-05-22T00:09:09.267" v="9586" actId="6938"/>
          <pc:sldLayoutMkLst>
            <pc:docMk/>
            <pc:sldMasterMk cId="3246317686" sldId="2147484241"/>
            <pc:sldLayoutMk cId="3973305110" sldId="2147484243"/>
          </pc:sldLayoutMkLst>
        </pc:sldLayoutChg>
        <pc:sldLayoutChg chg="new del replId">
          <pc:chgData name="Jesse, Kevin" userId="6f05423f-cf98-4c12-b626-169f8a1317c4" providerId="ADAL" clId="{8DE3E814-5BCB-9E42-A0EA-A26EDC1C9D22}" dt="2025-05-22T00:09:09.267" v="9586" actId="6938"/>
          <pc:sldLayoutMkLst>
            <pc:docMk/>
            <pc:sldMasterMk cId="3246317686" sldId="2147484241"/>
            <pc:sldLayoutMk cId="4086974187" sldId="2147484244"/>
          </pc:sldLayoutMkLst>
        </pc:sldLayoutChg>
        <pc:sldLayoutChg chg="new del replId">
          <pc:chgData name="Jesse, Kevin" userId="6f05423f-cf98-4c12-b626-169f8a1317c4" providerId="ADAL" clId="{8DE3E814-5BCB-9E42-A0EA-A26EDC1C9D22}" dt="2025-05-22T00:09:09.267" v="9586" actId="6938"/>
          <pc:sldLayoutMkLst>
            <pc:docMk/>
            <pc:sldMasterMk cId="3246317686" sldId="2147484241"/>
            <pc:sldLayoutMk cId="2146870378" sldId="2147484245"/>
          </pc:sldLayoutMkLst>
        </pc:sldLayoutChg>
        <pc:sldLayoutChg chg="new del replId">
          <pc:chgData name="Jesse, Kevin" userId="6f05423f-cf98-4c12-b626-169f8a1317c4" providerId="ADAL" clId="{8DE3E814-5BCB-9E42-A0EA-A26EDC1C9D22}" dt="2025-05-22T00:09:09.267" v="9586" actId="6938"/>
          <pc:sldLayoutMkLst>
            <pc:docMk/>
            <pc:sldMasterMk cId="3246317686" sldId="2147484241"/>
            <pc:sldLayoutMk cId="1421873993" sldId="2147484246"/>
          </pc:sldLayoutMkLst>
        </pc:sldLayoutChg>
        <pc:sldLayoutChg chg="new del replId">
          <pc:chgData name="Jesse, Kevin" userId="6f05423f-cf98-4c12-b626-169f8a1317c4" providerId="ADAL" clId="{8DE3E814-5BCB-9E42-A0EA-A26EDC1C9D22}" dt="2025-05-22T00:09:09.267" v="9586" actId="6938"/>
          <pc:sldLayoutMkLst>
            <pc:docMk/>
            <pc:sldMasterMk cId="3246317686" sldId="2147484241"/>
            <pc:sldLayoutMk cId="1894331029" sldId="2147484247"/>
          </pc:sldLayoutMkLst>
        </pc:sldLayoutChg>
        <pc:sldLayoutChg chg="new del replId">
          <pc:chgData name="Jesse, Kevin" userId="6f05423f-cf98-4c12-b626-169f8a1317c4" providerId="ADAL" clId="{8DE3E814-5BCB-9E42-A0EA-A26EDC1C9D22}" dt="2025-05-22T00:09:09.267" v="9586" actId="6938"/>
          <pc:sldLayoutMkLst>
            <pc:docMk/>
            <pc:sldMasterMk cId="3246317686" sldId="2147484241"/>
            <pc:sldLayoutMk cId="3685974329" sldId="2147484248"/>
          </pc:sldLayoutMkLst>
        </pc:sldLayoutChg>
        <pc:sldLayoutChg chg="new del replId">
          <pc:chgData name="Jesse, Kevin" userId="6f05423f-cf98-4c12-b626-169f8a1317c4" providerId="ADAL" clId="{8DE3E814-5BCB-9E42-A0EA-A26EDC1C9D22}" dt="2025-05-22T00:09:09.267" v="9586" actId="6938"/>
          <pc:sldLayoutMkLst>
            <pc:docMk/>
            <pc:sldMasterMk cId="3246317686" sldId="2147484241"/>
            <pc:sldLayoutMk cId="3809129926" sldId="2147484249"/>
          </pc:sldLayoutMkLst>
        </pc:sldLayoutChg>
        <pc:sldLayoutChg chg="new del replId">
          <pc:chgData name="Jesse, Kevin" userId="6f05423f-cf98-4c12-b626-169f8a1317c4" providerId="ADAL" clId="{8DE3E814-5BCB-9E42-A0EA-A26EDC1C9D22}" dt="2025-05-22T00:09:09.267" v="9586" actId="6938"/>
          <pc:sldLayoutMkLst>
            <pc:docMk/>
            <pc:sldMasterMk cId="3246317686" sldId="2147484241"/>
            <pc:sldLayoutMk cId="1025827808" sldId="2147484250"/>
          </pc:sldLayoutMkLst>
        </pc:sldLayoutChg>
        <pc:sldLayoutChg chg="new del replId">
          <pc:chgData name="Jesse, Kevin" userId="6f05423f-cf98-4c12-b626-169f8a1317c4" providerId="ADAL" clId="{8DE3E814-5BCB-9E42-A0EA-A26EDC1C9D22}" dt="2025-05-22T00:09:09.267" v="9586" actId="6938"/>
          <pc:sldLayoutMkLst>
            <pc:docMk/>
            <pc:sldMasterMk cId="3246317686" sldId="2147484241"/>
            <pc:sldLayoutMk cId="3287590537" sldId="2147484251"/>
          </pc:sldLayoutMkLst>
        </pc:sldLayoutChg>
        <pc:sldLayoutChg chg="new del replId">
          <pc:chgData name="Jesse, Kevin" userId="6f05423f-cf98-4c12-b626-169f8a1317c4" providerId="ADAL" clId="{8DE3E814-5BCB-9E42-A0EA-A26EDC1C9D22}" dt="2025-05-22T00:09:09.267" v="9586" actId="6938"/>
          <pc:sldLayoutMkLst>
            <pc:docMk/>
            <pc:sldMasterMk cId="3246317686" sldId="2147484241"/>
            <pc:sldLayoutMk cId="966677755" sldId="2147484252"/>
          </pc:sldLayoutMkLst>
        </pc:sldLayoutChg>
      </pc:sldMasterChg>
    </pc:docChg>
  </pc:docChgLst>
  <pc:docChgLst>
    <pc:chgData name="Jesse, Kevin" userId="6f05423f-cf98-4c12-b626-169f8a1317c4" providerId="ADAL" clId="{89AB3C09-D008-1B4D-BA44-BC31799CCDBC}"/>
    <pc:docChg chg="undo redo custSel addSld delSld modSld sldOrd delSection modSection">
      <pc:chgData name="Jesse, Kevin" userId="6f05423f-cf98-4c12-b626-169f8a1317c4" providerId="ADAL" clId="{89AB3C09-D008-1B4D-BA44-BC31799CCDBC}" dt="2025-08-19T15:29:32.380" v="14206" actId="478"/>
      <pc:docMkLst>
        <pc:docMk/>
      </pc:docMkLst>
      <pc:sldChg chg="mod modShow">
        <pc:chgData name="Jesse, Kevin" userId="6f05423f-cf98-4c12-b626-169f8a1317c4" providerId="ADAL" clId="{89AB3C09-D008-1B4D-BA44-BC31799CCDBC}" dt="2025-08-19T15:05:28.836" v="14160" actId="729"/>
        <pc:sldMkLst>
          <pc:docMk/>
          <pc:sldMk cId="968241651" sldId="257"/>
        </pc:sldMkLst>
      </pc:sldChg>
      <pc:sldChg chg="delSp mod">
        <pc:chgData name="Jesse, Kevin" userId="6f05423f-cf98-4c12-b626-169f8a1317c4" providerId="ADAL" clId="{89AB3C09-D008-1B4D-BA44-BC31799CCDBC}" dt="2025-08-19T15:29:32.380" v="14206" actId="478"/>
        <pc:sldMkLst>
          <pc:docMk/>
          <pc:sldMk cId="4070023767" sldId="271"/>
        </pc:sldMkLst>
        <pc:grpChg chg="del">
          <ac:chgData name="Jesse, Kevin" userId="6f05423f-cf98-4c12-b626-169f8a1317c4" providerId="ADAL" clId="{89AB3C09-D008-1B4D-BA44-BC31799CCDBC}" dt="2025-08-19T15:29:32.380" v="14206" actId="478"/>
          <ac:grpSpMkLst>
            <pc:docMk/>
            <pc:sldMk cId="4070023767" sldId="271"/>
            <ac:grpSpMk id="12" creationId="{4FC573B7-9D32-C5C6-0389-FAD4366D18BD}"/>
          </ac:grpSpMkLst>
        </pc:grpChg>
      </pc:sldChg>
      <pc:sldChg chg="modSp mod">
        <pc:chgData name="Jesse, Kevin" userId="6f05423f-cf98-4c12-b626-169f8a1317c4" providerId="ADAL" clId="{89AB3C09-D008-1B4D-BA44-BC31799CCDBC}" dt="2025-08-19T15:04:53.425" v="14159" actId="20577"/>
        <pc:sldMkLst>
          <pc:docMk/>
          <pc:sldMk cId="623885124" sldId="274"/>
        </pc:sldMkLst>
        <pc:spChg chg="mod">
          <ac:chgData name="Jesse, Kevin" userId="6f05423f-cf98-4c12-b626-169f8a1317c4" providerId="ADAL" clId="{89AB3C09-D008-1B4D-BA44-BC31799CCDBC}" dt="2025-08-19T15:04:04.795" v="14147" actId="20577"/>
          <ac:spMkLst>
            <pc:docMk/>
            <pc:sldMk cId="623885124" sldId="274"/>
            <ac:spMk id="2" creationId="{2879384A-47B3-CB5B-C108-0DA15DB39EA3}"/>
          </ac:spMkLst>
        </pc:spChg>
        <pc:spChg chg="mod">
          <ac:chgData name="Jesse, Kevin" userId="6f05423f-cf98-4c12-b626-169f8a1317c4" providerId="ADAL" clId="{89AB3C09-D008-1B4D-BA44-BC31799CCDBC}" dt="2025-08-19T15:04:53.425" v="14159" actId="20577"/>
          <ac:spMkLst>
            <pc:docMk/>
            <pc:sldMk cId="623885124" sldId="274"/>
            <ac:spMk id="3" creationId="{8C340AF5-231F-F207-14B2-D519D0C785AF}"/>
          </ac:spMkLst>
        </pc:spChg>
      </pc:sldChg>
      <pc:sldChg chg="new del">
        <pc:chgData name="Jesse, Kevin" userId="6f05423f-cf98-4c12-b626-169f8a1317c4" providerId="ADAL" clId="{89AB3C09-D008-1B4D-BA44-BC31799CCDBC}" dt="2025-08-11T14:57:22.405" v="56" actId="2696"/>
        <pc:sldMkLst>
          <pc:docMk/>
          <pc:sldMk cId="75072876" sldId="287"/>
        </pc:sldMkLst>
      </pc:sldChg>
      <pc:sldChg chg="add">
        <pc:chgData name="Jesse, Kevin" userId="6f05423f-cf98-4c12-b626-169f8a1317c4" providerId="ADAL" clId="{89AB3C09-D008-1B4D-BA44-BC31799CCDBC}" dt="2025-08-11T14:57:28.864" v="57"/>
        <pc:sldMkLst>
          <pc:docMk/>
          <pc:sldMk cId="2989843250" sldId="287"/>
        </pc:sldMkLst>
      </pc:sldChg>
      <pc:sldChg chg="addSp modSp new mod">
        <pc:chgData name="Jesse, Kevin" userId="6f05423f-cf98-4c12-b626-169f8a1317c4" providerId="ADAL" clId="{89AB3C09-D008-1B4D-BA44-BC31799CCDBC}" dt="2025-08-11T14:57:14.684" v="55" actId="1076"/>
        <pc:sldMkLst>
          <pc:docMk/>
          <pc:sldMk cId="1034749082" sldId="288"/>
        </pc:sldMkLst>
        <pc:graphicFrameChg chg="add mod">
          <ac:chgData name="Jesse, Kevin" userId="6f05423f-cf98-4c12-b626-169f8a1317c4" providerId="ADAL" clId="{89AB3C09-D008-1B4D-BA44-BC31799CCDBC}" dt="2025-08-11T14:57:14.684" v="55" actId="1076"/>
          <ac:graphicFrameMkLst>
            <pc:docMk/>
            <pc:sldMk cId="1034749082" sldId="288"/>
            <ac:graphicFrameMk id="3" creationId="{987A29C8-964C-638E-7973-A09491870B2D}"/>
          </ac:graphicFrameMkLst>
        </pc:graphicFrameChg>
      </pc:sldChg>
      <pc:sldChg chg="del">
        <pc:chgData name="Jesse, Kevin" userId="6f05423f-cf98-4c12-b626-169f8a1317c4" providerId="ADAL" clId="{89AB3C09-D008-1B4D-BA44-BC31799CCDBC}" dt="2025-08-11T15:01:08.746" v="628" actId="2696"/>
        <pc:sldMkLst>
          <pc:docMk/>
          <pc:sldMk cId="0" sldId="289"/>
        </pc:sldMkLst>
      </pc:sldChg>
      <pc:sldChg chg="addSp modSp new mod">
        <pc:chgData name="Jesse, Kevin" userId="6f05423f-cf98-4c12-b626-169f8a1317c4" providerId="ADAL" clId="{89AB3C09-D008-1B4D-BA44-BC31799CCDBC}" dt="2025-08-11T15:10:46.417" v="745" actId="20577"/>
        <pc:sldMkLst>
          <pc:docMk/>
          <pc:sldMk cId="1313241580" sldId="289"/>
        </pc:sldMkLst>
        <pc:spChg chg="mod">
          <ac:chgData name="Jesse, Kevin" userId="6f05423f-cf98-4c12-b626-169f8a1317c4" providerId="ADAL" clId="{89AB3C09-D008-1B4D-BA44-BC31799CCDBC}" dt="2025-08-11T15:10:46.417" v="745" actId="20577"/>
          <ac:spMkLst>
            <pc:docMk/>
            <pc:sldMk cId="1313241580" sldId="289"/>
            <ac:spMk id="2" creationId="{859586BF-745C-9568-7611-B89FA797EA4E}"/>
          </ac:spMkLst>
        </pc:spChg>
        <pc:spChg chg="add mod">
          <ac:chgData name="Jesse, Kevin" userId="6f05423f-cf98-4c12-b626-169f8a1317c4" providerId="ADAL" clId="{89AB3C09-D008-1B4D-BA44-BC31799CCDBC}" dt="2025-08-11T15:08:56.209" v="665"/>
          <ac:spMkLst>
            <pc:docMk/>
            <pc:sldMk cId="1313241580" sldId="289"/>
            <ac:spMk id="6" creationId="{35E64918-A372-85FF-9EC0-FCBB0FF6DEF2}"/>
          </ac:spMkLst>
        </pc:spChg>
        <pc:spChg chg="add mod">
          <ac:chgData name="Jesse, Kevin" userId="6f05423f-cf98-4c12-b626-169f8a1317c4" providerId="ADAL" clId="{89AB3C09-D008-1B4D-BA44-BC31799CCDBC}" dt="2025-08-11T15:08:56.209" v="665"/>
          <ac:spMkLst>
            <pc:docMk/>
            <pc:sldMk cId="1313241580" sldId="289"/>
            <ac:spMk id="8" creationId="{756D620A-D59F-C5B0-1B2B-2BB1C4D30CBD}"/>
          </ac:spMkLst>
        </pc:spChg>
        <pc:spChg chg="add mod">
          <ac:chgData name="Jesse, Kevin" userId="6f05423f-cf98-4c12-b626-169f8a1317c4" providerId="ADAL" clId="{89AB3C09-D008-1B4D-BA44-BC31799CCDBC}" dt="2025-08-11T15:08:56.209" v="665"/>
          <ac:spMkLst>
            <pc:docMk/>
            <pc:sldMk cId="1313241580" sldId="289"/>
            <ac:spMk id="10" creationId="{892E7708-C39B-5AAE-B64B-690EC986717F}"/>
          </ac:spMkLst>
        </pc:spChg>
        <pc:spChg chg="mod">
          <ac:chgData name="Jesse, Kevin" userId="6f05423f-cf98-4c12-b626-169f8a1317c4" providerId="ADAL" clId="{89AB3C09-D008-1B4D-BA44-BC31799CCDBC}" dt="2025-08-11T15:08:56.209" v="665"/>
          <ac:spMkLst>
            <pc:docMk/>
            <pc:sldMk cId="1313241580" sldId="289"/>
            <ac:spMk id="12" creationId="{FF184FC0-7DD3-3A8A-D905-9B29CB156B63}"/>
          </ac:spMkLst>
        </pc:spChg>
        <pc:spChg chg="mod">
          <ac:chgData name="Jesse, Kevin" userId="6f05423f-cf98-4c12-b626-169f8a1317c4" providerId="ADAL" clId="{89AB3C09-D008-1B4D-BA44-BC31799CCDBC}" dt="2025-08-11T15:08:56.209" v="665"/>
          <ac:spMkLst>
            <pc:docMk/>
            <pc:sldMk cId="1313241580" sldId="289"/>
            <ac:spMk id="13" creationId="{2D932782-97D1-FC1A-5BC5-8A41AE258246}"/>
          </ac:spMkLst>
        </pc:spChg>
        <pc:spChg chg="mod">
          <ac:chgData name="Jesse, Kevin" userId="6f05423f-cf98-4c12-b626-169f8a1317c4" providerId="ADAL" clId="{89AB3C09-D008-1B4D-BA44-BC31799CCDBC}" dt="2025-08-11T15:08:56.209" v="665"/>
          <ac:spMkLst>
            <pc:docMk/>
            <pc:sldMk cId="1313241580" sldId="289"/>
            <ac:spMk id="15" creationId="{639446B5-5421-4BB0-CC0D-76FE8C19CB49}"/>
          </ac:spMkLst>
        </pc:spChg>
        <pc:spChg chg="mod">
          <ac:chgData name="Jesse, Kevin" userId="6f05423f-cf98-4c12-b626-169f8a1317c4" providerId="ADAL" clId="{89AB3C09-D008-1B4D-BA44-BC31799CCDBC}" dt="2025-08-11T15:08:56.209" v="665"/>
          <ac:spMkLst>
            <pc:docMk/>
            <pc:sldMk cId="1313241580" sldId="289"/>
            <ac:spMk id="16" creationId="{A3A4F161-7D9F-0D40-A07F-9EA3AD4CCC68}"/>
          </ac:spMkLst>
        </pc:spChg>
        <pc:spChg chg="mod">
          <ac:chgData name="Jesse, Kevin" userId="6f05423f-cf98-4c12-b626-169f8a1317c4" providerId="ADAL" clId="{89AB3C09-D008-1B4D-BA44-BC31799CCDBC}" dt="2025-08-11T15:10:21.840" v="689" actId="20577"/>
          <ac:spMkLst>
            <pc:docMk/>
            <pc:sldMk cId="1313241580" sldId="289"/>
            <ac:spMk id="18" creationId="{05CE65E0-543B-4495-E1E3-EA8A09050F03}"/>
          </ac:spMkLst>
        </pc:spChg>
        <pc:spChg chg="mod">
          <ac:chgData name="Jesse, Kevin" userId="6f05423f-cf98-4c12-b626-169f8a1317c4" providerId="ADAL" clId="{89AB3C09-D008-1B4D-BA44-BC31799CCDBC}" dt="2025-08-11T15:08:56.209" v="665"/>
          <ac:spMkLst>
            <pc:docMk/>
            <pc:sldMk cId="1313241580" sldId="289"/>
            <ac:spMk id="24" creationId="{DA3C0982-DB0A-5C29-35E3-8B2FE8578B97}"/>
          </ac:spMkLst>
        </pc:spChg>
        <pc:spChg chg="mod">
          <ac:chgData name="Jesse, Kevin" userId="6f05423f-cf98-4c12-b626-169f8a1317c4" providerId="ADAL" clId="{89AB3C09-D008-1B4D-BA44-BC31799CCDBC}" dt="2025-08-11T15:08:56.209" v="665"/>
          <ac:spMkLst>
            <pc:docMk/>
            <pc:sldMk cId="1313241580" sldId="289"/>
            <ac:spMk id="26" creationId="{3FCEF8CA-B5AB-829D-CE09-C75041BD687C}"/>
          </ac:spMkLst>
        </pc:spChg>
      </pc:sldChg>
      <pc:sldChg chg="addSp delSp modSp add mod">
        <pc:chgData name="Jesse, Kevin" userId="6f05423f-cf98-4c12-b626-169f8a1317c4" providerId="ADAL" clId="{89AB3C09-D008-1B4D-BA44-BC31799CCDBC}" dt="2025-08-11T15:01:40.584" v="663"/>
        <pc:sldMkLst>
          <pc:docMk/>
          <pc:sldMk cId="3125970053" sldId="290"/>
        </pc:sldMkLst>
        <pc:graphicFrameChg chg="mod">
          <ac:chgData name="Jesse, Kevin" userId="6f05423f-cf98-4c12-b626-169f8a1317c4" providerId="ADAL" clId="{89AB3C09-D008-1B4D-BA44-BC31799CCDBC}" dt="2025-08-11T15:01:40.584" v="663"/>
          <ac:graphicFrameMkLst>
            <pc:docMk/>
            <pc:sldMk cId="3125970053" sldId="290"/>
            <ac:graphicFrameMk id="3" creationId="{6053C32F-7DB0-0B20-1CDF-891C62677F77}"/>
          </ac:graphicFrameMkLst>
        </pc:graphicFrameChg>
        <pc:graphicFrameChg chg="add mod">
          <ac:chgData name="Jesse, Kevin" userId="6f05423f-cf98-4c12-b626-169f8a1317c4" providerId="ADAL" clId="{89AB3C09-D008-1B4D-BA44-BC31799CCDBC}" dt="2025-08-11T15:01:35.624" v="662" actId="1036"/>
          <ac:graphicFrameMkLst>
            <pc:docMk/>
            <pc:sldMk cId="3125970053" sldId="290"/>
            <ac:graphicFrameMk id="4" creationId="{2AF6EB54-97AC-F243-D3C0-BFD4C62BE219}"/>
          </ac:graphicFrameMkLst>
        </pc:graphicFrameChg>
      </pc:sldChg>
      <pc:sldChg chg="addSp delSp modSp new mod modNotesTx">
        <pc:chgData name="Jesse, Kevin" userId="6f05423f-cf98-4c12-b626-169f8a1317c4" providerId="ADAL" clId="{89AB3C09-D008-1B4D-BA44-BC31799CCDBC}" dt="2025-08-13T07:12:05.714" v="5454" actId="1076"/>
        <pc:sldMkLst>
          <pc:docMk/>
          <pc:sldMk cId="730397148" sldId="291"/>
        </pc:sldMkLst>
        <pc:spChg chg="mod">
          <ac:chgData name="Jesse, Kevin" userId="6f05423f-cf98-4c12-b626-169f8a1317c4" providerId="ADAL" clId="{89AB3C09-D008-1B4D-BA44-BC31799CCDBC}" dt="2025-08-13T06:59:30.203" v="4523" actId="20577"/>
          <ac:spMkLst>
            <pc:docMk/>
            <pc:sldMk cId="730397148" sldId="291"/>
            <ac:spMk id="2" creationId="{D1676E09-4DF5-5AA4-FFF3-A4D5091CAF93}"/>
          </ac:spMkLst>
        </pc:spChg>
        <pc:spChg chg="mod">
          <ac:chgData name="Jesse, Kevin" userId="6f05423f-cf98-4c12-b626-169f8a1317c4" providerId="ADAL" clId="{89AB3C09-D008-1B4D-BA44-BC31799CCDBC}" dt="2025-08-13T07:10:31.397" v="5164"/>
          <ac:spMkLst>
            <pc:docMk/>
            <pc:sldMk cId="730397148" sldId="291"/>
            <ac:spMk id="5" creationId="{4C9B483B-10D5-A13C-0D1C-B9C5CC6F6876}"/>
          </ac:spMkLst>
        </pc:spChg>
        <pc:spChg chg="mod">
          <ac:chgData name="Jesse, Kevin" userId="6f05423f-cf98-4c12-b626-169f8a1317c4" providerId="ADAL" clId="{89AB3C09-D008-1B4D-BA44-BC31799CCDBC}" dt="2025-08-13T07:11:50.615" v="5452" actId="20577"/>
          <ac:spMkLst>
            <pc:docMk/>
            <pc:sldMk cId="730397148" sldId="291"/>
            <ac:spMk id="6" creationId="{C88B9DDA-C9E1-215E-1B00-4BBBD88A3B34}"/>
          </ac:spMkLst>
        </pc:spChg>
        <pc:spChg chg="mod">
          <ac:chgData name="Jesse, Kevin" userId="6f05423f-cf98-4c12-b626-169f8a1317c4" providerId="ADAL" clId="{89AB3C09-D008-1B4D-BA44-BC31799CCDBC}" dt="2025-08-13T07:00:24.756" v="4525"/>
          <ac:spMkLst>
            <pc:docMk/>
            <pc:sldMk cId="730397148" sldId="291"/>
            <ac:spMk id="8" creationId="{C983013D-9873-895E-4FFE-F4F802C12C89}"/>
          </ac:spMkLst>
        </pc:spChg>
        <pc:spChg chg="mod">
          <ac:chgData name="Jesse, Kevin" userId="6f05423f-cf98-4c12-b626-169f8a1317c4" providerId="ADAL" clId="{89AB3C09-D008-1B4D-BA44-BC31799CCDBC}" dt="2025-08-13T07:00:24.756" v="4525"/>
          <ac:spMkLst>
            <pc:docMk/>
            <pc:sldMk cId="730397148" sldId="291"/>
            <ac:spMk id="9" creationId="{82E7FA41-6357-F3E3-D95D-6206E65AD1A1}"/>
          </ac:spMkLst>
        </pc:spChg>
        <pc:grpChg chg="add mod">
          <ac:chgData name="Jesse, Kevin" userId="6f05423f-cf98-4c12-b626-169f8a1317c4" providerId="ADAL" clId="{89AB3C09-D008-1B4D-BA44-BC31799CCDBC}" dt="2025-08-13T07:11:54.471" v="5453" actId="1076"/>
          <ac:grpSpMkLst>
            <pc:docMk/>
            <pc:sldMk cId="730397148" sldId="291"/>
            <ac:grpSpMk id="4" creationId="{3F1EB40A-BA2D-A3E7-1D48-C1377854E31D}"/>
          </ac:grpSpMkLst>
        </pc:grpChg>
        <pc:grpChg chg="add mod">
          <ac:chgData name="Jesse, Kevin" userId="6f05423f-cf98-4c12-b626-169f8a1317c4" providerId="ADAL" clId="{89AB3C09-D008-1B4D-BA44-BC31799CCDBC}" dt="2025-08-13T07:12:05.714" v="5454" actId="1076"/>
          <ac:grpSpMkLst>
            <pc:docMk/>
            <pc:sldMk cId="730397148" sldId="291"/>
            <ac:grpSpMk id="7" creationId="{4CAF8DF6-226B-12F2-0440-9A65AFC4D4B5}"/>
          </ac:grpSpMkLst>
        </pc:grpChg>
      </pc:sldChg>
      <pc:sldChg chg="addSp delSp modSp add del mod ord">
        <pc:chgData name="Jesse, Kevin" userId="6f05423f-cf98-4c12-b626-169f8a1317c4" providerId="ADAL" clId="{89AB3C09-D008-1B4D-BA44-BC31799CCDBC}" dt="2025-08-13T06:57:23.181" v="4451" actId="2696"/>
        <pc:sldMkLst>
          <pc:docMk/>
          <pc:sldMk cId="1217460317" sldId="291"/>
        </pc:sldMkLst>
      </pc:sldChg>
      <pc:sldChg chg="delSp modSp add del mod">
        <pc:chgData name="Jesse, Kevin" userId="6f05423f-cf98-4c12-b626-169f8a1317c4" providerId="ADAL" clId="{89AB3C09-D008-1B4D-BA44-BC31799CCDBC}" dt="2025-08-13T06:59:05.304" v="4470" actId="2696"/>
        <pc:sldMkLst>
          <pc:docMk/>
          <pc:sldMk cId="2661374954" sldId="291"/>
        </pc:sldMkLst>
      </pc:sldChg>
      <pc:sldChg chg="addSp modSp new mod ord">
        <pc:chgData name="Jesse, Kevin" userId="6f05423f-cf98-4c12-b626-169f8a1317c4" providerId="ADAL" clId="{89AB3C09-D008-1B4D-BA44-BC31799CCDBC}" dt="2025-08-14T18:21:18.447" v="14081" actId="20577"/>
        <pc:sldMkLst>
          <pc:docMk/>
          <pc:sldMk cId="3900678681" sldId="292"/>
        </pc:sldMkLst>
        <pc:spChg chg="mod">
          <ac:chgData name="Jesse, Kevin" userId="6f05423f-cf98-4c12-b626-169f8a1317c4" providerId="ADAL" clId="{89AB3C09-D008-1B4D-BA44-BC31799CCDBC}" dt="2025-08-12T17:57:50.893" v="2752" actId="20577"/>
          <ac:spMkLst>
            <pc:docMk/>
            <pc:sldMk cId="3900678681" sldId="292"/>
            <ac:spMk id="2" creationId="{7903ED5A-E704-8BD8-C768-49520D5EF0D8}"/>
          </ac:spMkLst>
        </pc:spChg>
        <pc:spChg chg="add mod">
          <ac:chgData name="Jesse, Kevin" userId="6f05423f-cf98-4c12-b626-169f8a1317c4" providerId="ADAL" clId="{89AB3C09-D008-1B4D-BA44-BC31799CCDBC}" dt="2025-08-13T07:48:49.956" v="7538"/>
          <ac:spMkLst>
            <pc:docMk/>
            <pc:sldMk cId="3900678681" sldId="292"/>
            <ac:spMk id="3" creationId="{3B65C510-66C3-DF91-8ED5-710A00852376}"/>
          </ac:spMkLst>
        </pc:spChg>
        <pc:spChg chg="add mod">
          <ac:chgData name="Jesse, Kevin" userId="6f05423f-cf98-4c12-b626-169f8a1317c4" providerId="ADAL" clId="{89AB3C09-D008-1B4D-BA44-BC31799CCDBC}" dt="2025-08-13T07:48:49.956" v="7538"/>
          <ac:spMkLst>
            <pc:docMk/>
            <pc:sldMk cId="3900678681" sldId="292"/>
            <ac:spMk id="4" creationId="{87556578-21C5-F21E-70FB-F2EDEE65FC03}"/>
          </ac:spMkLst>
        </pc:spChg>
        <pc:spChg chg="add mod">
          <ac:chgData name="Jesse, Kevin" userId="6f05423f-cf98-4c12-b626-169f8a1317c4" providerId="ADAL" clId="{89AB3C09-D008-1B4D-BA44-BC31799CCDBC}" dt="2025-08-13T07:48:49.956" v="7538"/>
          <ac:spMkLst>
            <pc:docMk/>
            <pc:sldMk cId="3900678681" sldId="292"/>
            <ac:spMk id="9" creationId="{012D9E47-B347-767C-E585-549DE10EA508}"/>
          </ac:spMkLst>
        </pc:spChg>
        <pc:spChg chg="add mod">
          <ac:chgData name="Jesse, Kevin" userId="6f05423f-cf98-4c12-b626-169f8a1317c4" providerId="ADAL" clId="{89AB3C09-D008-1B4D-BA44-BC31799CCDBC}" dt="2025-08-13T07:48:49.956" v="7538"/>
          <ac:spMkLst>
            <pc:docMk/>
            <pc:sldMk cId="3900678681" sldId="292"/>
            <ac:spMk id="12" creationId="{2DEE4BFD-A88C-A257-C498-919018F23961}"/>
          </ac:spMkLst>
        </pc:spChg>
        <pc:spChg chg="add mod">
          <ac:chgData name="Jesse, Kevin" userId="6f05423f-cf98-4c12-b626-169f8a1317c4" providerId="ADAL" clId="{89AB3C09-D008-1B4D-BA44-BC31799CCDBC}" dt="2025-08-13T07:48:49.956" v="7538"/>
          <ac:spMkLst>
            <pc:docMk/>
            <pc:sldMk cId="3900678681" sldId="292"/>
            <ac:spMk id="15" creationId="{7DE9EAF3-2905-BC94-28CF-DDF12F654C26}"/>
          </ac:spMkLst>
        </pc:spChg>
        <pc:spChg chg="mod">
          <ac:chgData name="Jesse, Kevin" userId="6f05423f-cf98-4c12-b626-169f8a1317c4" providerId="ADAL" clId="{89AB3C09-D008-1B4D-BA44-BC31799CCDBC}" dt="2025-08-13T07:54:50.708" v="8551" actId="122"/>
          <ac:spMkLst>
            <pc:docMk/>
            <pc:sldMk cId="3900678681" sldId="292"/>
            <ac:spMk id="17" creationId="{3696BB05-A7E6-78C4-55D3-CB8FA595D6F2}"/>
          </ac:spMkLst>
        </pc:spChg>
        <pc:spChg chg="mod">
          <ac:chgData name="Jesse, Kevin" userId="6f05423f-cf98-4c12-b626-169f8a1317c4" providerId="ADAL" clId="{89AB3C09-D008-1B4D-BA44-BC31799CCDBC}" dt="2025-08-13T07:53:58.706" v="8541" actId="120"/>
          <ac:spMkLst>
            <pc:docMk/>
            <pc:sldMk cId="3900678681" sldId="292"/>
            <ac:spMk id="18" creationId="{F913DF24-506C-6A11-2D29-EE2CC8D42B15}"/>
          </ac:spMkLst>
        </pc:spChg>
        <pc:spChg chg="mod">
          <ac:chgData name="Jesse, Kevin" userId="6f05423f-cf98-4c12-b626-169f8a1317c4" providerId="ADAL" clId="{89AB3C09-D008-1B4D-BA44-BC31799CCDBC}" dt="2025-08-13T07:54:53.539" v="8552" actId="122"/>
          <ac:spMkLst>
            <pc:docMk/>
            <pc:sldMk cId="3900678681" sldId="292"/>
            <ac:spMk id="20" creationId="{31FE919C-F550-B95C-C7BF-1E2A301B139C}"/>
          </ac:spMkLst>
        </pc:spChg>
        <pc:spChg chg="mod">
          <ac:chgData name="Jesse, Kevin" userId="6f05423f-cf98-4c12-b626-169f8a1317c4" providerId="ADAL" clId="{89AB3C09-D008-1B4D-BA44-BC31799CCDBC}" dt="2025-08-14T18:21:18.447" v="14081" actId="20577"/>
          <ac:spMkLst>
            <pc:docMk/>
            <pc:sldMk cId="3900678681" sldId="292"/>
            <ac:spMk id="21" creationId="{0936CC58-9FD0-4760-306F-C2BAB8CC2CD5}"/>
          </ac:spMkLst>
        </pc:spChg>
        <pc:spChg chg="mod">
          <ac:chgData name="Jesse, Kevin" userId="6f05423f-cf98-4c12-b626-169f8a1317c4" providerId="ADAL" clId="{89AB3C09-D008-1B4D-BA44-BC31799CCDBC}" dt="2025-08-13T07:56:11.419" v="8569" actId="1076"/>
          <ac:spMkLst>
            <pc:docMk/>
            <pc:sldMk cId="3900678681" sldId="292"/>
            <ac:spMk id="23" creationId="{6ACF0BA6-6A70-58FE-7602-8DD401D477E5}"/>
          </ac:spMkLst>
        </pc:spChg>
        <pc:spChg chg="mod">
          <ac:chgData name="Jesse, Kevin" userId="6f05423f-cf98-4c12-b626-169f8a1317c4" providerId="ADAL" clId="{89AB3C09-D008-1B4D-BA44-BC31799CCDBC}" dt="2025-08-13T07:55:07.087" v="8555" actId="1076"/>
          <ac:spMkLst>
            <pc:docMk/>
            <pc:sldMk cId="3900678681" sldId="292"/>
            <ac:spMk id="24" creationId="{993D9ADA-7148-DDF0-AB70-D0312F7CD7F5}"/>
          </ac:spMkLst>
        </pc:spChg>
        <pc:spChg chg="mod">
          <ac:chgData name="Jesse, Kevin" userId="6f05423f-cf98-4c12-b626-169f8a1317c4" providerId="ADAL" clId="{89AB3C09-D008-1B4D-BA44-BC31799CCDBC}" dt="2025-08-13T07:56:24.651" v="8572" actId="1076"/>
          <ac:spMkLst>
            <pc:docMk/>
            <pc:sldMk cId="3900678681" sldId="292"/>
            <ac:spMk id="26" creationId="{C9199FB6-80BB-0ED7-CA90-3CA44AD70398}"/>
          </ac:spMkLst>
        </pc:spChg>
        <pc:spChg chg="mod">
          <ac:chgData name="Jesse, Kevin" userId="6f05423f-cf98-4c12-b626-169f8a1317c4" providerId="ADAL" clId="{89AB3C09-D008-1B4D-BA44-BC31799CCDBC}" dt="2025-08-13T07:51:47.163" v="8087" actId="120"/>
          <ac:spMkLst>
            <pc:docMk/>
            <pc:sldMk cId="3900678681" sldId="292"/>
            <ac:spMk id="27" creationId="{D4A3C284-85B6-9959-04CB-7C5B15F9D904}"/>
          </ac:spMkLst>
        </pc:spChg>
        <pc:spChg chg="mod">
          <ac:chgData name="Jesse, Kevin" userId="6f05423f-cf98-4c12-b626-169f8a1317c4" providerId="ADAL" clId="{89AB3C09-D008-1B4D-BA44-BC31799CCDBC}" dt="2025-08-13T07:54:47.955" v="8550" actId="122"/>
          <ac:spMkLst>
            <pc:docMk/>
            <pc:sldMk cId="3900678681" sldId="292"/>
            <ac:spMk id="29" creationId="{29285A49-6B80-7EE0-15A4-FEAC811F7EEE}"/>
          </ac:spMkLst>
        </pc:spChg>
        <pc:spChg chg="mod">
          <ac:chgData name="Jesse, Kevin" userId="6f05423f-cf98-4c12-b626-169f8a1317c4" providerId="ADAL" clId="{89AB3C09-D008-1B4D-BA44-BC31799CCDBC}" dt="2025-08-13T07:54:01.207" v="8542" actId="120"/>
          <ac:spMkLst>
            <pc:docMk/>
            <pc:sldMk cId="3900678681" sldId="292"/>
            <ac:spMk id="30" creationId="{523745FD-022F-A8CF-F7CB-D65B59398049}"/>
          </ac:spMkLst>
        </pc:spChg>
        <pc:spChg chg="mod">
          <ac:chgData name="Jesse, Kevin" userId="6f05423f-cf98-4c12-b626-169f8a1317c4" providerId="ADAL" clId="{89AB3C09-D008-1B4D-BA44-BC31799CCDBC}" dt="2025-08-13T07:55:37.583" v="8561" actId="1076"/>
          <ac:spMkLst>
            <pc:docMk/>
            <pc:sldMk cId="3900678681" sldId="292"/>
            <ac:spMk id="32" creationId="{598E79B5-A796-1F40-85DF-994FE743802E}"/>
          </ac:spMkLst>
        </pc:spChg>
        <pc:spChg chg="mod">
          <ac:chgData name="Jesse, Kevin" userId="6f05423f-cf98-4c12-b626-169f8a1317c4" providerId="ADAL" clId="{89AB3C09-D008-1B4D-BA44-BC31799CCDBC}" dt="2025-08-13T07:51:50.914" v="8089" actId="120"/>
          <ac:spMkLst>
            <pc:docMk/>
            <pc:sldMk cId="3900678681" sldId="292"/>
            <ac:spMk id="33" creationId="{897F70AD-B99B-849D-3E62-3D7D05854B6E}"/>
          </ac:spMkLst>
        </pc:spChg>
        <pc:spChg chg="mod">
          <ac:chgData name="Jesse, Kevin" userId="6f05423f-cf98-4c12-b626-169f8a1317c4" providerId="ADAL" clId="{89AB3C09-D008-1B4D-BA44-BC31799CCDBC}" dt="2025-08-13T07:56:16.564" v="8570" actId="1076"/>
          <ac:spMkLst>
            <pc:docMk/>
            <pc:sldMk cId="3900678681" sldId="292"/>
            <ac:spMk id="34" creationId="{CA0B7350-DC9D-3D25-647B-AC6349F7ABB2}"/>
          </ac:spMkLst>
        </pc:spChg>
        <pc:spChg chg="add mod">
          <ac:chgData name="Jesse, Kevin" userId="6f05423f-cf98-4c12-b626-169f8a1317c4" providerId="ADAL" clId="{89AB3C09-D008-1B4D-BA44-BC31799CCDBC}" dt="2025-08-13T07:55:42.469" v="8562" actId="1076"/>
          <ac:spMkLst>
            <pc:docMk/>
            <pc:sldMk cId="3900678681" sldId="292"/>
            <ac:spMk id="35" creationId="{4D5E8FAB-C12C-DA3B-56FF-495D625E9C5C}"/>
          </ac:spMkLst>
        </pc:spChg>
        <pc:spChg chg="add mod">
          <ac:chgData name="Jesse, Kevin" userId="6f05423f-cf98-4c12-b626-169f8a1317c4" providerId="ADAL" clId="{89AB3C09-D008-1B4D-BA44-BC31799CCDBC}" dt="2025-08-13T07:48:49.956" v="7538"/>
          <ac:spMkLst>
            <pc:docMk/>
            <pc:sldMk cId="3900678681" sldId="292"/>
            <ac:spMk id="36" creationId="{31D82A59-8709-C937-C323-C526E16CF928}"/>
          </ac:spMkLst>
        </pc:spChg>
        <pc:spChg chg="mod">
          <ac:chgData name="Jesse, Kevin" userId="6f05423f-cf98-4c12-b626-169f8a1317c4" providerId="ADAL" clId="{89AB3C09-D008-1B4D-BA44-BC31799CCDBC}" dt="2025-08-13T07:55:48.551" v="8563" actId="1076"/>
          <ac:spMkLst>
            <pc:docMk/>
            <pc:sldMk cId="3900678681" sldId="292"/>
            <ac:spMk id="38" creationId="{3A154ACF-D81C-3C75-C58D-0BC97DB803EF}"/>
          </ac:spMkLst>
        </pc:spChg>
        <pc:grpChg chg="mod">
          <ac:chgData name="Jesse, Kevin" userId="6f05423f-cf98-4c12-b626-169f8a1317c4" providerId="ADAL" clId="{89AB3C09-D008-1B4D-BA44-BC31799CCDBC}" dt="2025-08-13T07:54:29.023" v="8546" actId="14100"/>
          <ac:grpSpMkLst>
            <pc:docMk/>
            <pc:sldMk cId="3900678681" sldId="292"/>
            <ac:grpSpMk id="22" creationId="{659CE977-74ED-8223-BBD9-90CB6C46CCF6}"/>
          </ac:grpSpMkLst>
        </pc:grpChg>
        <pc:grpChg chg="mod">
          <ac:chgData name="Jesse, Kevin" userId="6f05423f-cf98-4c12-b626-169f8a1317c4" providerId="ADAL" clId="{89AB3C09-D008-1B4D-BA44-BC31799CCDBC}" dt="2025-08-13T07:54:14.427" v="8543" actId="14100"/>
          <ac:grpSpMkLst>
            <pc:docMk/>
            <pc:sldMk cId="3900678681" sldId="292"/>
            <ac:grpSpMk id="31" creationId="{1458C598-FE8A-5FB0-A0EC-A3DC1E3F24F0}"/>
          </ac:grpSpMkLst>
        </pc:grpChg>
      </pc:sldChg>
      <pc:sldChg chg="modSp add del mod modTransition modClrScheme chgLayout">
        <pc:chgData name="Jesse, Kevin" userId="6f05423f-cf98-4c12-b626-169f8a1317c4" providerId="ADAL" clId="{89AB3C09-D008-1B4D-BA44-BC31799CCDBC}" dt="2025-08-11T15:23:49.770" v="769" actId="48537"/>
        <pc:sldMkLst>
          <pc:docMk/>
          <pc:sldMk cId="1464415821" sldId="293"/>
        </pc:sldMkLst>
      </pc:sldChg>
      <pc:sldChg chg="addSp delSp modSp new mod">
        <pc:chgData name="Jesse, Kevin" userId="6f05423f-cf98-4c12-b626-169f8a1317c4" providerId="ADAL" clId="{89AB3C09-D008-1B4D-BA44-BC31799CCDBC}" dt="2025-08-11T18:19:48.293" v="2155" actId="14100"/>
        <pc:sldMkLst>
          <pc:docMk/>
          <pc:sldMk cId="3199984360" sldId="293"/>
        </pc:sldMkLst>
        <pc:spChg chg="mod">
          <ac:chgData name="Jesse, Kevin" userId="6f05423f-cf98-4c12-b626-169f8a1317c4" providerId="ADAL" clId="{89AB3C09-D008-1B4D-BA44-BC31799CCDBC}" dt="2025-08-11T17:56:47.028" v="811" actId="20577"/>
          <ac:spMkLst>
            <pc:docMk/>
            <pc:sldMk cId="3199984360" sldId="293"/>
            <ac:spMk id="2" creationId="{AB221658-7366-EA2C-568A-A51557A84FDD}"/>
          </ac:spMkLst>
        </pc:spChg>
        <pc:spChg chg="add mod">
          <ac:chgData name="Jesse, Kevin" userId="6f05423f-cf98-4c12-b626-169f8a1317c4" providerId="ADAL" clId="{89AB3C09-D008-1B4D-BA44-BC31799CCDBC}" dt="2025-08-11T18:05:57.041" v="812"/>
          <ac:spMkLst>
            <pc:docMk/>
            <pc:sldMk cId="3199984360" sldId="293"/>
            <ac:spMk id="4" creationId="{09B7282D-F66B-016A-8293-220FE86EECC2}"/>
          </ac:spMkLst>
        </pc:spChg>
        <pc:spChg chg="add mod">
          <ac:chgData name="Jesse, Kevin" userId="6f05423f-cf98-4c12-b626-169f8a1317c4" providerId="ADAL" clId="{89AB3C09-D008-1B4D-BA44-BC31799CCDBC}" dt="2025-08-11T18:05:57.041" v="812"/>
          <ac:spMkLst>
            <pc:docMk/>
            <pc:sldMk cId="3199984360" sldId="293"/>
            <ac:spMk id="7" creationId="{66325762-2758-0247-9B27-B6319CFDFDC1}"/>
          </ac:spMkLst>
        </pc:spChg>
        <pc:spChg chg="mod">
          <ac:chgData name="Jesse, Kevin" userId="6f05423f-cf98-4c12-b626-169f8a1317c4" providerId="ADAL" clId="{89AB3C09-D008-1B4D-BA44-BC31799CCDBC}" dt="2025-08-11T18:05:57.041" v="812"/>
          <ac:spMkLst>
            <pc:docMk/>
            <pc:sldMk cId="3199984360" sldId="293"/>
            <ac:spMk id="13" creationId="{7BA6F202-376C-54DC-7378-C13C36B553F4}"/>
          </ac:spMkLst>
        </pc:spChg>
        <pc:spChg chg="mod">
          <ac:chgData name="Jesse, Kevin" userId="6f05423f-cf98-4c12-b626-169f8a1317c4" providerId="ADAL" clId="{89AB3C09-D008-1B4D-BA44-BC31799CCDBC}" dt="2025-08-11T18:05:57.041" v="812"/>
          <ac:spMkLst>
            <pc:docMk/>
            <pc:sldMk cId="3199984360" sldId="293"/>
            <ac:spMk id="15" creationId="{CA4B5EFB-AFC5-52B6-4F83-29249D8B0DBA}"/>
          </ac:spMkLst>
        </pc:spChg>
        <pc:spChg chg="mod">
          <ac:chgData name="Jesse, Kevin" userId="6f05423f-cf98-4c12-b626-169f8a1317c4" providerId="ADAL" clId="{89AB3C09-D008-1B4D-BA44-BC31799CCDBC}" dt="2025-08-11T18:05:57.041" v="812"/>
          <ac:spMkLst>
            <pc:docMk/>
            <pc:sldMk cId="3199984360" sldId="293"/>
            <ac:spMk id="22" creationId="{5A079A4C-E254-A219-0432-82F7C5BEC178}"/>
          </ac:spMkLst>
        </pc:spChg>
        <pc:spChg chg="mod">
          <ac:chgData name="Jesse, Kevin" userId="6f05423f-cf98-4c12-b626-169f8a1317c4" providerId="ADAL" clId="{89AB3C09-D008-1B4D-BA44-BC31799CCDBC}" dt="2025-08-11T18:05:57.041" v="812"/>
          <ac:spMkLst>
            <pc:docMk/>
            <pc:sldMk cId="3199984360" sldId="293"/>
            <ac:spMk id="31" creationId="{4C49BCE5-FD64-88A8-982E-378E721092CB}"/>
          </ac:spMkLst>
        </pc:spChg>
        <pc:spChg chg="mod">
          <ac:chgData name="Jesse, Kevin" userId="6f05423f-cf98-4c12-b626-169f8a1317c4" providerId="ADAL" clId="{89AB3C09-D008-1B4D-BA44-BC31799CCDBC}" dt="2025-08-11T18:08:04.020" v="1045" actId="14100"/>
          <ac:spMkLst>
            <pc:docMk/>
            <pc:sldMk cId="3199984360" sldId="293"/>
            <ac:spMk id="33" creationId="{758B5D94-8768-183C-C6D0-D88A9E84D060}"/>
          </ac:spMkLst>
        </pc:spChg>
        <pc:spChg chg="mod">
          <ac:chgData name="Jesse, Kevin" userId="6f05423f-cf98-4c12-b626-169f8a1317c4" providerId="ADAL" clId="{89AB3C09-D008-1B4D-BA44-BC31799CCDBC}" dt="2025-08-11T18:14:31.326" v="1636" actId="34807"/>
          <ac:spMkLst>
            <pc:docMk/>
            <pc:sldMk cId="3199984360" sldId="293"/>
            <ac:spMk id="34" creationId="{616CB4B7-D56D-7514-107E-9E83672083E0}"/>
          </ac:spMkLst>
        </pc:spChg>
        <pc:spChg chg="mod">
          <ac:chgData name="Jesse, Kevin" userId="6f05423f-cf98-4c12-b626-169f8a1317c4" providerId="ADAL" clId="{89AB3C09-D008-1B4D-BA44-BC31799CCDBC}" dt="2025-08-11T18:09:34.276" v="1073" actId="20577"/>
          <ac:spMkLst>
            <pc:docMk/>
            <pc:sldMk cId="3199984360" sldId="293"/>
            <ac:spMk id="36" creationId="{9F87A07D-87CF-52E3-4010-730535E13E7E}"/>
          </ac:spMkLst>
        </pc:spChg>
        <pc:spChg chg="mod">
          <ac:chgData name="Jesse, Kevin" userId="6f05423f-cf98-4c12-b626-169f8a1317c4" providerId="ADAL" clId="{89AB3C09-D008-1B4D-BA44-BC31799CCDBC}" dt="2025-08-11T18:14:25.741" v="1635" actId="34807"/>
          <ac:spMkLst>
            <pc:docMk/>
            <pc:sldMk cId="3199984360" sldId="293"/>
            <ac:spMk id="37" creationId="{7A05BE09-7F0D-5CFB-E5A6-52114B73C595}"/>
          </ac:spMkLst>
        </pc:spChg>
        <pc:spChg chg="mod">
          <ac:chgData name="Jesse, Kevin" userId="6f05423f-cf98-4c12-b626-169f8a1317c4" providerId="ADAL" clId="{89AB3C09-D008-1B4D-BA44-BC31799CCDBC}" dt="2025-08-11T18:09:53.684" v="1102" actId="20577"/>
          <ac:spMkLst>
            <pc:docMk/>
            <pc:sldMk cId="3199984360" sldId="293"/>
            <ac:spMk id="39" creationId="{8DEB4E3B-B721-718F-3A75-72C0FA8D82EF}"/>
          </ac:spMkLst>
        </pc:spChg>
        <pc:spChg chg="mod">
          <ac:chgData name="Jesse, Kevin" userId="6f05423f-cf98-4c12-b626-169f8a1317c4" providerId="ADAL" clId="{89AB3C09-D008-1B4D-BA44-BC31799CCDBC}" dt="2025-08-11T18:14:13.060" v="1633" actId="34807"/>
          <ac:spMkLst>
            <pc:docMk/>
            <pc:sldMk cId="3199984360" sldId="293"/>
            <ac:spMk id="40" creationId="{9ABC8F5D-9A21-5661-8B8D-A51739E8ABA2}"/>
          </ac:spMkLst>
        </pc:spChg>
        <pc:spChg chg="mod">
          <ac:chgData name="Jesse, Kevin" userId="6f05423f-cf98-4c12-b626-169f8a1317c4" providerId="ADAL" clId="{89AB3C09-D008-1B4D-BA44-BC31799CCDBC}" dt="2025-08-11T18:09:38.074" v="1085" actId="20577"/>
          <ac:spMkLst>
            <pc:docMk/>
            <pc:sldMk cId="3199984360" sldId="293"/>
            <ac:spMk id="42" creationId="{1EFB9CA8-98D9-8BE9-89DE-DB3445BE5852}"/>
          </ac:spMkLst>
        </pc:spChg>
        <pc:spChg chg="mod">
          <ac:chgData name="Jesse, Kevin" userId="6f05423f-cf98-4c12-b626-169f8a1317c4" providerId="ADAL" clId="{89AB3C09-D008-1B4D-BA44-BC31799CCDBC}" dt="2025-08-11T18:14:19.455" v="1634" actId="34807"/>
          <ac:spMkLst>
            <pc:docMk/>
            <pc:sldMk cId="3199984360" sldId="293"/>
            <ac:spMk id="43" creationId="{08EAD5AB-5E41-769B-F22C-3C4364513E2C}"/>
          </ac:spMkLst>
        </pc:spChg>
        <pc:spChg chg="add mod">
          <ac:chgData name="Jesse, Kevin" userId="6f05423f-cf98-4c12-b626-169f8a1317c4" providerId="ADAL" clId="{89AB3C09-D008-1B4D-BA44-BC31799CCDBC}" dt="2025-08-11T18:16:18.263" v="1650" actId="14100"/>
          <ac:spMkLst>
            <pc:docMk/>
            <pc:sldMk cId="3199984360" sldId="293"/>
            <ac:spMk id="106" creationId="{31AA127D-4EE8-4349-A9A8-94C572844003}"/>
          </ac:spMkLst>
        </pc:spChg>
        <pc:spChg chg="add mod">
          <ac:chgData name="Jesse, Kevin" userId="6f05423f-cf98-4c12-b626-169f8a1317c4" providerId="ADAL" clId="{89AB3C09-D008-1B4D-BA44-BC31799CCDBC}" dt="2025-08-11T18:18:35.051" v="2028" actId="403"/>
          <ac:spMkLst>
            <pc:docMk/>
            <pc:sldMk cId="3199984360" sldId="293"/>
            <ac:spMk id="107" creationId="{06537CFB-32A4-E8EC-8D28-FF6EF6D728EB}"/>
          </ac:spMkLst>
        </pc:spChg>
        <pc:spChg chg="add mod">
          <ac:chgData name="Jesse, Kevin" userId="6f05423f-cf98-4c12-b626-169f8a1317c4" providerId="ADAL" clId="{89AB3C09-D008-1B4D-BA44-BC31799CCDBC}" dt="2025-08-11T18:19:48.293" v="2155" actId="14100"/>
          <ac:spMkLst>
            <pc:docMk/>
            <pc:sldMk cId="3199984360" sldId="293"/>
            <ac:spMk id="108" creationId="{B09D9232-5249-A4F9-C815-4775BE51F475}"/>
          </ac:spMkLst>
        </pc:spChg>
        <pc:grpChg chg="mod">
          <ac:chgData name="Jesse, Kevin" userId="6f05423f-cf98-4c12-b626-169f8a1317c4" providerId="ADAL" clId="{89AB3C09-D008-1B4D-BA44-BC31799CCDBC}" dt="2025-08-11T18:08:06.707" v="1046" actId="1076"/>
          <ac:grpSpMkLst>
            <pc:docMk/>
            <pc:sldMk cId="3199984360" sldId="293"/>
            <ac:grpSpMk id="32" creationId="{868C1352-B8EF-35CE-6DAB-118D92709295}"/>
          </ac:grpSpMkLst>
        </pc:grpChg>
        <pc:grpChg chg="mod">
          <ac:chgData name="Jesse, Kevin" userId="6f05423f-cf98-4c12-b626-169f8a1317c4" providerId="ADAL" clId="{89AB3C09-D008-1B4D-BA44-BC31799CCDBC}" dt="2025-08-11T18:09:23.863" v="1056" actId="14100"/>
          <ac:grpSpMkLst>
            <pc:docMk/>
            <pc:sldMk cId="3199984360" sldId="293"/>
            <ac:grpSpMk id="35" creationId="{11BF367E-2911-DB04-E410-B8087EBB8589}"/>
          </ac:grpSpMkLst>
        </pc:grpChg>
        <pc:grpChg chg="mod">
          <ac:chgData name="Jesse, Kevin" userId="6f05423f-cf98-4c12-b626-169f8a1317c4" providerId="ADAL" clId="{89AB3C09-D008-1B4D-BA44-BC31799CCDBC}" dt="2025-08-11T18:14:54.639" v="1637" actId="14100"/>
          <ac:grpSpMkLst>
            <pc:docMk/>
            <pc:sldMk cId="3199984360" sldId="293"/>
            <ac:grpSpMk id="38" creationId="{578823EB-63E2-DA16-A2C1-87D39C8C0C53}"/>
          </ac:grpSpMkLst>
        </pc:grpChg>
        <pc:grpChg chg="mod">
          <ac:chgData name="Jesse, Kevin" userId="6f05423f-cf98-4c12-b626-169f8a1317c4" providerId="ADAL" clId="{89AB3C09-D008-1B4D-BA44-BC31799CCDBC}" dt="2025-08-11T18:12:56.910" v="1626" actId="14100"/>
          <ac:grpSpMkLst>
            <pc:docMk/>
            <pc:sldMk cId="3199984360" sldId="293"/>
            <ac:grpSpMk id="41" creationId="{9EFAA82B-2AA9-C107-4DD0-F89A65599E7D}"/>
          </ac:grpSpMkLst>
        </pc:grpChg>
      </pc:sldChg>
      <pc:sldChg chg="addSp delSp modSp new mod ord">
        <pc:chgData name="Jesse, Kevin" userId="6f05423f-cf98-4c12-b626-169f8a1317c4" providerId="ADAL" clId="{89AB3C09-D008-1B4D-BA44-BC31799CCDBC}" dt="2025-08-13T06:56:06.305" v="4450" actId="14100"/>
        <pc:sldMkLst>
          <pc:docMk/>
          <pc:sldMk cId="2917998896" sldId="294"/>
        </pc:sldMkLst>
        <pc:spChg chg="mod">
          <ac:chgData name="Jesse, Kevin" userId="6f05423f-cf98-4c12-b626-169f8a1317c4" providerId="ADAL" clId="{89AB3C09-D008-1B4D-BA44-BC31799CCDBC}" dt="2025-08-11T18:20:39.059" v="2203" actId="5793"/>
          <ac:spMkLst>
            <pc:docMk/>
            <pc:sldMk cId="2917998896" sldId="294"/>
            <ac:spMk id="2" creationId="{8AB14D99-24C8-0F03-C52E-F4FA06922449}"/>
          </ac:spMkLst>
        </pc:spChg>
        <pc:spChg chg="add mod">
          <ac:chgData name="Jesse, Kevin" userId="6f05423f-cf98-4c12-b626-169f8a1317c4" providerId="ADAL" clId="{89AB3C09-D008-1B4D-BA44-BC31799CCDBC}" dt="2025-08-11T18:22:02.438" v="2204"/>
          <ac:spMkLst>
            <pc:docMk/>
            <pc:sldMk cId="2917998896" sldId="294"/>
            <ac:spMk id="5" creationId="{55E81A74-75D1-64AF-4B13-9648C94621FA}"/>
          </ac:spMkLst>
        </pc:spChg>
        <pc:spChg chg="add mod">
          <ac:chgData name="Jesse, Kevin" userId="6f05423f-cf98-4c12-b626-169f8a1317c4" providerId="ADAL" clId="{89AB3C09-D008-1B4D-BA44-BC31799CCDBC}" dt="2025-08-11T18:22:02.438" v="2204"/>
          <ac:spMkLst>
            <pc:docMk/>
            <pc:sldMk cId="2917998896" sldId="294"/>
            <ac:spMk id="13" creationId="{7888F609-0F0B-D68C-206C-409FE4088D57}"/>
          </ac:spMkLst>
        </pc:spChg>
        <pc:spChg chg="mod">
          <ac:chgData name="Jesse, Kevin" userId="6f05423f-cf98-4c12-b626-169f8a1317c4" providerId="ADAL" clId="{89AB3C09-D008-1B4D-BA44-BC31799CCDBC}" dt="2025-08-13T06:53:05.183" v="4094"/>
          <ac:spMkLst>
            <pc:docMk/>
            <pc:sldMk cId="2917998896" sldId="294"/>
            <ac:spMk id="16" creationId="{D54FEB0C-61E9-DAB4-EEB5-F771EC57C5DA}"/>
          </ac:spMkLst>
        </pc:spChg>
        <pc:spChg chg="mod">
          <ac:chgData name="Jesse, Kevin" userId="6f05423f-cf98-4c12-b626-169f8a1317c4" providerId="ADAL" clId="{89AB3C09-D008-1B4D-BA44-BC31799CCDBC}" dt="2025-08-13T06:56:06.305" v="4450" actId="14100"/>
          <ac:spMkLst>
            <pc:docMk/>
            <pc:sldMk cId="2917998896" sldId="294"/>
            <ac:spMk id="17" creationId="{7BCDE0AF-1AA7-9B79-6CA4-636996FBBE10}"/>
          </ac:spMkLst>
        </pc:spChg>
        <pc:spChg chg="mod">
          <ac:chgData name="Jesse, Kevin" userId="6f05423f-cf98-4c12-b626-169f8a1317c4" providerId="ADAL" clId="{89AB3C09-D008-1B4D-BA44-BC31799CCDBC}" dt="2025-08-13T06:54:07.450" v="4115"/>
          <ac:spMkLst>
            <pc:docMk/>
            <pc:sldMk cId="2917998896" sldId="294"/>
            <ac:spMk id="19" creationId="{F660E563-8AE8-C3A3-CAD2-6EEA07741487}"/>
          </ac:spMkLst>
        </pc:spChg>
        <pc:spChg chg="mod">
          <ac:chgData name="Jesse, Kevin" userId="6f05423f-cf98-4c12-b626-169f8a1317c4" providerId="ADAL" clId="{89AB3C09-D008-1B4D-BA44-BC31799CCDBC}" dt="2025-08-13T06:54:24.291" v="4193" actId="20577"/>
          <ac:spMkLst>
            <pc:docMk/>
            <pc:sldMk cId="2917998896" sldId="294"/>
            <ac:spMk id="20" creationId="{59F16E2A-9484-45D8-C533-D923B3CC58B5}"/>
          </ac:spMkLst>
        </pc:spChg>
        <pc:spChg chg="mod">
          <ac:chgData name="Jesse, Kevin" userId="6f05423f-cf98-4c12-b626-169f8a1317c4" providerId="ADAL" clId="{89AB3C09-D008-1B4D-BA44-BC31799CCDBC}" dt="2025-08-13T06:51:13.327" v="4089" actId="404"/>
          <ac:spMkLst>
            <pc:docMk/>
            <pc:sldMk cId="2917998896" sldId="294"/>
            <ac:spMk id="22" creationId="{114B1B54-74CD-C5D6-E9EC-48EDCA824FA9}"/>
          </ac:spMkLst>
        </pc:spChg>
        <pc:spChg chg="mod">
          <ac:chgData name="Jesse, Kevin" userId="6f05423f-cf98-4c12-b626-169f8a1317c4" providerId="ADAL" clId="{89AB3C09-D008-1B4D-BA44-BC31799CCDBC}" dt="2025-08-13T06:55:26.575" v="4443" actId="20577"/>
          <ac:spMkLst>
            <pc:docMk/>
            <pc:sldMk cId="2917998896" sldId="294"/>
            <ac:spMk id="23" creationId="{B3A958CC-562B-BE52-CFB3-7EB4F5A65EC6}"/>
          </ac:spMkLst>
        </pc:spChg>
        <pc:spChg chg="mod">
          <ac:chgData name="Jesse, Kevin" userId="6f05423f-cf98-4c12-b626-169f8a1317c4" providerId="ADAL" clId="{89AB3C09-D008-1B4D-BA44-BC31799CCDBC}" dt="2025-08-13T06:53:18.763" v="4096"/>
          <ac:spMkLst>
            <pc:docMk/>
            <pc:sldMk cId="2917998896" sldId="294"/>
            <ac:spMk id="25" creationId="{2C8CD5A9-0409-BB99-A7D9-3743AEF5390B}"/>
          </ac:spMkLst>
        </pc:spChg>
        <pc:spChg chg="mod">
          <ac:chgData name="Jesse, Kevin" userId="6f05423f-cf98-4c12-b626-169f8a1317c4" providerId="ADAL" clId="{89AB3C09-D008-1B4D-BA44-BC31799CCDBC}" dt="2025-08-13T06:55:17.340" v="4440" actId="120"/>
          <ac:spMkLst>
            <pc:docMk/>
            <pc:sldMk cId="2917998896" sldId="294"/>
            <ac:spMk id="26" creationId="{F1C16748-BF5D-21D7-C7E3-71EDCF92A606}"/>
          </ac:spMkLst>
        </pc:spChg>
        <pc:spChg chg="mod">
          <ac:chgData name="Jesse, Kevin" userId="6f05423f-cf98-4c12-b626-169f8a1317c4" providerId="ADAL" clId="{89AB3C09-D008-1B4D-BA44-BC31799CCDBC}" dt="2025-08-13T06:54:04.913" v="4110"/>
          <ac:spMkLst>
            <pc:docMk/>
            <pc:sldMk cId="2917998896" sldId="294"/>
            <ac:spMk id="28" creationId="{DD8CF9F7-2228-C8C7-6F2F-5D253282C2C0}"/>
          </ac:spMkLst>
        </pc:spChg>
        <pc:spChg chg="mod">
          <ac:chgData name="Jesse, Kevin" userId="6f05423f-cf98-4c12-b626-169f8a1317c4" providerId="ADAL" clId="{89AB3C09-D008-1B4D-BA44-BC31799CCDBC}" dt="2025-08-13T06:55:32.215" v="4445" actId="20577"/>
          <ac:spMkLst>
            <pc:docMk/>
            <pc:sldMk cId="2917998896" sldId="294"/>
            <ac:spMk id="29" creationId="{8EF34AF3-B452-515D-0295-5AAAD8CA2023}"/>
          </ac:spMkLst>
        </pc:spChg>
        <pc:spChg chg="mod">
          <ac:chgData name="Jesse, Kevin" userId="6f05423f-cf98-4c12-b626-169f8a1317c4" providerId="ADAL" clId="{89AB3C09-D008-1B4D-BA44-BC31799CCDBC}" dt="2025-08-13T06:51:17.558" v="4091" actId="404"/>
          <ac:spMkLst>
            <pc:docMk/>
            <pc:sldMk cId="2917998896" sldId="294"/>
            <ac:spMk id="31" creationId="{05FE8003-8BF2-5D06-5BD0-4084AB1DE6D1}"/>
          </ac:spMkLst>
        </pc:spChg>
        <pc:spChg chg="mod">
          <ac:chgData name="Jesse, Kevin" userId="6f05423f-cf98-4c12-b626-169f8a1317c4" providerId="ADAL" clId="{89AB3C09-D008-1B4D-BA44-BC31799CCDBC}" dt="2025-08-13T06:55:28.764" v="4444" actId="20577"/>
          <ac:spMkLst>
            <pc:docMk/>
            <pc:sldMk cId="2917998896" sldId="294"/>
            <ac:spMk id="32" creationId="{189D56BB-4CD7-9F40-53DC-3A651B263F61}"/>
          </ac:spMkLst>
        </pc:spChg>
        <pc:spChg chg="mod">
          <ac:chgData name="Jesse, Kevin" userId="6f05423f-cf98-4c12-b626-169f8a1317c4" providerId="ADAL" clId="{89AB3C09-D008-1B4D-BA44-BC31799CCDBC}" dt="2025-08-13T06:53:30.453" v="4099" actId="20578"/>
          <ac:spMkLst>
            <pc:docMk/>
            <pc:sldMk cId="2917998896" sldId="294"/>
            <ac:spMk id="43" creationId="{04729776-A630-10E1-21AC-7B8102913C9A}"/>
          </ac:spMkLst>
        </pc:spChg>
        <pc:spChg chg="add mod">
          <ac:chgData name="Jesse, Kevin" userId="6f05423f-cf98-4c12-b626-169f8a1317c4" providerId="ADAL" clId="{89AB3C09-D008-1B4D-BA44-BC31799CCDBC}" dt="2025-08-11T18:22:02.438" v="2204"/>
          <ac:spMkLst>
            <pc:docMk/>
            <pc:sldMk cId="2917998896" sldId="294"/>
            <ac:spMk id="45" creationId="{6F20C3CB-A476-1FDA-8810-6BF8074056EE}"/>
          </ac:spMkLst>
        </pc:spChg>
        <pc:spChg chg="add mod">
          <ac:chgData name="Jesse, Kevin" userId="6f05423f-cf98-4c12-b626-169f8a1317c4" providerId="ADAL" clId="{89AB3C09-D008-1B4D-BA44-BC31799CCDBC}" dt="2025-08-11T18:22:02.438" v="2204"/>
          <ac:spMkLst>
            <pc:docMk/>
            <pc:sldMk cId="2917998896" sldId="294"/>
            <ac:spMk id="46" creationId="{FB17BABA-AF10-11AB-2FEC-0DD782C39ECB}"/>
          </ac:spMkLst>
        </pc:spChg>
        <pc:spChg chg="add mod">
          <ac:chgData name="Jesse, Kevin" userId="6f05423f-cf98-4c12-b626-169f8a1317c4" providerId="ADAL" clId="{89AB3C09-D008-1B4D-BA44-BC31799CCDBC}" dt="2025-08-11T18:22:02.438" v="2204"/>
          <ac:spMkLst>
            <pc:docMk/>
            <pc:sldMk cId="2917998896" sldId="294"/>
            <ac:spMk id="51" creationId="{9656A872-2A69-4A73-3EAE-BDC5AC8A68D3}"/>
          </ac:spMkLst>
        </pc:spChg>
        <pc:spChg chg="add mod">
          <ac:chgData name="Jesse, Kevin" userId="6f05423f-cf98-4c12-b626-169f8a1317c4" providerId="ADAL" clId="{89AB3C09-D008-1B4D-BA44-BC31799CCDBC}" dt="2025-08-11T18:22:02.438" v="2204"/>
          <ac:spMkLst>
            <pc:docMk/>
            <pc:sldMk cId="2917998896" sldId="294"/>
            <ac:spMk id="54" creationId="{09A4EF2B-6186-6352-5FF3-213301DE3201}"/>
          </ac:spMkLst>
        </pc:spChg>
        <pc:spChg chg="add mod">
          <ac:chgData name="Jesse, Kevin" userId="6f05423f-cf98-4c12-b626-169f8a1317c4" providerId="ADAL" clId="{89AB3C09-D008-1B4D-BA44-BC31799CCDBC}" dt="2025-08-11T18:22:02.438" v="2204"/>
          <ac:spMkLst>
            <pc:docMk/>
            <pc:sldMk cId="2917998896" sldId="294"/>
            <ac:spMk id="63" creationId="{7B9A4D8E-BB1F-D925-627A-938F2FA16750}"/>
          </ac:spMkLst>
        </pc:spChg>
        <pc:spChg chg="add mod">
          <ac:chgData name="Jesse, Kevin" userId="6f05423f-cf98-4c12-b626-169f8a1317c4" providerId="ADAL" clId="{89AB3C09-D008-1B4D-BA44-BC31799CCDBC}" dt="2025-08-11T18:22:02.438" v="2204"/>
          <ac:spMkLst>
            <pc:docMk/>
            <pc:sldMk cId="2917998896" sldId="294"/>
            <ac:spMk id="65" creationId="{F93C44F0-2CD1-7691-FCC7-7F9729AD7A0A}"/>
          </ac:spMkLst>
        </pc:spChg>
        <pc:spChg chg="add mod">
          <ac:chgData name="Jesse, Kevin" userId="6f05423f-cf98-4c12-b626-169f8a1317c4" providerId="ADAL" clId="{89AB3C09-D008-1B4D-BA44-BC31799CCDBC}" dt="2025-08-11T18:22:02.438" v="2204"/>
          <ac:spMkLst>
            <pc:docMk/>
            <pc:sldMk cId="2917998896" sldId="294"/>
            <ac:spMk id="69" creationId="{39944850-ADD9-4FA5-945C-25D5FE1E5EA4}"/>
          </ac:spMkLst>
        </pc:spChg>
        <pc:grpChg chg="mod">
          <ac:chgData name="Jesse, Kevin" userId="6f05423f-cf98-4c12-b626-169f8a1317c4" providerId="ADAL" clId="{89AB3C09-D008-1B4D-BA44-BC31799CCDBC}" dt="2025-08-13T06:55:41.373" v="4447" actId="14100"/>
          <ac:grpSpMkLst>
            <pc:docMk/>
            <pc:sldMk cId="2917998896" sldId="294"/>
            <ac:grpSpMk id="15" creationId="{5CC791A5-BAD5-9C57-624D-8C0F119F8D7A}"/>
          </ac:grpSpMkLst>
        </pc:grpChg>
        <pc:grpChg chg="mod">
          <ac:chgData name="Jesse, Kevin" userId="6f05423f-cf98-4c12-b626-169f8a1317c4" providerId="ADAL" clId="{89AB3C09-D008-1B4D-BA44-BC31799CCDBC}" dt="2025-08-13T06:54:07.450" v="4115"/>
          <ac:grpSpMkLst>
            <pc:docMk/>
            <pc:sldMk cId="2917998896" sldId="294"/>
            <ac:grpSpMk id="18" creationId="{DF8F9D75-60F7-16BA-82F2-A26D44740FC0}"/>
          </ac:grpSpMkLst>
        </pc:grpChg>
        <pc:grpChg chg="mod">
          <ac:chgData name="Jesse, Kevin" userId="6f05423f-cf98-4c12-b626-169f8a1317c4" providerId="ADAL" clId="{89AB3C09-D008-1B4D-BA44-BC31799CCDBC}" dt="2025-08-13T06:53:32.226" v="4101" actId="1076"/>
          <ac:grpSpMkLst>
            <pc:docMk/>
            <pc:sldMk cId="2917998896" sldId="294"/>
            <ac:grpSpMk id="21" creationId="{A46748F3-8261-0B71-0CDE-A1C687CFF617}"/>
          </ac:grpSpMkLst>
        </pc:grpChg>
        <pc:grpChg chg="mod">
          <ac:chgData name="Jesse, Kevin" userId="6f05423f-cf98-4c12-b626-169f8a1317c4" providerId="ADAL" clId="{89AB3C09-D008-1B4D-BA44-BC31799CCDBC}" dt="2025-08-13T06:55:36.380" v="4446" actId="14100"/>
          <ac:grpSpMkLst>
            <pc:docMk/>
            <pc:sldMk cId="2917998896" sldId="294"/>
            <ac:grpSpMk id="24" creationId="{14D9C953-F8F3-B511-2F3B-D8BCE40EFCD3}"/>
          </ac:grpSpMkLst>
        </pc:grpChg>
        <pc:grpChg chg="mod">
          <ac:chgData name="Jesse, Kevin" userId="6f05423f-cf98-4c12-b626-169f8a1317c4" providerId="ADAL" clId="{89AB3C09-D008-1B4D-BA44-BC31799CCDBC}" dt="2025-08-13T06:54:04.913" v="4110"/>
          <ac:grpSpMkLst>
            <pc:docMk/>
            <pc:sldMk cId="2917998896" sldId="294"/>
            <ac:grpSpMk id="27" creationId="{A75A2EEB-DE34-B9AF-B5A3-19B72090F393}"/>
          </ac:grpSpMkLst>
        </pc:grpChg>
        <pc:grpChg chg="mod">
          <ac:chgData name="Jesse, Kevin" userId="6f05423f-cf98-4c12-b626-169f8a1317c4" providerId="ADAL" clId="{89AB3C09-D008-1B4D-BA44-BC31799CCDBC}" dt="2025-08-13T06:55:22.989" v="4442" actId="14100"/>
          <ac:grpSpMkLst>
            <pc:docMk/>
            <pc:sldMk cId="2917998896" sldId="294"/>
            <ac:grpSpMk id="30" creationId="{25B61F92-6B01-DFFB-28B3-A1A75AFBB8CE}"/>
          </ac:grpSpMkLst>
        </pc:grpChg>
      </pc:sldChg>
      <pc:sldChg chg="addSp delSp modSp add mod modAnim">
        <pc:chgData name="Jesse, Kevin" userId="6f05423f-cf98-4c12-b626-169f8a1317c4" providerId="ADAL" clId="{89AB3C09-D008-1B4D-BA44-BC31799CCDBC}" dt="2025-08-13T15:36:11.393" v="9438" actId="1076"/>
        <pc:sldMkLst>
          <pc:docMk/>
          <pc:sldMk cId="3130153528" sldId="295"/>
        </pc:sldMkLst>
        <pc:spChg chg="mod">
          <ac:chgData name="Jesse, Kevin" userId="6f05423f-cf98-4c12-b626-169f8a1317c4" providerId="ADAL" clId="{89AB3C09-D008-1B4D-BA44-BC31799CCDBC}" dt="2025-08-12T17:58:10.104" v="2821" actId="20577"/>
          <ac:spMkLst>
            <pc:docMk/>
            <pc:sldMk cId="3130153528" sldId="295"/>
            <ac:spMk id="2" creationId="{59F34BC7-70ED-4E59-C3C3-D4CDD026FC27}"/>
          </ac:spMkLst>
        </pc:spChg>
        <pc:spChg chg="mod">
          <ac:chgData name="Jesse, Kevin" userId="6f05423f-cf98-4c12-b626-169f8a1317c4" providerId="ADAL" clId="{89AB3C09-D008-1B4D-BA44-BC31799CCDBC}" dt="2025-08-13T15:18:22.085" v="8573"/>
          <ac:spMkLst>
            <pc:docMk/>
            <pc:sldMk cId="3130153528" sldId="295"/>
            <ac:spMk id="9" creationId="{6AF386F8-09ED-5DB0-F085-8D4E50C0DB98}"/>
          </ac:spMkLst>
        </pc:spChg>
        <pc:spChg chg="mod">
          <ac:chgData name="Jesse, Kevin" userId="6f05423f-cf98-4c12-b626-169f8a1317c4" providerId="ADAL" clId="{89AB3C09-D008-1B4D-BA44-BC31799CCDBC}" dt="2025-08-13T15:18:22.085" v="8573"/>
          <ac:spMkLst>
            <pc:docMk/>
            <pc:sldMk cId="3130153528" sldId="295"/>
            <ac:spMk id="10" creationId="{280F9D0E-1F6C-29B0-FBB7-6F6602E42737}"/>
          </ac:spMkLst>
        </pc:spChg>
        <pc:spChg chg="mod">
          <ac:chgData name="Jesse, Kevin" userId="6f05423f-cf98-4c12-b626-169f8a1317c4" providerId="ADAL" clId="{89AB3C09-D008-1B4D-BA44-BC31799CCDBC}" dt="2025-08-13T15:18:22.085" v="8573"/>
          <ac:spMkLst>
            <pc:docMk/>
            <pc:sldMk cId="3130153528" sldId="295"/>
            <ac:spMk id="11" creationId="{508A31EF-920F-DF0B-93B4-464D4AD2879F}"/>
          </ac:spMkLst>
        </pc:spChg>
        <pc:spChg chg="mod">
          <ac:chgData name="Jesse, Kevin" userId="6f05423f-cf98-4c12-b626-169f8a1317c4" providerId="ADAL" clId="{89AB3C09-D008-1B4D-BA44-BC31799CCDBC}" dt="2025-08-13T15:18:22.085" v="8573"/>
          <ac:spMkLst>
            <pc:docMk/>
            <pc:sldMk cId="3130153528" sldId="295"/>
            <ac:spMk id="12" creationId="{51DCF30C-BF92-92CF-2EEF-BD6F03FDEE97}"/>
          </ac:spMkLst>
        </pc:spChg>
        <pc:spChg chg="mod">
          <ac:chgData name="Jesse, Kevin" userId="6f05423f-cf98-4c12-b626-169f8a1317c4" providerId="ADAL" clId="{89AB3C09-D008-1B4D-BA44-BC31799CCDBC}" dt="2025-08-13T15:19:29.746" v="8585"/>
          <ac:spMkLst>
            <pc:docMk/>
            <pc:sldMk cId="3130153528" sldId="295"/>
            <ac:spMk id="30" creationId="{66881478-DB91-866F-DC7B-42008B4792D8}"/>
          </ac:spMkLst>
        </pc:spChg>
        <pc:spChg chg="mod">
          <ac:chgData name="Jesse, Kevin" userId="6f05423f-cf98-4c12-b626-169f8a1317c4" providerId="ADAL" clId="{89AB3C09-D008-1B4D-BA44-BC31799CCDBC}" dt="2025-08-13T15:19:29.746" v="8585"/>
          <ac:spMkLst>
            <pc:docMk/>
            <pc:sldMk cId="3130153528" sldId="295"/>
            <ac:spMk id="31" creationId="{F0F477C6-09DC-0387-EF24-7AE4C16E81D7}"/>
          </ac:spMkLst>
        </pc:spChg>
        <pc:spChg chg="mod">
          <ac:chgData name="Jesse, Kevin" userId="6f05423f-cf98-4c12-b626-169f8a1317c4" providerId="ADAL" clId="{89AB3C09-D008-1B4D-BA44-BC31799CCDBC}" dt="2025-08-13T15:19:29.746" v="8585"/>
          <ac:spMkLst>
            <pc:docMk/>
            <pc:sldMk cId="3130153528" sldId="295"/>
            <ac:spMk id="40" creationId="{9908253E-DAAF-C9D8-61D5-4D7407781660}"/>
          </ac:spMkLst>
        </pc:spChg>
        <pc:spChg chg="mod">
          <ac:chgData name="Jesse, Kevin" userId="6f05423f-cf98-4c12-b626-169f8a1317c4" providerId="ADAL" clId="{89AB3C09-D008-1B4D-BA44-BC31799CCDBC}" dt="2025-08-13T15:19:29.746" v="8585"/>
          <ac:spMkLst>
            <pc:docMk/>
            <pc:sldMk cId="3130153528" sldId="295"/>
            <ac:spMk id="45" creationId="{8DC24488-DADE-463B-4DD8-E886EA6A186A}"/>
          </ac:spMkLst>
        </pc:spChg>
        <pc:spChg chg="mod">
          <ac:chgData name="Jesse, Kevin" userId="6f05423f-cf98-4c12-b626-169f8a1317c4" providerId="ADAL" clId="{89AB3C09-D008-1B4D-BA44-BC31799CCDBC}" dt="2025-08-13T15:19:29.746" v="8585"/>
          <ac:spMkLst>
            <pc:docMk/>
            <pc:sldMk cId="3130153528" sldId="295"/>
            <ac:spMk id="46" creationId="{A7C79CC2-B5AD-1231-DA7D-40AC5F2E66BA}"/>
          </ac:spMkLst>
        </pc:spChg>
        <pc:spChg chg="mod">
          <ac:chgData name="Jesse, Kevin" userId="6f05423f-cf98-4c12-b626-169f8a1317c4" providerId="ADAL" clId="{89AB3C09-D008-1B4D-BA44-BC31799CCDBC}" dt="2025-08-13T15:19:29.746" v="8585"/>
          <ac:spMkLst>
            <pc:docMk/>
            <pc:sldMk cId="3130153528" sldId="295"/>
            <ac:spMk id="47" creationId="{12F9810E-E663-2F3E-76AB-60B07FAE65DA}"/>
          </ac:spMkLst>
        </pc:spChg>
        <pc:spChg chg="mod">
          <ac:chgData name="Jesse, Kevin" userId="6f05423f-cf98-4c12-b626-169f8a1317c4" providerId="ADAL" clId="{89AB3C09-D008-1B4D-BA44-BC31799CCDBC}" dt="2025-08-13T15:19:29.746" v="8585"/>
          <ac:spMkLst>
            <pc:docMk/>
            <pc:sldMk cId="3130153528" sldId="295"/>
            <ac:spMk id="48" creationId="{5BD46ED7-1C0A-0BBC-C0E3-B36F76791344}"/>
          </ac:spMkLst>
        </pc:spChg>
        <pc:spChg chg="add mod">
          <ac:chgData name="Jesse, Kevin" userId="6f05423f-cf98-4c12-b626-169f8a1317c4" providerId="ADAL" clId="{89AB3C09-D008-1B4D-BA44-BC31799CCDBC}" dt="2025-08-13T15:33:56.757" v="9428" actId="20577"/>
          <ac:spMkLst>
            <pc:docMk/>
            <pc:sldMk cId="3130153528" sldId="295"/>
            <ac:spMk id="73" creationId="{3D909F80-6D8C-4A0A-3C91-371A597FB8CB}"/>
          </ac:spMkLst>
        </pc:spChg>
        <pc:spChg chg="add mod">
          <ac:chgData name="Jesse, Kevin" userId="6f05423f-cf98-4c12-b626-169f8a1317c4" providerId="ADAL" clId="{89AB3C09-D008-1B4D-BA44-BC31799CCDBC}" dt="2025-08-13T15:36:11.393" v="9438" actId="1076"/>
          <ac:spMkLst>
            <pc:docMk/>
            <pc:sldMk cId="3130153528" sldId="295"/>
            <ac:spMk id="74" creationId="{C8D7D4D8-2E71-2365-8BD7-667D5D25841B}"/>
          </ac:spMkLst>
        </pc:spChg>
        <pc:grpChg chg="mod">
          <ac:chgData name="Jesse, Kevin" userId="6f05423f-cf98-4c12-b626-169f8a1317c4" providerId="ADAL" clId="{89AB3C09-D008-1B4D-BA44-BC31799CCDBC}" dt="2025-08-13T15:18:48.218" v="8581" actId="164"/>
          <ac:grpSpMkLst>
            <pc:docMk/>
            <pc:sldMk cId="3130153528" sldId="295"/>
            <ac:grpSpMk id="3" creationId="{D22DFC50-E0B4-FADB-F37E-4041E0AE6A80}"/>
          </ac:grpSpMkLst>
        </pc:grpChg>
        <pc:grpChg chg="add mod">
          <ac:chgData name="Jesse, Kevin" userId="6f05423f-cf98-4c12-b626-169f8a1317c4" providerId="ADAL" clId="{89AB3C09-D008-1B4D-BA44-BC31799CCDBC}" dt="2025-08-13T15:32:39.026" v="9248" actId="1076"/>
          <ac:grpSpMkLst>
            <pc:docMk/>
            <pc:sldMk cId="3130153528" sldId="295"/>
            <ac:grpSpMk id="28" creationId="{2804A6C4-1F8F-3C03-235A-267286961805}"/>
          </ac:grpSpMkLst>
        </pc:grpChg>
        <pc:grpChg chg="mod">
          <ac:chgData name="Jesse, Kevin" userId="6f05423f-cf98-4c12-b626-169f8a1317c4" providerId="ADAL" clId="{89AB3C09-D008-1B4D-BA44-BC31799CCDBC}" dt="2025-08-13T15:32:39.026" v="9248" actId="1076"/>
          <ac:grpSpMkLst>
            <pc:docMk/>
            <pc:sldMk cId="3130153528" sldId="295"/>
            <ac:grpSpMk id="70" creationId="{6BDC7F3A-F17B-64B8-7078-611CD0A8EA27}"/>
          </ac:grpSpMkLst>
        </pc:grpChg>
        <pc:picChg chg="mod">
          <ac:chgData name="Jesse, Kevin" userId="6f05423f-cf98-4c12-b626-169f8a1317c4" providerId="ADAL" clId="{89AB3C09-D008-1B4D-BA44-BC31799CCDBC}" dt="2025-08-13T15:18:48.218" v="8581" actId="164"/>
          <ac:picMkLst>
            <pc:docMk/>
            <pc:sldMk cId="3130153528" sldId="295"/>
            <ac:picMk id="25" creationId="{7AB3CF74-4364-D260-2C62-CF4E964C7AA0}"/>
          </ac:picMkLst>
        </pc:picChg>
        <pc:picChg chg="mod">
          <ac:chgData name="Jesse, Kevin" userId="6f05423f-cf98-4c12-b626-169f8a1317c4" providerId="ADAL" clId="{89AB3C09-D008-1B4D-BA44-BC31799CCDBC}" dt="2025-08-13T15:18:48.218" v="8581" actId="164"/>
          <ac:picMkLst>
            <pc:docMk/>
            <pc:sldMk cId="3130153528" sldId="295"/>
            <ac:picMk id="26" creationId="{00039523-831E-656B-8BB2-15838D5145FE}"/>
          </ac:picMkLst>
        </pc:picChg>
        <pc:picChg chg="mod">
          <ac:chgData name="Jesse, Kevin" userId="6f05423f-cf98-4c12-b626-169f8a1317c4" providerId="ADAL" clId="{89AB3C09-D008-1B4D-BA44-BC31799CCDBC}" dt="2025-08-13T15:18:48.218" v="8581" actId="164"/>
          <ac:picMkLst>
            <pc:docMk/>
            <pc:sldMk cId="3130153528" sldId="295"/>
            <ac:picMk id="27" creationId="{6EB774F5-3159-DCE5-739A-432FE6F7939B}"/>
          </ac:picMkLst>
        </pc:picChg>
        <pc:picChg chg="mod">
          <ac:chgData name="Jesse, Kevin" userId="6f05423f-cf98-4c12-b626-169f8a1317c4" providerId="ADAL" clId="{89AB3C09-D008-1B4D-BA44-BC31799CCDBC}" dt="2025-08-13T15:20:04.988" v="8589" actId="164"/>
          <ac:picMkLst>
            <pc:docMk/>
            <pc:sldMk cId="3130153528" sldId="295"/>
            <ac:picMk id="51" creationId="{93D05E3B-48D7-C5FB-68E3-1BF23249D85D}"/>
          </ac:picMkLst>
        </pc:picChg>
        <pc:picChg chg="mod">
          <ac:chgData name="Jesse, Kevin" userId="6f05423f-cf98-4c12-b626-169f8a1317c4" providerId="ADAL" clId="{89AB3C09-D008-1B4D-BA44-BC31799CCDBC}" dt="2025-08-13T15:20:04.988" v="8589" actId="164"/>
          <ac:picMkLst>
            <pc:docMk/>
            <pc:sldMk cId="3130153528" sldId="295"/>
            <ac:picMk id="52" creationId="{C6D33692-DFF7-AE89-20C2-3EA15BC6BEFB}"/>
          </ac:picMkLst>
        </pc:picChg>
        <pc:picChg chg="mod">
          <ac:chgData name="Jesse, Kevin" userId="6f05423f-cf98-4c12-b626-169f8a1317c4" providerId="ADAL" clId="{89AB3C09-D008-1B4D-BA44-BC31799CCDBC}" dt="2025-08-13T15:20:04.988" v="8589" actId="164"/>
          <ac:picMkLst>
            <pc:docMk/>
            <pc:sldMk cId="3130153528" sldId="295"/>
            <ac:picMk id="54" creationId="{A3C0CA37-398E-B03A-147F-1B6BF137016B}"/>
          </ac:picMkLst>
        </pc:picChg>
      </pc:sldChg>
      <pc:sldChg chg="modSp add mod">
        <pc:chgData name="Jesse, Kevin" userId="6f05423f-cf98-4c12-b626-169f8a1317c4" providerId="ADAL" clId="{89AB3C09-D008-1B4D-BA44-BC31799CCDBC}" dt="2025-08-12T17:58:23.213" v="2878" actId="20577"/>
        <pc:sldMkLst>
          <pc:docMk/>
          <pc:sldMk cId="975256365" sldId="296"/>
        </pc:sldMkLst>
        <pc:spChg chg="mod">
          <ac:chgData name="Jesse, Kevin" userId="6f05423f-cf98-4c12-b626-169f8a1317c4" providerId="ADAL" clId="{89AB3C09-D008-1B4D-BA44-BC31799CCDBC}" dt="2025-08-12T17:58:23.213" v="2878" actId="20577"/>
          <ac:spMkLst>
            <pc:docMk/>
            <pc:sldMk cId="975256365" sldId="296"/>
            <ac:spMk id="2" creationId="{1D97FB80-3FAB-C8A0-6735-04584261BFF8}"/>
          </ac:spMkLst>
        </pc:spChg>
      </pc:sldChg>
      <pc:sldChg chg="modSp add mod">
        <pc:chgData name="Jesse, Kevin" userId="6f05423f-cf98-4c12-b626-169f8a1317c4" providerId="ADAL" clId="{89AB3C09-D008-1B4D-BA44-BC31799CCDBC}" dt="2025-08-12T17:58:33.521" v="2922" actId="20577"/>
        <pc:sldMkLst>
          <pc:docMk/>
          <pc:sldMk cId="1720529291" sldId="297"/>
        </pc:sldMkLst>
        <pc:spChg chg="mod">
          <ac:chgData name="Jesse, Kevin" userId="6f05423f-cf98-4c12-b626-169f8a1317c4" providerId="ADAL" clId="{89AB3C09-D008-1B4D-BA44-BC31799CCDBC}" dt="2025-08-12T17:58:33.521" v="2922" actId="20577"/>
          <ac:spMkLst>
            <pc:docMk/>
            <pc:sldMk cId="1720529291" sldId="297"/>
            <ac:spMk id="2" creationId="{3444ECF2-0773-9850-48A4-D0B1418A23DE}"/>
          </ac:spMkLst>
        </pc:spChg>
      </pc:sldChg>
      <pc:sldChg chg="modSp add mod">
        <pc:chgData name="Jesse, Kevin" userId="6f05423f-cf98-4c12-b626-169f8a1317c4" providerId="ADAL" clId="{89AB3C09-D008-1B4D-BA44-BC31799CCDBC}" dt="2025-08-12T17:58:47.273" v="2981" actId="20577"/>
        <pc:sldMkLst>
          <pc:docMk/>
          <pc:sldMk cId="1943251029" sldId="298"/>
        </pc:sldMkLst>
        <pc:spChg chg="mod">
          <ac:chgData name="Jesse, Kevin" userId="6f05423f-cf98-4c12-b626-169f8a1317c4" providerId="ADAL" clId="{89AB3C09-D008-1B4D-BA44-BC31799CCDBC}" dt="2025-08-12T17:58:47.273" v="2981" actId="20577"/>
          <ac:spMkLst>
            <pc:docMk/>
            <pc:sldMk cId="1943251029" sldId="298"/>
            <ac:spMk id="2" creationId="{EE07496B-DFBC-D150-D3BA-3221B407AB11}"/>
          </ac:spMkLst>
        </pc:spChg>
      </pc:sldChg>
      <pc:sldChg chg="modSp add mod">
        <pc:chgData name="Jesse, Kevin" userId="6f05423f-cf98-4c12-b626-169f8a1317c4" providerId="ADAL" clId="{89AB3C09-D008-1B4D-BA44-BC31799CCDBC}" dt="2025-08-12T17:58:55.253" v="2996" actId="20577"/>
        <pc:sldMkLst>
          <pc:docMk/>
          <pc:sldMk cId="3482819534" sldId="299"/>
        </pc:sldMkLst>
        <pc:spChg chg="mod">
          <ac:chgData name="Jesse, Kevin" userId="6f05423f-cf98-4c12-b626-169f8a1317c4" providerId="ADAL" clId="{89AB3C09-D008-1B4D-BA44-BC31799CCDBC}" dt="2025-08-12T17:58:55.253" v="2996" actId="20577"/>
          <ac:spMkLst>
            <pc:docMk/>
            <pc:sldMk cId="3482819534" sldId="299"/>
            <ac:spMk id="2" creationId="{62FB3168-6670-85B8-72FB-2CC2C7B4E2E8}"/>
          </ac:spMkLst>
        </pc:spChg>
      </pc:sldChg>
      <pc:sldChg chg="modSp add mod">
        <pc:chgData name="Jesse, Kevin" userId="6f05423f-cf98-4c12-b626-169f8a1317c4" providerId="ADAL" clId="{89AB3C09-D008-1B4D-BA44-BC31799CCDBC}" dt="2025-08-12T17:59:10.448" v="3041" actId="20577"/>
        <pc:sldMkLst>
          <pc:docMk/>
          <pc:sldMk cId="1788584603" sldId="300"/>
        </pc:sldMkLst>
        <pc:spChg chg="mod">
          <ac:chgData name="Jesse, Kevin" userId="6f05423f-cf98-4c12-b626-169f8a1317c4" providerId="ADAL" clId="{89AB3C09-D008-1B4D-BA44-BC31799CCDBC}" dt="2025-08-12T17:59:10.448" v="3041" actId="20577"/>
          <ac:spMkLst>
            <pc:docMk/>
            <pc:sldMk cId="1788584603" sldId="300"/>
            <ac:spMk id="2" creationId="{1DF87553-D45A-3468-E0E3-E986F5EC513D}"/>
          </ac:spMkLst>
        </pc:spChg>
      </pc:sldChg>
      <pc:sldChg chg="modSp add mod">
        <pc:chgData name="Jesse, Kevin" userId="6f05423f-cf98-4c12-b626-169f8a1317c4" providerId="ADAL" clId="{89AB3C09-D008-1B4D-BA44-BC31799CCDBC}" dt="2025-08-12T17:59:24.008" v="3087" actId="20577"/>
        <pc:sldMkLst>
          <pc:docMk/>
          <pc:sldMk cId="1848716897" sldId="301"/>
        </pc:sldMkLst>
        <pc:spChg chg="mod">
          <ac:chgData name="Jesse, Kevin" userId="6f05423f-cf98-4c12-b626-169f8a1317c4" providerId="ADAL" clId="{89AB3C09-D008-1B4D-BA44-BC31799CCDBC}" dt="2025-08-12T17:59:24.008" v="3087" actId="20577"/>
          <ac:spMkLst>
            <pc:docMk/>
            <pc:sldMk cId="1848716897" sldId="301"/>
            <ac:spMk id="2" creationId="{19ADA310-E625-C9BC-72A3-4C0D592036B0}"/>
          </ac:spMkLst>
        </pc:spChg>
      </pc:sldChg>
      <pc:sldChg chg="modSp add mod">
        <pc:chgData name="Jesse, Kevin" userId="6f05423f-cf98-4c12-b626-169f8a1317c4" providerId="ADAL" clId="{89AB3C09-D008-1B4D-BA44-BC31799CCDBC}" dt="2025-08-12T17:59:39.137" v="3125" actId="20577"/>
        <pc:sldMkLst>
          <pc:docMk/>
          <pc:sldMk cId="1176460455" sldId="302"/>
        </pc:sldMkLst>
        <pc:spChg chg="mod">
          <ac:chgData name="Jesse, Kevin" userId="6f05423f-cf98-4c12-b626-169f8a1317c4" providerId="ADAL" clId="{89AB3C09-D008-1B4D-BA44-BC31799CCDBC}" dt="2025-08-12T17:59:39.137" v="3125" actId="20577"/>
          <ac:spMkLst>
            <pc:docMk/>
            <pc:sldMk cId="1176460455" sldId="302"/>
            <ac:spMk id="2" creationId="{E166EC49-B810-E6DE-5BD9-C2C1A2BDA55E}"/>
          </ac:spMkLst>
        </pc:spChg>
      </pc:sldChg>
      <pc:sldChg chg="modSp add mod">
        <pc:chgData name="Jesse, Kevin" userId="6f05423f-cf98-4c12-b626-169f8a1317c4" providerId="ADAL" clId="{89AB3C09-D008-1B4D-BA44-BC31799CCDBC}" dt="2025-08-12T17:59:47.080" v="3146" actId="20577"/>
        <pc:sldMkLst>
          <pc:docMk/>
          <pc:sldMk cId="2038880499" sldId="303"/>
        </pc:sldMkLst>
        <pc:spChg chg="mod">
          <ac:chgData name="Jesse, Kevin" userId="6f05423f-cf98-4c12-b626-169f8a1317c4" providerId="ADAL" clId="{89AB3C09-D008-1B4D-BA44-BC31799CCDBC}" dt="2025-08-12T17:59:47.080" v="3146" actId="20577"/>
          <ac:spMkLst>
            <pc:docMk/>
            <pc:sldMk cId="2038880499" sldId="303"/>
            <ac:spMk id="2" creationId="{182B1787-2A12-4A95-0DA7-C6138AD41B60}"/>
          </ac:spMkLst>
        </pc:spChg>
      </pc:sldChg>
      <pc:sldChg chg="modSp add mod">
        <pc:chgData name="Jesse, Kevin" userId="6f05423f-cf98-4c12-b626-169f8a1317c4" providerId="ADAL" clId="{89AB3C09-D008-1B4D-BA44-BC31799CCDBC}" dt="2025-08-12T17:59:59.213" v="3197" actId="20577"/>
        <pc:sldMkLst>
          <pc:docMk/>
          <pc:sldMk cId="285656247" sldId="304"/>
        </pc:sldMkLst>
        <pc:spChg chg="mod">
          <ac:chgData name="Jesse, Kevin" userId="6f05423f-cf98-4c12-b626-169f8a1317c4" providerId="ADAL" clId="{89AB3C09-D008-1B4D-BA44-BC31799CCDBC}" dt="2025-08-12T17:59:59.213" v="3197" actId="20577"/>
          <ac:spMkLst>
            <pc:docMk/>
            <pc:sldMk cId="285656247" sldId="304"/>
            <ac:spMk id="2" creationId="{82E2F16D-D472-6BB0-0061-681512E6DAB2}"/>
          </ac:spMkLst>
        </pc:spChg>
      </pc:sldChg>
      <pc:sldChg chg="modSp add mod">
        <pc:chgData name="Jesse, Kevin" userId="6f05423f-cf98-4c12-b626-169f8a1317c4" providerId="ADAL" clId="{89AB3C09-D008-1B4D-BA44-BC31799CCDBC}" dt="2025-08-12T18:00:10.374" v="3242" actId="20577"/>
        <pc:sldMkLst>
          <pc:docMk/>
          <pc:sldMk cId="3766559337" sldId="305"/>
        </pc:sldMkLst>
        <pc:spChg chg="mod">
          <ac:chgData name="Jesse, Kevin" userId="6f05423f-cf98-4c12-b626-169f8a1317c4" providerId="ADAL" clId="{89AB3C09-D008-1B4D-BA44-BC31799CCDBC}" dt="2025-08-12T18:00:10.374" v="3242" actId="20577"/>
          <ac:spMkLst>
            <pc:docMk/>
            <pc:sldMk cId="3766559337" sldId="305"/>
            <ac:spMk id="2" creationId="{394ADEC9-F88C-314F-CA7D-7E6CAA1EA1CC}"/>
          </ac:spMkLst>
        </pc:spChg>
      </pc:sldChg>
      <pc:sldChg chg="modSp add mod">
        <pc:chgData name="Jesse, Kevin" userId="6f05423f-cf98-4c12-b626-169f8a1317c4" providerId="ADAL" clId="{89AB3C09-D008-1B4D-BA44-BC31799CCDBC}" dt="2025-08-12T18:00:23.888" v="3272" actId="20577"/>
        <pc:sldMkLst>
          <pc:docMk/>
          <pc:sldMk cId="3532994236" sldId="306"/>
        </pc:sldMkLst>
        <pc:spChg chg="mod">
          <ac:chgData name="Jesse, Kevin" userId="6f05423f-cf98-4c12-b626-169f8a1317c4" providerId="ADAL" clId="{89AB3C09-D008-1B4D-BA44-BC31799CCDBC}" dt="2025-08-12T18:00:23.888" v="3272" actId="20577"/>
          <ac:spMkLst>
            <pc:docMk/>
            <pc:sldMk cId="3532994236" sldId="306"/>
            <ac:spMk id="2" creationId="{42AF20D5-57AB-CB02-13B4-5650FDE8437A}"/>
          </ac:spMkLst>
        </pc:spChg>
      </pc:sldChg>
      <pc:sldChg chg="add">
        <pc:chgData name="Jesse, Kevin" userId="6f05423f-cf98-4c12-b626-169f8a1317c4" providerId="ADAL" clId="{89AB3C09-D008-1B4D-BA44-BC31799CCDBC}" dt="2025-08-12T17:57:38.938" v="2696"/>
        <pc:sldMkLst>
          <pc:docMk/>
          <pc:sldMk cId="3147735231" sldId="307"/>
        </pc:sldMkLst>
      </pc:sldChg>
      <pc:sldChg chg="addSp delSp modSp add mod">
        <pc:chgData name="Jesse, Kevin" userId="6f05423f-cf98-4c12-b626-169f8a1317c4" providerId="ADAL" clId="{89AB3C09-D008-1B4D-BA44-BC31799CCDBC}" dt="2025-08-14T18:31:38.266" v="14082" actId="20577"/>
        <pc:sldMkLst>
          <pc:docMk/>
          <pc:sldMk cId="2081440561" sldId="308"/>
        </pc:sldMkLst>
        <pc:spChg chg="mod">
          <ac:chgData name="Jesse, Kevin" userId="6f05423f-cf98-4c12-b626-169f8a1317c4" providerId="ADAL" clId="{89AB3C09-D008-1B4D-BA44-BC31799CCDBC}" dt="2025-08-13T07:39:34.804" v="6410" actId="20577"/>
          <ac:spMkLst>
            <pc:docMk/>
            <pc:sldMk cId="2081440561" sldId="308"/>
            <ac:spMk id="86" creationId="{740B3BBC-3EC7-040C-09EB-56C8A3308C1B}"/>
          </ac:spMkLst>
        </pc:spChg>
        <pc:spChg chg="mod">
          <ac:chgData name="Jesse, Kevin" userId="6f05423f-cf98-4c12-b626-169f8a1317c4" providerId="ADAL" clId="{89AB3C09-D008-1B4D-BA44-BC31799CCDBC}" dt="2025-08-14T18:31:38.266" v="14082" actId="20577"/>
          <ac:spMkLst>
            <pc:docMk/>
            <pc:sldMk cId="2081440561" sldId="308"/>
            <ac:spMk id="87" creationId="{75D3B845-A1FF-E863-A2E7-04A6E8970D39}"/>
          </ac:spMkLst>
        </pc:spChg>
        <pc:spChg chg="mod">
          <ac:chgData name="Jesse, Kevin" userId="6f05423f-cf98-4c12-b626-169f8a1317c4" providerId="ADAL" clId="{89AB3C09-D008-1B4D-BA44-BC31799CCDBC}" dt="2025-08-13T07:39:01.612" v="6389"/>
          <ac:spMkLst>
            <pc:docMk/>
            <pc:sldMk cId="2081440561" sldId="308"/>
            <ac:spMk id="89" creationId="{E7EC468A-BD52-4894-B475-D2D532E0CD1F}"/>
          </ac:spMkLst>
        </pc:spChg>
        <pc:spChg chg="mod">
          <ac:chgData name="Jesse, Kevin" userId="6f05423f-cf98-4c12-b626-169f8a1317c4" providerId="ADAL" clId="{89AB3C09-D008-1B4D-BA44-BC31799CCDBC}" dt="2025-08-13T07:39:01.612" v="6389"/>
          <ac:spMkLst>
            <pc:docMk/>
            <pc:sldMk cId="2081440561" sldId="308"/>
            <ac:spMk id="91" creationId="{8A2355AA-E639-9B19-BE38-F78B9EAB10E5}"/>
          </ac:spMkLst>
        </pc:spChg>
        <pc:spChg chg="mod">
          <ac:chgData name="Jesse, Kevin" userId="6f05423f-cf98-4c12-b626-169f8a1317c4" providerId="ADAL" clId="{89AB3C09-D008-1B4D-BA44-BC31799CCDBC}" dt="2025-08-13T07:39:01.612" v="6389"/>
          <ac:spMkLst>
            <pc:docMk/>
            <pc:sldMk cId="2081440561" sldId="308"/>
            <ac:spMk id="95" creationId="{B35F69B4-796C-69C6-D749-2458F20D6BF0}"/>
          </ac:spMkLst>
        </pc:spChg>
        <pc:spChg chg="add mod">
          <ac:chgData name="Jesse, Kevin" userId="6f05423f-cf98-4c12-b626-169f8a1317c4" providerId="ADAL" clId="{89AB3C09-D008-1B4D-BA44-BC31799CCDBC}" dt="2025-08-13T07:46:11.169" v="7536" actId="404"/>
          <ac:spMkLst>
            <pc:docMk/>
            <pc:sldMk cId="2081440561" sldId="308"/>
            <ac:spMk id="96" creationId="{1BACE802-348E-028D-7BDF-60D54873EF4D}"/>
          </ac:spMkLst>
        </pc:spChg>
        <pc:grpChg chg="add mod">
          <ac:chgData name="Jesse, Kevin" userId="6f05423f-cf98-4c12-b626-169f8a1317c4" providerId="ADAL" clId="{89AB3C09-D008-1B4D-BA44-BC31799CCDBC}" dt="2025-08-13T07:44:23.312" v="7297" actId="1076"/>
          <ac:grpSpMkLst>
            <pc:docMk/>
            <pc:sldMk cId="2081440561" sldId="308"/>
            <ac:grpSpMk id="85" creationId="{4FC2F056-0E1C-7B4D-58F5-0C657086B6E6}"/>
          </ac:grpSpMkLst>
        </pc:grpChg>
        <pc:grpChg chg="add mod">
          <ac:chgData name="Jesse, Kevin" userId="6f05423f-cf98-4c12-b626-169f8a1317c4" providerId="ADAL" clId="{89AB3C09-D008-1B4D-BA44-BC31799CCDBC}" dt="2025-08-13T07:39:01.612" v="6389"/>
          <ac:grpSpMkLst>
            <pc:docMk/>
            <pc:sldMk cId="2081440561" sldId="308"/>
            <ac:grpSpMk id="88" creationId="{D0AE094E-4865-6E91-A311-68AD9EEDD712}"/>
          </ac:grpSpMkLst>
        </pc:grpChg>
      </pc:sldChg>
      <pc:sldChg chg="modSp new del mod">
        <pc:chgData name="Jesse, Kevin" userId="6f05423f-cf98-4c12-b626-169f8a1317c4" providerId="ADAL" clId="{89AB3C09-D008-1B4D-BA44-BC31799CCDBC}" dt="2025-08-12T18:14:58.955" v="3311" actId="2696"/>
        <pc:sldMkLst>
          <pc:docMk/>
          <pc:sldMk cId="2596114178" sldId="308"/>
        </pc:sldMkLst>
      </pc:sldChg>
      <pc:sldChg chg="new del">
        <pc:chgData name="Jesse, Kevin" userId="6f05423f-cf98-4c12-b626-169f8a1317c4" providerId="ADAL" clId="{89AB3C09-D008-1B4D-BA44-BC31799CCDBC}" dt="2025-08-13T06:49:07.345" v="4075" actId="2696"/>
        <pc:sldMkLst>
          <pc:docMk/>
          <pc:sldMk cId="27785429" sldId="309"/>
        </pc:sldMkLst>
      </pc:sldChg>
      <pc:sldChg chg="addSp delSp modSp new mod">
        <pc:chgData name="Jesse, Kevin" userId="6f05423f-cf98-4c12-b626-169f8a1317c4" providerId="ADAL" clId="{89AB3C09-D008-1B4D-BA44-BC31799CCDBC}" dt="2025-08-14T06:42:59.962" v="11429" actId="1076"/>
        <pc:sldMkLst>
          <pc:docMk/>
          <pc:sldMk cId="274695159" sldId="309"/>
        </pc:sldMkLst>
        <pc:spChg chg="mod">
          <ac:chgData name="Jesse, Kevin" userId="6f05423f-cf98-4c12-b626-169f8a1317c4" providerId="ADAL" clId="{89AB3C09-D008-1B4D-BA44-BC31799CCDBC}" dt="2025-08-13T15:37:00.130" v="9492" actId="20577"/>
          <ac:spMkLst>
            <pc:docMk/>
            <pc:sldMk cId="274695159" sldId="309"/>
            <ac:spMk id="2" creationId="{F4364B9F-AA62-07C5-9532-0C9C69A8AD79}"/>
          </ac:spMkLst>
        </pc:spChg>
        <pc:spChg chg="mod">
          <ac:chgData name="Jesse, Kevin" userId="6f05423f-cf98-4c12-b626-169f8a1317c4" providerId="ADAL" clId="{89AB3C09-D008-1B4D-BA44-BC31799CCDBC}" dt="2025-08-14T06:42:59.962" v="11429" actId="1076"/>
          <ac:spMkLst>
            <pc:docMk/>
            <pc:sldMk cId="274695159" sldId="309"/>
            <ac:spMk id="3" creationId="{D078517E-4A7E-7162-A68F-D4129783CFFF}"/>
          </ac:spMkLst>
        </pc:spChg>
        <pc:spChg chg="add mod">
          <ac:chgData name="Jesse, Kevin" userId="6f05423f-cf98-4c12-b626-169f8a1317c4" providerId="ADAL" clId="{89AB3C09-D008-1B4D-BA44-BC31799CCDBC}" dt="2025-08-14T06:35:18.644" v="11367" actId="1076"/>
          <ac:spMkLst>
            <pc:docMk/>
            <pc:sldMk cId="274695159" sldId="309"/>
            <ac:spMk id="4" creationId="{874D6DC5-06F2-687B-CADA-62621B6DEAAD}"/>
          </ac:spMkLst>
        </pc:spChg>
        <pc:spChg chg="add mod">
          <ac:chgData name="Jesse, Kevin" userId="6f05423f-cf98-4c12-b626-169f8a1317c4" providerId="ADAL" clId="{89AB3C09-D008-1B4D-BA44-BC31799CCDBC}" dt="2025-08-14T06:39:34.827" v="11371"/>
          <ac:spMkLst>
            <pc:docMk/>
            <pc:sldMk cId="274695159" sldId="309"/>
            <ac:spMk id="5" creationId="{D839A6CB-7EC2-A385-7230-658863E9CDD1}"/>
          </ac:spMkLst>
        </pc:spChg>
        <pc:spChg chg="add mod">
          <ac:chgData name="Jesse, Kevin" userId="6f05423f-cf98-4c12-b626-169f8a1317c4" providerId="ADAL" clId="{89AB3C09-D008-1B4D-BA44-BC31799CCDBC}" dt="2025-08-14T06:42:35.933" v="11427" actId="1076"/>
          <ac:spMkLst>
            <pc:docMk/>
            <pc:sldMk cId="274695159" sldId="309"/>
            <ac:spMk id="8" creationId="{129EB906-4CD1-E227-D1E4-6CB98166B85A}"/>
          </ac:spMkLst>
        </pc:spChg>
        <pc:picChg chg="add mod">
          <ac:chgData name="Jesse, Kevin" userId="6f05423f-cf98-4c12-b626-169f8a1317c4" providerId="ADAL" clId="{89AB3C09-D008-1B4D-BA44-BC31799CCDBC}" dt="2025-08-14T06:42:23.232" v="11424" actId="1076"/>
          <ac:picMkLst>
            <pc:docMk/>
            <pc:sldMk cId="274695159" sldId="309"/>
            <ac:picMk id="10" creationId="{3A0E2287-AFB3-52F7-7C28-7DC8526304B4}"/>
          </ac:picMkLst>
        </pc:picChg>
      </pc:sldChg>
      <pc:sldChg chg="addSp delSp modSp new mod modNotesTx">
        <pc:chgData name="Jesse, Kevin" userId="6f05423f-cf98-4c12-b626-169f8a1317c4" providerId="ADAL" clId="{89AB3C09-D008-1B4D-BA44-BC31799CCDBC}" dt="2025-08-13T07:35:02.613" v="6379" actId="1076"/>
        <pc:sldMkLst>
          <pc:docMk/>
          <pc:sldMk cId="1362980260" sldId="310"/>
        </pc:sldMkLst>
        <pc:spChg chg="mod">
          <ac:chgData name="Jesse, Kevin" userId="6f05423f-cf98-4c12-b626-169f8a1317c4" providerId="ADAL" clId="{89AB3C09-D008-1B4D-BA44-BC31799CCDBC}" dt="2025-08-13T07:24:21.930" v="5517" actId="20577"/>
          <ac:spMkLst>
            <pc:docMk/>
            <pc:sldMk cId="1362980260" sldId="310"/>
            <ac:spMk id="2" creationId="{9A0AD3A8-CD0D-3D56-F512-D7EB5315B6FD}"/>
          </ac:spMkLst>
        </pc:spChg>
        <pc:spChg chg="mod">
          <ac:chgData name="Jesse, Kevin" userId="6f05423f-cf98-4c12-b626-169f8a1317c4" providerId="ADAL" clId="{89AB3C09-D008-1B4D-BA44-BC31799CCDBC}" dt="2025-08-13T07:33:16.761" v="6081" actId="20577"/>
          <ac:spMkLst>
            <pc:docMk/>
            <pc:sldMk cId="1362980260" sldId="310"/>
            <ac:spMk id="3" creationId="{FE6E0339-19B2-FD90-9BEB-A009B88D11E8}"/>
          </ac:spMkLst>
        </pc:spChg>
        <pc:spChg chg="mod">
          <ac:chgData name="Jesse, Kevin" userId="6f05423f-cf98-4c12-b626-169f8a1317c4" providerId="ADAL" clId="{89AB3C09-D008-1B4D-BA44-BC31799CCDBC}" dt="2025-08-13T07:27:07.885" v="5621" actId="164"/>
          <ac:spMkLst>
            <pc:docMk/>
            <pc:sldMk cId="1362980260" sldId="310"/>
            <ac:spMk id="4" creationId="{673B2BF3-A115-E909-C17E-58859EA7AFEA}"/>
          </ac:spMkLst>
        </pc:spChg>
        <pc:spChg chg="mod">
          <ac:chgData name="Jesse, Kevin" userId="6f05423f-cf98-4c12-b626-169f8a1317c4" providerId="ADAL" clId="{89AB3C09-D008-1B4D-BA44-BC31799CCDBC}" dt="2025-08-13T07:26:38.395" v="5616"/>
          <ac:spMkLst>
            <pc:docMk/>
            <pc:sldMk cId="1362980260" sldId="310"/>
            <ac:spMk id="7" creationId="{30C1E28E-4328-FF10-6CD0-63ABDB86E77C}"/>
          </ac:spMkLst>
        </pc:spChg>
        <pc:spChg chg="mod">
          <ac:chgData name="Jesse, Kevin" userId="6f05423f-cf98-4c12-b626-169f8a1317c4" providerId="ADAL" clId="{89AB3C09-D008-1B4D-BA44-BC31799CCDBC}" dt="2025-08-13T07:26:38.395" v="5616"/>
          <ac:spMkLst>
            <pc:docMk/>
            <pc:sldMk cId="1362980260" sldId="310"/>
            <ac:spMk id="24" creationId="{7D17CC44-CF02-94BC-DC61-8DCBB7094341}"/>
          </ac:spMkLst>
        </pc:spChg>
        <pc:spChg chg="mod">
          <ac:chgData name="Jesse, Kevin" userId="6f05423f-cf98-4c12-b626-169f8a1317c4" providerId="ADAL" clId="{89AB3C09-D008-1B4D-BA44-BC31799CCDBC}" dt="2025-08-13T07:26:38.395" v="5616"/>
          <ac:spMkLst>
            <pc:docMk/>
            <pc:sldMk cId="1362980260" sldId="310"/>
            <ac:spMk id="36" creationId="{19C948C5-3D44-9F12-29FE-C0F705772253}"/>
          </ac:spMkLst>
        </pc:spChg>
        <pc:spChg chg="mod">
          <ac:chgData name="Jesse, Kevin" userId="6f05423f-cf98-4c12-b626-169f8a1317c4" providerId="ADAL" clId="{89AB3C09-D008-1B4D-BA44-BC31799CCDBC}" dt="2025-08-13T07:26:38.395" v="5616"/>
          <ac:spMkLst>
            <pc:docMk/>
            <pc:sldMk cId="1362980260" sldId="310"/>
            <ac:spMk id="50" creationId="{5E393C64-3466-8473-D5A5-ECD09D049F17}"/>
          </ac:spMkLst>
        </pc:spChg>
        <pc:spChg chg="mod">
          <ac:chgData name="Jesse, Kevin" userId="6f05423f-cf98-4c12-b626-169f8a1317c4" providerId="ADAL" clId="{89AB3C09-D008-1B4D-BA44-BC31799CCDBC}" dt="2025-08-13T07:26:38.395" v="5616"/>
          <ac:spMkLst>
            <pc:docMk/>
            <pc:sldMk cId="1362980260" sldId="310"/>
            <ac:spMk id="56" creationId="{DD521C29-FC68-94FC-449D-AE6635EB88AF}"/>
          </ac:spMkLst>
        </pc:spChg>
        <pc:spChg chg="mod">
          <ac:chgData name="Jesse, Kevin" userId="6f05423f-cf98-4c12-b626-169f8a1317c4" providerId="ADAL" clId="{89AB3C09-D008-1B4D-BA44-BC31799CCDBC}" dt="2025-08-13T07:26:38.395" v="5616"/>
          <ac:spMkLst>
            <pc:docMk/>
            <pc:sldMk cId="1362980260" sldId="310"/>
            <ac:spMk id="58" creationId="{CB1BCFAB-6792-9A28-4CF6-7033B0C7E746}"/>
          </ac:spMkLst>
        </pc:spChg>
        <pc:spChg chg="mod">
          <ac:chgData name="Jesse, Kevin" userId="6f05423f-cf98-4c12-b626-169f8a1317c4" providerId="ADAL" clId="{89AB3C09-D008-1B4D-BA44-BC31799CCDBC}" dt="2025-08-13T07:26:38.395" v="5616"/>
          <ac:spMkLst>
            <pc:docMk/>
            <pc:sldMk cId="1362980260" sldId="310"/>
            <ac:spMk id="65" creationId="{CAE32376-F953-44F8-14B2-ECBFB9E88079}"/>
          </ac:spMkLst>
        </pc:spChg>
        <pc:spChg chg="mod">
          <ac:chgData name="Jesse, Kevin" userId="6f05423f-cf98-4c12-b626-169f8a1317c4" providerId="ADAL" clId="{89AB3C09-D008-1B4D-BA44-BC31799CCDBC}" dt="2025-08-13T07:29:04.790" v="5682" actId="20577"/>
          <ac:spMkLst>
            <pc:docMk/>
            <pc:sldMk cId="1362980260" sldId="310"/>
            <ac:spMk id="74" creationId="{A6537056-2750-80C0-09AA-99C25CF35497}"/>
          </ac:spMkLst>
        </pc:spChg>
        <pc:spChg chg="mod">
          <ac:chgData name="Jesse, Kevin" userId="6f05423f-cf98-4c12-b626-169f8a1317c4" providerId="ADAL" clId="{89AB3C09-D008-1B4D-BA44-BC31799CCDBC}" dt="2025-08-13T07:28:59.242" v="5675" actId="120"/>
          <ac:spMkLst>
            <pc:docMk/>
            <pc:sldMk cId="1362980260" sldId="310"/>
            <ac:spMk id="75" creationId="{DCA4E52D-C7DA-EE6B-6E24-01D5D6606BB5}"/>
          </ac:spMkLst>
        </pc:spChg>
        <pc:spChg chg="mod">
          <ac:chgData name="Jesse, Kevin" userId="6f05423f-cf98-4c12-b626-169f8a1317c4" providerId="ADAL" clId="{89AB3C09-D008-1B4D-BA44-BC31799CCDBC}" dt="2025-08-13T07:28:45.796" v="5662" actId="20577"/>
          <ac:spMkLst>
            <pc:docMk/>
            <pc:sldMk cId="1362980260" sldId="310"/>
            <ac:spMk id="76" creationId="{B693930E-D03C-412E-93D3-FBBA99CF6A36}"/>
          </ac:spMkLst>
        </pc:spChg>
        <pc:spChg chg="mod">
          <ac:chgData name="Jesse, Kevin" userId="6f05423f-cf98-4c12-b626-169f8a1317c4" providerId="ADAL" clId="{89AB3C09-D008-1B4D-BA44-BC31799CCDBC}" dt="2025-08-13T07:28:52.607" v="5668" actId="20577"/>
          <ac:spMkLst>
            <pc:docMk/>
            <pc:sldMk cId="1362980260" sldId="310"/>
            <ac:spMk id="77" creationId="{9278D37F-4BE5-48B1-DC0A-9F1691F03168}"/>
          </ac:spMkLst>
        </pc:spChg>
        <pc:spChg chg="add mod">
          <ac:chgData name="Jesse, Kevin" userId="6f05423f-cf98-4c12-b626-169f8a1317c4" providerId="ADAL" clId="{89AB3C09-D008-1B4D-BA44-BC31799CCDBC}" dt="2025-08-13T07:30:03.129" v="5722" actId="1076"/>
          <ac:spMkLst>
            <pc:docMk/>
            <pc:sldMk cId="1362980260" sldId="310"/>
            <ac:spMk id="92" creationId="{EF67925B-302A-7671-A5CC-B4EB3E6D04EA}"/>
          </ac:spMkLst>
        </pc:spChg>
        <pc:spChg chg="add mod">
          <ac:chgData name="Jesse, Kevin" userId="6f05423f-cf98-4c12-b626-169f8a1317c4" providerId="ADAL" clId="{89AB3C09-D008-1B4D-BA44-BC31799CCDBC}" dt="2025-08-13T07:32:04.322" v="5964" actId="1076"/>
          <ac:spMkLst>
            <pc:docMk/>
            <pc:sldMk cId="1362980260" sldId="310"/>
            <ac:spMk id="93" creationId="{3054EE27-4298-8F50-BA3E-49E3FBD918C8}"/>
          </ac:spMkLst>
        </pc:spChg>
        <pc:spChg chg="add mod">
          <ac:chgData name="Jesse, Kevin" userId="6f05423f-cf98-4c12-b626-169f8a1317c4" providerId="ADAL" clId="{89AB3C09-D008-1B4D-BA44-BC31799CCDBC}" dt="2025-08-13T07:35:02.613" v="6379" actId="1076"/>
          <ac:spMkLst>
            <pc:docMk/>
            <pc:sldMk cId="1362980260" sldId="310"/>
            <ac:spMk id="94" creationId="{6C0D642A-2BA0-4DE5-0C67-53102D4D6363}"/>
          </ac:spMkLst>
        </pc:spChg>
        <pc:grpChg chg="mod">
          <ac:chgData name="Jesse, Kevin" userId="6f05423f-cf98-4c12-b626-169f8a1317c4" providerId="ADAL" clId="{89AB3C09-D008-1B4D-BA44-BC31799CCDBC}" dt="2025-08-13T07:32:59.917" v="6074" actId="1076"/>
          <ac:grpSpMkLst>
            <pc:docMk/>
            <pc:sldMk cId="1362980260" sldId="310"/>
            <ac:grpSpMk id="90" creationId="{51E0B2BF-6F2F-597E-C5E6-FF1BA79233C4}"/>
          </ac:grpSpMkLst>
        </pc:grpChg>
      </pc:sldChg>
      <pc:sldChg chg="modSp new mod">
        <pc:chgData name="Jesse, Kevin" userId="6f05423f-cf98-4c12-b626-169f8a1317c4" providerId="ADAL" clId="{89AB3C09-D008-1B4D-BA44-BC31799CCDBC}" dt="2025-08-13T07:12:18.877" v="5467" actId="20577"/>
        <pc:sldMkLst>
          <pc:docMk/>
          <pc:sldMk cId="2717777163" sldId="311"/>
        </pc:sldMkLst>
        <pc:spChg chg="mod">
          <ac:chgData name="Jesse, Kevin" userId="6f05423f-cf98-4c12-b626-169f8a1317c4" providerId="ADAL" clId="{89AB3C09-D008-1B4D-BA44-BC31799CCDBC}" dt="2025-08-13T07:12:18.877" v="5467" actId="20577"/>
          <ac:spMkLst>
            <pc:docMk/>
            <pc:sldMk cId="2717777163" sldId="311"/>
            <ac:spMk id="2" creationId="{44DD06C8-F25B-1648-BDF9-1589DE28AAFB}"/>
          </ac:spMkLst>
        </pc:spChg>
        <pc:spChg chg="mod">
          <ac:chgData name="Jesse, Kevin" userId="6f05423f-cf98-4c12-b626-169f8a1317c4" providerId="ADAL" clId="{89AB3C09-D008-1B4D-BA44-BC31799CCDBC}" dt="2025-08-13T06:46:44.458" v="4074" actId="20577"/>
          <ac:spMkLst>
            <pc:docMk/>
            <pc:sldMk cId="2717777163" sldId="311"/>
            <ac:spMk id="3" creationId="{B7892420-6183-7398-C1A2-114BFB7270FE}"/>
          </ac:spMkLst>
        </pc:spChg>
      </pc:sldChg>
      <pc:sldChg chg="addSp delSp modSp new mod modClrScheme chgLayout">
        <pc:chgData name="Jesse, Kevin" userId="6f05423f-cf98-4c12-b626-169f8a1317c4" providerId="ADAL" clId="{89AB3C09-D008-1B4D-BA44-BC31799CCDBC}" dt="2025-08-14T06:55:47.305" v="12428" actId="404"/>
        <pc:sldMkLst>
          <pc:docMk/>
          <pc:sldMk cId="3796740187" sldId="312"/>
        </pc:sldMkLst>
        <pc:spChg chg="add mod ord">
          <ac:chgData name="Jesse, Kevin" userId="6f05423f-cf98-4c12-b626-169f8a1317c4" providerId="ADAL" clId="{89AB3C09-D008-1B4D-BA44-BC31799CCDBC}" dt="2025-08-14T06:45:19.086" v="11535" actId="166"/>
          <ac:spMkLst>
            <pc:docMk/>
            <pc:sldMk cId="3796740187" sldId="312"/>
            <ac:spMk id="4" creationId="{A68AC7F9-3A34-89D8-06E0-4F60E2637676}"/>
          </ac:spMkLst>
        </pc:spChg>
        <pc:spChg chg="mod">
          <ac:chgData name="Jesse, Kevin" userId="6f05423f-cf98-4c12-b626-169f8a1317c4" providerId="ADAL" clId="{89AB3C09-D008-1B4D-BA44-BC31799CCDBC}" dt="2025-08-14T06:44:51.605" v="11470"/>
          <ac:spMkLst>
            <pc:docMk/>
            <pc:sldMk cId="3796740187" sldId="312"/>
            <ac:spMk id="11" creationId="{983438C8-A72D-B065-D102-1EACC10FEBB1}"/>
          </ac:spMkLst>
        </pc:spChg>
        <pc:spChg chg="mod">
          <ac:chgData name="Jesse, Kevin" userId="6f05423f-cf98-4c12-b626-169f8a1317c4" providerId="ADAL" clId="{89AB3C09-D008-1B4D-BA44-BC31799CCDBC}" dt="2025-08-14T06:44:51.605" v="11470"/>
          <ac:spMkLst>
            <pc:docMk/>
            <pc:sldMk cId="3796740187" sldId="312"/>
            <ac:spMk id="16" creationId="{F3869C99-89C1-4566-69A1-C853823805FA}"/>
          </ac:spMkLst>
        </pc:spChg>
        <pc:spChg chg="mod">
          <ac:chgData name="Jesse, Kevin" userId="6f05423f-cf98-4c12-b626-169f8a1317c4" providerId="ADAL" clId="{89AB3C09-D008-1B4D-BA44-BC31799CCDBC}" dt="2025-08-14T06:44:51.605" v="11470"/>
          <ac:spMkLst>
            <pc:docMk/>
            <pc:sldMk cId="3796740187" sldId="312"/>
            <ac:spMk id="21" creationId="{45C92381-C4F9-E5AB-9CA4-8EBF1A879EF2}"/>
          </ac:spMkLst>
        </pc:spChg>
        <pc:spChg chg="mod">
          <ac:chgData name="Jesse, Kevin" userId="6f05423f-cf98-4c12-b626-169f8a1317c4" providerId="ADAL" clId="{89AB3C09-D008-1B4D-BA44-BC31799CCDBC}" dt="2025-08-14T06:44:51.605" v="11470"/>
          <ac:spMkLst>
            <pc:docMk/>
            <pc:sldMk cId="3796740187" sldId="312"/>
            <ac:spMk id="23" creationId="{638DA5F2-404D-7FC9-B1EA-1DF651E8452A}"/>
          </ac:spMkLst>
        </pc:spChg>
        <pc:spChg chg="mod">
          <ac:chgData name="Jesse, Kevin" userId="6f05423f-cf98-4c12-b626-169f8a1317c4" providerId="ADAL" clId="{89AB3C09-D008-1B4D-BA44-BC31799CCDBC}" dt="2025-08-14T06:44:51.605" v="11470"/>
          <ac:spMkLst>
            <pc:docMk/>
            <pc:sldMk cId="3796740187" sldId="312"/>
            <ac:spMk id="25" creationId="{CB53C8D0-B9B4-A845-CEAF-A87DCEF7C1D6}"/>
          </ac:spMkLst>
        </pc:spChg>
        <pc:spChg chg="mod">
          <ac:chgData name="Jesse, Kevin" userId="6f05423f-cf98-4c12-b626-169f8a1317c4" providerId="ADAL" clId="{89AB3C09-D008-1B4D-BA44-BC31799CCDBC}" dt="2025-08-14T06:44:51.605" v="11470"/>
          <ac:spMkLst>
            <pc:docMk/>
            <pc:sldMk cId="3796740187" sldId="312"/>
            <ac:spMk id="29" creationId="{96BB18AC-2F31-96E1-9565-26896CE1EF3B}"/>
          </ac:spMkLst>
        </pc:spChg>
        <pc:spChg chg="mod">
          <ac:chgData name="Jesse, Kevin" userId="6f05423f-cf98-4c12-b626-169f8a1317c4" providerId="ADAL" clId="{89AB3C09-D008-1B4D-BA44-BC31799CCDBC}" dt="2025-08-14T06:44:51.605" v="11470"/>
          <ac:spMkLst>
            <pc:docMk/>
            <pc:sldMk cId="3796740187" sldId="312"/>
            <ac:spMk id="32" creationId="{B8182CA7-82D7-F0FD-B112-7036DE4E159E}"/>
          </ac:spMkLst>
        </pc:spChg>
        <pc:spChg chg="mod">
          <ac:chgData name="Jesse, Kevin" userId="6f05423f-cf98-4c12-b626-169f8a1317c4" providerId="ADAL" clId="{89AB3C09-D008-1B4D-BA44-BC31799CCDBC}" dt="2025-08-14T06:47:27.940" v="11862" actId="122"/>
          <ac:spMkLst>
            <pc:docMk/>
            <pc:sldMk cId="3796740187" sldId="312"/>
            <ac:spMk id="40" creationId="{C22E0559-6A4B-9BA6-810B-01C7D58EF7F4}"/>
          </ac:spMkLst>
        </pc:spChg>
        <pc:spChg chg="mod">
          <ac:chgData name="Jesse, Kevin" userId="6f05423f-cf98-4c12-b626-169f8a1317c4" providerId="ADAL" clId="{89AB3C09-D008-1B4D-BA44-BC31799CCDBC}" dt="2025-08-14T06:51:16.723" v="12419" actId="120"/>
          <ac:spMkLst>
            <pc:docMk/>
            <pc:sldMk cId="3796740187" sldId="312"/>
            <ac:spMk id="41" creationId="{BE9AC95E-1893-9BF3-177E-B829AAFA24A8}"/>
          </ac:spMkLst>
        </pc:spChg>
        <pc:spChg chg="mod">
          <ac:chgData name="Jesse, Kevin" userId="6f05423f-cf98-4c12-b626-169f8a1317c4" providerId="ADAL" clId="{89AB3C09-D008-1B4D-BA44-BC31799CCDBC}" dt="2025-08-14T06:45:29.820" v="11553" actId="20577"/>
          <ac:spMkLst>
            <pc:docMk/>
            <pc:sldMk cId="3796740187" sldId="312"/>
            <ac:spMk id="43" creationId="{6A0F4281-8401-6FC7-C0CC-471AA45D78B0}"/>
          </ac:spMkLst>
        </pc:spChg>
        <pc:spChg chg="mod">
          <ac:chgData name="Jesse, Kevin" userId="6f05423f-cf98-4c12-b626-169f8a1317c4" providerId="ADAL" clId="{89AB3C09-D008-1B4D-BA44-BC31799CCDBC}" dt="2025-08-14T06:51:14.806" v="12418" actId="120"/>
          <ac:spMkLst>
            <pc:docMk/>
            <pc:sldMk cId="3796740187" sldId="312"/>
            <ac:spMk id="44" creationId="{7A3A9427-AFA6-7E76-D199-CC725675AEDF}"/>
          </ac:spMkLst>
        </pc:spChg>
        <pc:spChg chg="mod">
          <ac:chgData name="Jesse, Kevin" userId="6f05423f-cf98-4c12-b626-169f8a1317c4" providerId="ADAL" clId="{89AB3C09-D008-1B4D-BA44-BC31799CCDBC}" dt="2025-08-14T06:45:55.927" v="11631" actId="20577"/>
          <ac:spMkLst>
            <pc:docMk/>
            <pc:sldMk cId="3796740187" sldId="312"/>
            <ac:spMk id="46" creationId="{960E3814-0F86-0DF2-86AD-31FF0F621B56}"/>
          </ac:spMkLst>
        </pc:spChg>
        <pc:spChg chg="mod">
          <ac:chgData name="Jesse, Kevin" userId="6f05423f-cf98-4c12-b626-169f8a1317c4" providerId="ADAL" clId="{89AB3C09-D008-1B4D-BA44-BC31799CCDBC}" dt="2025-08-14T06:51:29.173" v="12423" actId="114"/>
          <ac:spMkLst>
            <pc:docMk/>
            <pc:sldMk cId="3796740187" sldId="312"/>
            <ac:spMk id="47" creationId="{E213E9ED-E88C-6170-6334-0AA45EEC9154}"/>
          </ac:spMkLst>
        </pc:spChg>
        <pc:spChg chg="mod">
          <ac:chgData name="Jesse, Kevin" userId="6f05423f-cf98-4c12-b626-169f8a1317c4" providerId="ADAL" clId="{89AB3C09-D008-1B4D-BA44-BC31799CCDBC}" dt="2025-08-14T06:45:51.639" v="11617" actId="20577"/>
          <ac:spMkLst>
            <pc:docMk/>
            <pc:sldMk cId="3796740187" sldId="312"/>
            <ac:spMk id="49" creationId="{E7D4D75B-A4FA-6EA2-2246-298899BA29FD}"/>
          </ac:spMkLst>
        </pc:spChg>
        <pc:spChg chg="mod">
          <ac:chgData name="Jesse, Kevin" userId="6f05423f-cf98-4c12-b626-169f8a1317c4" providerId="ADAL" clId="{89AB3C09-D008-1B4D-BA44-BC31799CCDBC}" dt="2025-08-14T06:51:21.884" v="12422" actId="114"/>
          <ac:spMkLst>
            <pc:docMk/>
            <pc:sldMk cId="3796740187" sldId="312"/>
            <ac:spMk id="50" creationId="{1618AE7E-CDE7-ABA9-6EFF-11C63556E15E}"/>
          </ac:spMkLst>
        </pc:spChg>
        <pc:spChg chg="add mod">
          <ac:chgData name="Jesse, Kevin" userId="6f05423f-cf98-4c12-b626-169f8a1317c4" providerId="ADAL" clId="{89AB3C09-D008-1B4D-BA44-BC31799CCDBC}" dt="2025-08-14T06:55:47.305" v="12428" actId="404"/>
          <ac:spMkLst>
            <pc:docMk/>
            <pc:sldMk cId="3796740187" sldId="312"/>
            <ac:spMk id="55" creationId="{3D9EB4DF-B005-D527-541F-C9D49074FA2D}"/>
          </ac:spMkLst>
        </pc:spChg>
        <pc:grpChg chg="mod">
          <ac:chgData name="Jesse, Kevin" userId="6f05423f-cf98-4c12-b626-169f8a1317c4" providerId="ADAL" clId="{89AB3C09-D008-1B4D-BA44-BC31799CCDBC}" dt="2025-08-14T06:47:17.791" v="11860" actId="14100"/>
          <ac:grpSpMkLst>
            <pc:docMk/>
            <pc:sldMk cId="3796740187" sldId="312"/>
            <ac:grpSpMk id="39" creationId="{31E16CCC-EFE3-E661-564F-7CFD5EBEC4DA}"/>
          </ac:grpSpMkLst>
        </pc:grpChg>
        <pc:grpChg chg="mod">
          <ac:chgData name="Jesse, Kevin" userId="6f05423f-cf98-4c12-b626-169f8a1317c4" providerId="ADAL" clId="{89AB3C09-D008-1B4D-BA44-BC31799CCDBC}" dt="2025-08-14T06:51:05.097" v="12415" actId="14100"/>
          <ac:grpSpMkLst>
            <pc:docMk/>
            <pc:sldMk cId="3796740187" sldId="312"/>
            <ac:grpSpMk id="45" creationId="{456A46FB-994D-D1FE-B900-F209C340F11D}"/>
          </ac:grpSpMkLst>
        </pc:grpChg>
        <pc:grpChg chg="mod">
          <ac:chgData name="Jesse, Kevin" userId="6f05423f-cf98-4c12-b626-169f8a1317c4" providerId="ADAL" clId="{89AB3C09-D008-1B4D-BA44-BC31799CCDBC}" dt="2025-08-14T06:51:18.700" v="12421" actId="1076"/>
          <ac:grpSpMkLst>
            <pc:docMk/>
            <pc:sldMk cId="3796740187" sldId="312"/>
            <ac:grpSpMk id="48" creationId="{69BDC2D7-6847-A2E6-47E4-D6F63527426C}"/>
          </ac:grpSpMkLst>
        </pc:grpChg>
      </pc:sldChg>
      <pc:sldChg chg="addSp delSp modSp new mod">
        <pc:chgData name="Jesse, Kevin" userId="6f05423f-cf98-4c12-b626-169f8a1317c4" providerId="ADAL" clId="{89AB3C09-D008-1B4D-BA44-BC31799CCDBC}" dt="2025-08-14T06:43:19.619" v="11468" actId="20577"/>
        <pc:sldMkLst>
          <pc:docMk/>
          <pc:sldMk cId="663125826" sldId="313"/>
        </pc:sldMkLst>
        <pc:spChg chg="mod">
          <ac:chgData name="Jesse, Kevin" userId="6f05423f-cf98-4c12-b626-169f8a1317c4" providerId="ADAL" clId="{89AB3C09-D008-1B4D-BA44-BC31799CCDBC}" dt="2025-08-14T06:43:19.619" v="11468" actId="20577"/>
          <ac:spMkLst>
            <pc:docMk/>
            <pc:sldMk cId="663125826" sldId="313"/>
            <ac:spMk id="2" creationId="{9A335CB9-7299-515E-50B5-3EE9622C17F8}"/>
          </ac:spMkLst>
        </pc:spChg>
        <pc:spChg chg="add mod">
          <ac:chgData name="Jesse, Kevin" userId="6f05423f-cf98-4c12-b626-169f8a1317c4" providerId="ADAL" clId="{89AB3C09-D008-1B4D-BA44-BC31799CCDBC}" dt="2025-08-14T06:06:21.402" v="9986" actId="207"/>
          <ac:spMkLst>
            <pc:docMk/>
            <pc:sldMk cId="663125826" sldId="313"/>
            <ac:spMk id="4" creationId="{87356D24-5E54-6A6B-D038-71A3979DC1B4}"/>
          </ac:spMkLst>
        </pc:spChg>
        <pc:spChg chg="add mod">
          <ac:chgData name="Jesse, Kevin" userId="6f05423f-cf98-4c12-b626-169f8a1317c4" providerId="ADAL" clId="{89AB3C09-D008-1B4D-BA44-BC31799CCDBC}" dt="2025-08-14T06:12:35.045" v="10410" actId="164"/>
          <ac:spMkLst>
            <pc:docMk/>
            <pc:sldMk cId="663125826" sldId="313"/>
            <ac:spMk id="5" creationId="{EF1CDC21-F349-CA24-D94A-ADD8D77A447D}"/>
          </ac:spMkLst>
        </pc:spChg>
        <pc:spChg chg="add mod">
          <ac:chgData name="Jesse, Kevin" userId="6f05423f-cf98-4c12-b626-169f8a1317c4" providerId="ADAL" clId="{89AB3C09-D008-1B4D-BA44-BC31799CCDBC}" dt="2025-08-14T06:12:35.045" v="10410" actId="164"/>
          <ac:spMkLst>
            <pc:docMk/>
            <pc:sldMk cId="663125826" sldId="313"/>
            <ac:spMk id="6" creationId="{97736FE9-8406-826F-F62D-52ACDC9EE397}"/>
          </ac:spMkLst>
        </pc:spChg>
        <pc:spChg chg="add mod">
          <ac:chgData name="Jesse, Kevin" userId="6f05423f-cf98-4c12-b626-169f8a1317c4" providerId="ADAL" clId="{89AB3C09-D008-1B4D-BA44-BC31799CCDBC}" dt="2025-08-14T06:12:35.045" v="10410" actId="164"/>
          <ac:spMkLst>
            <pc:docMk/>
            <pc:sldMk cId="663125826" sldId="313"/>
            <ac:spMk id="7" creationId="{C4B18390-1AD6-FBC5-5887-D906FEB0FB05}"/>
          </ac:spMkLst>
        </pc:spChg>
        <pc:spChg chg="add mod">
          <ac:chgData name="Jesse, Kevin" userId="6f05423f-cf98-4c12-b626-169f8a1317c4" providerId="ADAL" clId="{89AB3C09-D008-1B4D-BA44-BC31799CCDBC}" dt="2025-08-14T06:12:35.045" v="10410" actId="164"/>
          <ac:spMkLst>
            <pc:docMk/>
            <pc:sldMk cId="663125826" sldId="313"/>
            <ac:spMk id="8" creationId="{A8792D45-1E1D-1F9E-B4E0-342AC99D376B}"/>
          </ac:spMkLst>
        </pc:spChg>
        <pc:spChg chg="add mod">
          <ac:chgData name="Jesse, Kevin" userId="6f05423f-cf98-4c12-b626-169f8a1317c4" providerId="ADAL" clId="{89AB3C09-D008-1B4D-BA44-BC31799CCDBC}" dt="2025-08-14T06:12:35.045" v="10410" actId="164"/>
          <ac:spMkLst>
            <pc:docMk/>
            <pc:sldMk cId="663125826" sldId="313"/>
            <ac:spMk id="9" creationId="{CFCBB152-55FB-29C4-FF5B-5D319CD9E435}"/>
          </ac:spMkLst>
        </pc:spChg>
        <pc:spChg chg="add mod">
          <ac:chgData name="Jesse, Kevin" userId="6f05423f-cf98-4c12-b626-169f8a1317c4" providerId="ADAL" clId="{89AB3C09-D008-1B4D-BA44-BC31799CCDBC}" dt="2025-08-14T05:59:24.340" v="9825" actId="1076"/>
          <ac:spMkLst>
            <pc:docMk/>
            <pc:sldMk cId="663125826" sldId="313"/>
            <ac:spMk id="13" creationId="{6C045D01-622D-D77B-FCBE-09FD62952D48}"/>
          </ac:spMkLst>
        </pc:spChg>
        <pc:spChg chg="add mod">
          <ac:chgData name="Jesse, Kevin" userId="6f05423f-cf98-4c12-b626-169f8a1317c4" providerId="ADAL" clId="{89AB3C09-D008-1B4D-BA44-BC31799CCDBC}" dt="2025-08-14T06:12:35.045" v="10410" actId="164"/>
          <ac:spMkLst>
            <pc:docMk/>
            <pc:sldMk cId="663125826" sldId="313"/>
            <ac:spMk id="14" creationId="{DE050D7A-21C2-9335-248C-03BC3ABFE711}"/>
          </ac:spMkLst>
        </pc:spChg>
        <pc:spChg chg="add mod">
          <ac:chgData name="Jesse, Kevin" userId="6f05423f-cf98-4c12-b626-169f8a1317c4" providerId="ADAL" clId="{89AB3C09-D008-1B4D-BA44-BC31799CCDBC}" dt="2025-08-14T06:03:49.284" v="9913" actId="20577"/>
          <ac:spMkLst>
            <pc:docMk/>
            <pc:sldMk cId="663125826" sldId="313"/>
            <ac:spMk id="17" creationId="{4171E7E1-2E27-E293-36CD-47F38E62CCDF}"/>
          </ac:spMkLst>
        </pc:spChg>
        <pc:spChg chg="add mod">
          <ac:chgData name="Jesse, Kevin" userId="6f05423f-cf98-4c12-b626-169f8a1317c4" providerId="ADAL" clId="{89AB3C09-D008-1B4D-BA44-BC31799CCDBC}" dt="2025-08-14T06:12:35.045" v="10410" actId="164"/>
          <ac:spMkLst>
            <pc:docMk/>
            <pc:sldMk cId="663125826" sldId="313"/>
            <ac:spMk id="18" creationId="{DB8E4152-ED4B-1348-19AD-F2688D9BABAF}"/>
          </ac:spMkLst>
        </pc:spChg>
        <pc:spChg chg="add mod">
          <ac:chgData name="Jesse, Kevin" userId="6f05423f-cf98-4c12-b626-169f8a1317c4" providerId="ADAL" clId="{89AB3C09-D008-1B4D-BA44-BC31799CCDBC}" dt="2025-08-14T06:04:43.170" v="9971" actId="1076"/>
          <ac:spMkLst>
            <pc:docMk/>
            <pc:sldMk cId="663125826" sldId="313"/>
            <ac:spMk id="49" creationId="{E4754035-AA44-2F50-FB5E-153D67F2B23E}"/>
          </ac:spMkLst>
        </pc:spChg>
        <pc:spChg chg="add mod">
          <ac:chgData name="Jesse, Kevin" userId="6f05423f-cf98-4c12-b626-169f8a1317c4" providerId="ADAL" clId="{89AB3C09-D008-1B4D-BA44-BC31799CCDBC}" dt="2025-08-14T06:12:35.045" v="10410" actId="164"/>
          <ac:spMkLst>
            <pc:docMk/>
            <pc:sldMk cId="663125826" sldId="313"/>
            <ac:spMk id="50" creationId="{C36877C2-0022-65F8-43B3-695787F7237D}"/>
          </ac:spMkLst>
        </pc:spChg>
        <pc:spChg chg="add mod">
          <ac:chgData name="Jesse, Kevin" userId="6f05423f-cf98-4c12-b626-169f8a1317c4" providerId="ADAL" clId="{89AB3C09-D008-1B4D-BA44-BC31799CCDBC}" dt="2025-08-14T06:12:35.045" v="10410" actId="164"/>
          <ac:spMkLst>
            <pc:docMk/>
            <pc:sldMk cId="663125826" sldId="313"/>
            <ac:spMk id="51" creationId="{A3E27587-A05C-272F-4779-CC9CDA8ACB3F}"/>
          </ac:spMkLst>
        </pc:spChg>
        <pc:spChg chg="add mod">
          <ac:chgData name="Jesse, Kevin" userId="6f05423f-cf98-4c12-b626-169f8a1317c4" providerId="ADAL" clId="{89AB3C09-D008-1B4D-BA44-BC31799CCDBC}" dt="2025-08-14T06:05:04.524" v="9977" actId="1076"/>
          <ac:spMkLst>
            <pc:docMk/>
            <pc:sldMk cId="663125826" sldId="313"/>
            <ac:spMk id="52" creationId="{6C268BD1-D1B3-2AB1-D32D-30417845F927}"/>
          </ac:spMkLst>
        </pc:spChg>
        <pc:spChg chg="add mod">
          <ac:chgData name="Jesse, Kevin" userId="6f05423f-cf98-4c12-b626-169f8a1317c4" providerId="ADAL" clId="{89AB3C09-D008-1B4D-BA44-BC31799CCDBC}" dt="2025-08-14T06:04:48.547" v="9973" actId="1076"/>
          <ac:spMkLst>
            <pc:docMk/>
            <pc:sldMk cId="663125826" sldId="313"/>
            <ac:spMk id="53" creationId="{305F3D42-263F-5FF4-497F-3A0D19073E6C}"/>
          </ac:spMkLst>
        </pc:spChg>
        <pc:spChg chg="add mod">
          <ac:chgData name="Jesse, Kevin" userId="6f05423f-cf98-4c12-b626-169f8a1317c4" providerId="ADAL" clId="{89AB3C09-D008-1B4D-BA44-BC31799CCDBC}" dt="2025-08-14T06:12:35.045" v="10410" actId="164"/>
          <ac:spMkLst>
            <pc:docMk/>
            <pc:sldMk cId="663125826" sldId="313"/>
            <ac:spMk id="54" creationId="{C9232C04-3978-7BA2-0F5F-38077D0EFC28}"/>
          </ac:spMkLst>
        </pc:spChg>
        <pc:spChg chg="add mod">
          <ac:chgData name="Jesse, Kevin" userId="6f05423f-cf98-4c12-b626-169f8a1317c4" providerId="ADAL" clId="{89AB3C09-D008-1B4D-BA44-BC31799CCDBC}" dt="2025-08-14T06:06:58.012" v="9990" actId="207"/>
          <ac:spMkLst>
            <pc:docMk/>
            <pc:sldMk cId="663125826" sldId="313"/>
            <ac:spMk id="55" creationId="{C6F18684-FEF6-C07D-CB19-ACFF500632DA}"/>
          </ac:spMkLst>
        </pc:spChg>
        <pc:spChg chg="add mod">
          <ac:chgData name="Jesse, Kevin" userId="6f05423f-cf98-4c12-b626-169f8a1317c4" providerId="ADAL" clId="{89AB3C09-D008-1B4D-BA44-BC31799CCDBC}" dt="2025-08-14T06:07:15.067" v="9999" actId="1076"/>
          <ac:spMkLst>
            <pc:docMk/>
            <pc:sldMk cId="663125826" sldId="313"/>
            <ac:spMk id="56" creationId="{314887DA-D5A9-4046-658E-7F8D89F67D19}"/>
          </ac:spMkLst>
        </pc:spChg>
        <pc:spChg chg="add mod">
          <ac:chgData name="Jesse, Kevin" userId="6f05423f-cf98-4c12-b626-169f8a1317c4" providerId="ADAL" clId="{89AB3C09-D008-1B4D-BA44-BC31799CCDBC}" dt="2025-08-14T06:07:24.699" v="10001" actId="1076"/>
          <ac:spMkLst>
            <pc:docMk/>
            <pc:sldMk cId="663125826" sldId="313"/>
            <ac:spMk id="57" creationId="{E31C7684-35C9-9725-EC58-2257EE3EF520}"/>
          </ac:spMkLst>
        </pc:spChg>
        <pc:spChg chg="add mod">
          <ac:chgData name="Jesse, Kevin" userId="6f05423f-cf98-4c12-b626-169f8a1317c4" providerId="ADAL" clId="{89AB3C09-D008-1B4D-BA44-BC31799CCDBC}" dt="2025-08-14T06:08:00.690" v="10040" actId="20577"/>
          <ac:spMkLst>
            <pc:docMk/>
            <pc:sldMk cId="663125826" sldId="313"/>
            <ac:spMk id="58" creationId="{0AA04268-7869-286E-2926-BB9F558B3E84}"/>
          </ac:spMkLst>
        </pc:spChg>
        <pc:spChg chg="add mod">
          <ac:chgData name="Jesse, Kevin" userId="6f05423f-cf98-4c12-b626-169f8a1317c4" providerId="ADAL" clId="{89AB3C09-D008-1B4D-BA44-BC31799CCDBC}" dt="2025-08-14T06:07:48.266" v="10006" actId="1076"/>
          <ac:spMkLst>
            <pc:docMk/>
            <pc:sldMk cId="663125826" sldId="313"/>
            <ac:spMk id="61" creationId="{9E132AFE-DF05-D3F7-FEDC-8BB73B4DF104}"/>
          </ac:spMkLst>
        </pc:spChg>
        <pc:spChg chg="add mod">
          <ac:chgData name="Jesse, Kevin" userId="6f05423f-cf98-4c12-b626-169f8a1317c4" providerId="ADAL" clId="{89AB3C09-D008-1B4D-BA44-BC31799CCDBC}" dt="2025-08-14T06:07:53.288" v="10015" actId="20577"/>
          <ac:spMkLst>
            <pc:docMk/>
            <pc:sldMk cId="663125826" sldId="313"/>
            <ac:spMk id="62" creationId="{D6BBFA7D-F158-A401-B8C6-00FFCA3B587D}"/>
          </ac:spMkLst>
        </pc:spChg>
        <pc:spChg chg="add mod">
          <ac:chgData name="Jesse, Kevin" userId="6f05423f-cf98-4c12-b626-169f8a1317c4" providerId="ADAL" clId="{89AB3C09-D008-1B4D-BA44-BC31799CCDBC}" dt="2025-08-14T06:07:48.266" v="10006" actId="1076"/>
          <ac:spMkLst>
            <pc:docMk/>
            <pc:sldMk cId="663125826" sldId="313"/>
            <ac:spMk id="63" creationId="{ED3FAC47-5838-FAFF-E34F-00EBE2813C16}"/>
          </ac:spMkLst>
        </pc:spChg>
        <pc:spChg chg="add mod">
          <ac:chgData name="Jesse, Kevin" userId="6f05423f-cf98-4c12-b626-169f8a1317c4" providerId="ADAL" clId="{89AB3C09-D008-1B4D-BA44-BC31799CCDBC}" dt="2025-08-14T06:13:00.032" v="10414" actId="20577"/>
          <ac:spMkLst>
            <pc:docMk/>
            <pc:sldMk cId="663125826" sldId="313"/>
            <ac:spMk id="64" creationId="{855DF916-8D51-ADD4-BA51-6F0AF9C86B73}"/>
          </ac:spMkLst>
        </pc:spChg>
        <pc:spChg chg="add mod">
          <ac:chgData name="Jesse, Kevin" userId="6f05423f-cf98-4c12-b626-169f8a1317c4" providerId="ADAL" clId="{89AB3C09-D008-1B4D-BA44-BC31799CCDBC}" dt="2025-08-14T06:12:13.552" v="10409" actId="404"/>
          <ac:spMkLst>
            <pc:docMk/>
            <pc:sldMk cId="663125826" sldId="313"/>
            <ac:spMk id="65" creationId="{A4CB24FC-8CB9-AF26-3A1D-3A3BDB4CD35E}"/>
          </ac:spMkLst>
        </pc:spChg>
        <pc:spChg chg="add mod">
          <ac:chgData name="Jesse, Kevin" userId="6f05423f-cf98-4c12-b626-169f8a1317c4" providerId="ADAL" clId="{89AB3C09-D008-1B4D-BA44-BC31799CCDBC}" dt="2025-08-14T06:11:37.471" v="10360" actId="404"/>
          <ac:spMkLst>
            <pc:docMk/>
            <pc:sldMk cId="663125826" sldId="313"/>
            <ac:spMk id="66" creationId="{C4EAB718-CEC0-9744-3B33-4E5644AEFD0F}"/>
          </ac:spMkLst>
        </pc:spChg>
        <pc:spChg chg="add mod">
          <ac:chgData name="Jesse, Kevin" userId="6f05423f-cf98-4c12-b626-169f8a1317c4" providerId="ADAL" clId="{89AB3C09-D008-1B4D-BA44-BC31799CCDBC}" dt="2025-08-14T06:11:05.402" v="10241" actId="20577"/>
          <ac:spMkLst>
            <pc:docMk/>
            <pc:sldMk cId="663125826" sldId="313"/>
            <ac:spMk id="67" creationId="{59ACE95C-5A6D-D18E-A5CD-F7FDCF9AEE07}"/>
          </ac:spMkLst>
        </pc:spChg>
        <pc:spChg chg="add mod">
          <ac:chgData name="Jesse, Kevin" userId="6f05423f-cf98-4c12-b626-169f8a1317c4" providerId="ADAL" clId="{89AB3C09-D008-1B4D-BA44-BC31799CCDBC}" dt="2025-08-14T06:10:03.317" v="10107" actId="20577"/>
          <ac:spMkLst>
            <pc:docMk/>
            <pc:sldMk cId="663125826" sldId="313"/>
            <ac:spMk id="68" creationId="{209146A4-49A3-E296-3A17-AD09DF0B5B2B}"/>
          </ac:spMkLst>
        </pc:spChg>
        <pc:grpChg chg="mod">
          <ac:chgData name="Jesse, Kevin" userId="6f05423f-cf98-4c12-b626-169f8a1317c4" providerId="ADAL" clId="{89AB3C09-D008-1B4D-BA44-BC31799CCDBC}" dt="2025-08-14T06:12:37.772" v="10411" actId="1076"/>
          <ac:grpSpMkLst>
            <pc:docMk/>
            <pc:sldMk cId="663125826" sldId="313"/>
            <ac:grpSpMk id="69" creationId="{18661EFA-BE81-8D20-EFC6-E34D094179CE}"/>
          </ac:grpSpMkLst>
        </pc:grpChg>
        <pc:cxnChg chg="add mod">
          <ac:chgData name="Jesse, Kevin" userId="6f05423f-cf98-4c12-b626-169f8a1317c4" providerId="ADAL" clId="{89AB3C09-D008-1B4D-BA44-BC31799CCDBC}" dt="2025-08-14T05:58:34.959" v="9800" actId="1076"/>
          <ac:cxnSpMkLst>
            <pc:docMk/>
            <pc:sldMk cId="663125826" sldId="313"/>
            <ac:cxnSpMk id="11" creationId="{58E60CFE-64DD-34B1-8F41-B09FBDF64EA0}"/>
          </ac:cxnSpMkLst>
        </pc:cxnChg>
        <pc:cxnChg chg="add mod">
          <ac:chgData name="Jesse, Kevin" userId="6f05423f-cf98-4c12-b626-169f8a1317c4" providerId="ADAL" clId="{89AB3C09-D008-1B4D-BA44-BC31799CCDBC}" dt="2025-08-14T05:58:32.993" v="9799" actId="1076"/>
          <ac:cxnSpMkLst>
            <pc:docMk/>
            <pc:sldMk cId="663125826" sldId="313"/>
            <ac:cxnSpMk id="12" creationId="{A1E13374-9CA6-5978-BF11-886A88E4EC6F}"/>
          </ac:cxnSpMkLst>
        </pc:cxnChg>
        <pc:cxnChg chg="add mod">
          <ac:chgData name="Jesse, Kevin" userId="6f05423f-cf98-4c12-b626-169f8a1317c4" providerId="ADAL" clId="{89AB3C09-D008-1B4D-BA44-BC31799CCDBC}" dt="2025-08-14T05:59:43.137" v="9827" actId="1076"/>
          <ac:cxnSpMkLst>
            <pc:docMk/>
            <pc:sldMk cId="663125826" sldId="313"/>
            <ac:cxnSpMk id="15" creationId="{D96976FA-594A-0160-64A9-950E7CC6108A}"/>
          </ac:cxnSpMkLst>
        </pc:cxnChg>
        <pc:cxnChg chg="add mod">
          <ac:chgData name="Jesse, Kevin" userId="6f05423f-cf98-4c12-b626-169f8a1317c4" providerId="ADAL" clId="{89AB3C09-D008-1B4D-BA44-BC31799CCDBC}" dt="2025-08-14T05:59:43.137" v="9827" actId="1076"/>
          <ac:cxnSpMkLst>
            <pc:docMk/>
            <pc:sldMk cId="663125826" sldId="313"/>
            <ac:cxnSpMk id="16" creationId="{6727AE37-9DFF-A257-8359-B6AF7088E05D}"/>
          </ac:cxnSpMkLst>
        </pc:cxnChg>
        <pc:cxnChg chg="add mod">
          <ac:chgData name="Jesse, Kevin" userId="6f05423f-cf98-4c12-b626-169f8a1317c4" providerId="ADAL" clId="{89AB3C09-D008-1B4D-BA44-BC31799CCDBC}" dt="2025-08-14T06:00:39.728" v="9849" actId="14100"/>
          <ac:cxnSpMkLst>
            <pc:docMk/>
            <pc:sldMk cId="663125826" sldId="313"/>
            <ac:cxnSpMk id="23" creationId="{37D0DE06-A98D-82D7-7C33-ADE6704B3EAE}"/>
          </ac:cxnSpMkLst>
        </pc:cxnChg>
        <pc:cxnChg chg="add mod">
          <ac:chgData name="Jesse, Kevin" userId="6f05423f-cf98-4c12-b626-169f8a1317c4" providerId="ADAL" clId="{89AB3C09-D008-1B4D-BA44-BC31799CCDBC}" dt="2025-08-14T06:00:35.981" v="9847" actId="1076"/>
          <ac:cxnSpMkLst>
            <pc:docMk/>
            <pc:sldMk cId="663125826" sldId="313"/>
            <ac:cxnSpMk id="24" creationId="{92E83179-1C18-028D-C569-6F859AA129EC}"/>
          </ac:cxnSpMkLst>
        </pc:cxnChg>
        <pc:cxnChg chg="mod topLvl">
          <ac:chgData name="Jesse, Kevin" userId="6f05423f-cf98-4c12-b626-169f8a1317c4" providerId="ADAL" clId="{89AB3C09-D008-1B4D-BA44-BC31799CCDBC}" dt="2025-08-14T06:02:17.575" v="9872" actId="14100"/>
          <ac:cxnSpMkLst>
            <pc:docMk/>
            <pc:sldMk cId="663125826" sldId="313"/>
            <ac:cxnSpMk id="34" creationId="{9CD4EE25-AB28-1B4F-9A79-6F11AB60204D}"/>
          </ac:cxnSpMkLst>
        </pc:cxnChg>
        <pc:cxnChg chg="mod topLvl">
          <ac:chgData name="Jesse, Kevin" userId="6f05423f-cf98-4c12-b626-169f8a1317c4" providerId="ADAL" clId="{89AB3C09-D008-1B4D-BA44-BC31799CCDBC}" dt="2025-08-14T06:02:00.522" v="9867" actId="14100"/>
          <ac:cxnSpMkLst>
            <pc:docMk/>
            <pc:sldMk cId="663125826" sldId="313"/>
            <ac:cxnSpMk id="35" creationId="{375EAF62-57B6-CCAE-D46B-1B668A682DB9}"/>
          </ac:cxnSpMkLst>
        </pc:cxnChg>
        <pc:cxnChg chg="add mod topLvl">
          <ac:chgData name="Jesse, Kevin" userId="6f05423f-cf98-4c12-b626-169f8a1317c4" providerId="ADAL" clId="{89AB3C09-D008-1B4D-BA44-BC31799CCDBC}" dt="2025-08-14T06:03:20.981" v="9883" actId="1076"/>
          <ac:cxnSpMkLst>
            <pc:docMk/>
            <pc:sldMk cId="663125826" sldId="313"/>
            <ac:cxnSpMk id="45" creationId="{D89DB5DD-9BC9-1215-3EA4-675BD7EB3215}"/>
          </ac:cxnSpMkLst>
        </pc:cxnChg>
        <pc:cxnChg chg="add mod topLvl">
          <ac:chgData name="Jesse, Kevin" userId="6f05423f-cf98-4c12-b626-169f8a1317c4" providerId="ADAL" clId="{89AB3C09-D008-1B4D-BA44-BC31799CCDBC}" dt="2025-08-14T06:03:30.253" v="9884" actId="14100"/>
          <ac:cxnSpMkLst>
            <pc:docMk/>
            <pc:sldMk cId="663125826" sldId="313"/>
            <ac:cxnSpMk id="46" creationId="{4D6863B7-3B25-B4D4-9F9D-63846FF9D8AC}"/>
          </ac:cxnSpMkLst>
        </pc:cxnChg>
      </pc:sldChg>
      <pc:sldChg chg="addSp delSp modSp add mod">
        <pc:chgData name="Jesse, Kevin" userId="6f05423f-cf98-4c12-b626-169f8a1317c4" providerId="ADAL" clId="{89AB3C09-D008-1B4D-BA44-BC31799CCDBC}" dt="2025-08-14T06:33:53.825" v="11364" actId="14100"/>
        <pc:sldMkLst>
          <pc:docMk/>
          <pc:sldMk cId="153457374" sldId="314"/>
        </pc:sldMkLst>
        <pc:spChg chg="mod">
          <ac:chgData name="Jesse, Kevin" userId="6f05423f-cf98-4c12-b626-169f8a1317c4" providerId="ADAL" clId="{89AB3C09-D008-1B4D-BA44-BC31799CCDBC}" dt="2025-08-14T06:17:27.090" v="10603" actId="20577"/>
          <ac:spMkLst>
            <pc:docMk/>
            <pc:sldMk cId="153457374" sldId="314"/>
            <ac:spMk id="2" creationId="{F1F41044-55BB-BA79-F678-45A1E5B604EA}"/>
          </ac:spMkLst>
        </pc:spChg>
        <pc:spChg chg="add mod">
          <ac:chgData name="Jesse, Kevin" userId="6f05423f-cf98-4c12-b626-169f8a1317c4" providerId="ADAL" clId="{89AB3C09-D008-1B4D-BA44-BC31799CCDBC}" dt="2025-08-14T06:17:02.067" v="10561" actId="14100"/>
          <ac:spMkLst>
            <pc:docMk/>
            <pc:sldMk cId="153457374" sldId="314"/>
            <ac:spMk id="3" creationId="{BA61D170-5F32-F36D-5ACA-BCBA66B4EAFC}"/>
          </ac:spMkLst>
        </pc:spChg>
        <pc:spChg chg="mod">
          <ac:chgData name="Jesse, Kevin" userId="6f05423f-cf98-4c12-b626-169f8a1317c4" providerId="ADAL" clId="{89AB3C09-D008-1B4D-BA44-BC31799CCDBC}" dt="2025-08-14T06:13:41.849" v="10430" actId="404"/>
          <ac:spMkLst>
            <pc:docMk/>
            <pc:sldMk cId="153457374" sldId="314"/>
            <ac:spMk id="4" creationId="{3A0F9292-1E28-7EB9-E5C0-8EE52B1D8072}"/>
          </ac:spMkLst>
        </pc:spChg>
        <pc:spChg chg="mod">
          <ac:chgData name="Jesse, Kevin" userId="6f05423f-cf98-4c12-b626-169f8a1317c4" providerId="ADAL" clId="{89AB3C09-D008-1B4D-BA44-BC31799CCDBC}" dt="2025-08-14T06:13:38.328" v="10425" actId="404"/>
          <ac:spMkLst>
            <pc:docMk/>
            <pc:sldMk cId="153457374" sldId="314"/>
            <ac:spMk id="5" creationId="{D9179B96-3BB1-D2FB-342D-578F00242E5F}"/>
          </ac:spMkLst>
        </pc:spChg>
        <pc:spChg chg="mod">
          <ac:chgData name="Jesse, Kevin" userId="6f05423f-cf98-4c12-b626-169f8a1317c4" providerId="ADAL" clId="{89AB3C09-D008-1B4D-BA44-BC31799CCDBC}" dt="2025-08-14T06:14:26.434" v="10474" actId="404"/>
          <ac:spMkLst>
            <pc:docMk/>
            <pc:sldMk cId="153457374" sldId="314"/>
            <ac:spMk id="6" creationId="{E9AAC7A1-6232-3A9C-4442-544B263B5295}"/>
          </ac:spMkLst>
        </pc:spChg>
        <pc:spChg chg="mod">
          <ac:chgData name="Jesse, Kevin" userId="6f05423f-cf98-4c12-b626-169f8a1317c4" providerId="ADAL" clId="{89AB3C09-D008-1B4D-BA44-BC31799CCDBC}" dt="2025-08-14T06:14:20.864" v="10467" actId="404"/>
          <ac:spMkLst>
            <pc:docMk/>
            <pc:sldMk cId="153457374" sldId="314"/>
            <ac:spMk id="7" creationId="{B9400A52-FDB5-FED3-E6C0-3E9307935D63}"/>
          </ac:spMkLst>
        </pc:spChg>
        <pc:spChg chg="mod">
          <ac:chgData name="Jesse, Kevin" userId="6f05423f-cf98-4c12-b626-169f8a1317c4" providerId="ADAL" clId="{89AB3C09-D008-1B4D-BA44-BC31799CCDBC}" dt="2025-08-14T06:14:17.583" v="10460" actId="404"/>
          <ac:spMkLst>
            <pc:docMk/>
            <pc:sldMk cId="153457374" sldId="314"/>
            <ac:spMk id="8" creationId="{1FB6CBCE-27C7-C74F-2AA2-B3F20F3622A6}"/>
          </ac:spMkLst>
        </pc:spChg>
        <pc:spChg chg="mod">
          <ac:chgData name="Jesse, Kevin" userId="6f05423f-cf98-4c12-b626-169f8a1317c4" providerId="ADAL" clId="{89AB3C09-D008-1B4D-BA44-BC31799CCDBC}" dt="2025-08-14T06:14:08.718" v="10453" actId="404"/>
          <ac:spMkLst>
            <pc:docMk/>
            <pc:sldMk cId="153457374" sldId="314"/>
            <ac:spMk id="9" creationId="{12361D76-66AC-32E0-F501-146DC864A15E}"/>
          </ac:spMkLst>
        </pc:spChg>
        <pc:spChg chg="add mod">
          <ac:chgData name="Jesse, Kevin" userId="6f05423f-cf98-4c12-b626-169f8a1317c4" providerId="ADAL" clId="{89AB3C09-D008-1B4D-BA44-BC31799CCDBC}" dt="2025-08-14T06:23:06.105" v="10808" actId="14100"/>
          <ac:spMkLst>
            <pc:docMk/>
            <pc:sldMk cId="153457374" sldId="314"/>
            <ac:spMk id="10" creationId="{D49D65A7-B1B0-A75F-1868-2D91C56AB096}"/>
          </ac:spMkLst>
        </pc:spChg>
        <pc:spChg chg="mod">
          <ac:chgData name="Jesse, Kevin" userId="6f05423f-cf98-4c12-b626-169f8a1317c4" providerId="ADAL" clId="{89AB3C09-D008-1B4D-BA44-BC31799CCDBC}" dt="2025-08-14T06:16:20.720" v="10552" actId="1076"/>
          <ac:spMkLst>
            <pc:docMk/>
            <pc:sldMk cId="153457374" sldId="314"/>
            <ac:spMk id="13" creationId="{1680CD95-B610-D269-7D09-AFEC9D464C41}"/>
          </ac:spMkLst>
        </pc:spChg>
        <pc:spChg chg="mod">
          <ac:chgData name="Jesse, Kevin" userId="6f05423f-cf98-4c12-b626-169f8a1317c4" providerId="ADAL" clId="{89AB3C09-D008-1B4D-BA44-BC31799CCDBC}" dt="2025-08-14T06:16:24.885" v="10553" actId="1076"/>
          <ac:spMkLst>
            <pc:docMk/>
            <pc:sldMk cId="153457374" sldId="314"/>
            <ac:spMk id="14" creationId="{A1DD21E4-6EB1-9BA6-51C2-38A68E2477B5}"/>
          </ac:spMkLst>
        </pc:spChg>
        <pc:spChg chg="mod">
          <ac:chgData name="Jesse, Kevin" userId="6f05423f-cf98-4c12-b626-169f8a1317c4" providerId="ADAL" clId="{89AB3C09-D008-1B4D-BA44-BC31799CCDBC}" dt="2025-08-14T06:15:39.585" v="10542" actId="1076"/>
          <ac:spMkLst>
            <pc:docMk/>
            <pc:sldMk cId="153457374" sldId="314"/>
            <ac:spMk id="17" creationId="{0AE584FC-23DE-FEDD-EDBA-2FEB34DF18A2}"/>
          </ac:spMkLst>
        </pc:spChg>
        <pc:spChg chg="mod">
          <ac:chgData name="Jesse, Kevin" userId="6f05423f-cf98-4c12-b626-169f8a1317c4" providerId="ADAL" clId="{89AB3C09-D008-1B4D-BA44-BC31799CCDBC}" dt="2025-08-14T06:15:42.134" v="10543" actId="1076"/>
          <ac:spMkLst>
            <pc:docMk/>
            <pc:sldMk cId="153457374" sldId="314"/>
            <ac:spMk id="18" creationId="{457CA956-2D98-A984-2F1E-CA63AD40730D}"/>
          </ac:spMkLst>
        </pc:spChg>
        <pc:spChg chg="add mod">
          <ac:chgData name="Jesse, Kevin" userId="6f05423f-cf98-4c12-b626-169f8a1317c4" providerId="ADAL" clId="{89AB3C09-D008-1B4D-BA44-BC31799CCDBC}" dt="2025-08-14T06:21:01.393" v="10745" actId="14100"/>
          <ac:spMkLst>
            <pc:docMk/>
            <pc:sldMk cId="153457374" sldId="314"/>
            <ac:spMk id="27" creationId="{3B2DFCDC-0B36-DFF6-447B-2758CBF015CF}"/>
          </ac:spMkLst>
        </pc:spChg>
        <pc:spChg chg="add mod">
          <ac:chgData name="Jesse, Kevin" userId="6f05423f-cf98-4c12-b626-169f8a1317c4" providerId="ADAL" clId="{89AB3C09-D008-1B4D-BA44-BC31799CCDBC}" dt="2025-08-14T06:21:13.065" v="10748" actId="1076"/>
          <ac:spMkLst>
            <pc:docMk/>
            <pc:sldMk cId="153457374" sldId="314"/>
            <ac:spMk id="28" creationId="{AFEE542F-A8A3-8722-4CDA-FB2584CAC347}"/>
          </ac:spMkLst>
        </pc:spChg>
        <pc:spChg chg="add mod">
          <ac:chgData name="Jesse, Kevin" userId="6f05423f-cf98-4c12-b626-169f8a1317c4" providerId="ADAL" clId="{89AB3C09-D008-1B4D-BA44-BC31799CCDBC}" dt="2025-08-14T06:21:25.341" v="10751" actId="207"/>
          <ac:spMkLst>
            <pc:docMk/>
            <pc:sldMk cId="153457374" sldId="314"/>
            <ac:spMk id="29" creationId="{3BA75FD5-F116-F316-DECF-1F84CE70143E}"/>
          </ac:spMkLst>
        </pc:spChg>
        <pc:spChg chg="add mod">
          <ac:chgData name="Jesse, Kevin" userId="6f05423f-cf98-4c12-b626-169f8a1317c4" providerId="ADAL" clId="{89AB3C09-D008-1B4D-BA44-BC31799CCDBC}" dt="2025-08-14T06:23:00.305" v="10806" actId="14100"/>
          <ac:spMkLst>
            <pc:docMk/>
            <pc:sldMk cId="153457374" sldId="314"/>
            <ac:spMk id="30" creationId="{52759A33-DE97-8875-1CE5-6AA403A082DB}"/>
          </ac:spMkLst>
        </pc:spChg>
        <pc:spChg chg="add mod">
          <ac:chgData name="Jesse, Kevin" userId="6f05423f-cf98-4c12-b626-169f8a1317c4" providerId="ADAL" clId="{89AB3C09-D008-1B4D-BA44-BC31799CCDBC}" dt="2025-08-14T06:22:58.726" v="10805" actId="14100"/>
          <ac:spMkLst>
            <pc:docMk/>
            <pc:sldMk cId="153457374" sldId="314"/>
            <ac:spMk id="31" creationId="{2725AD82-FBA9-86E8-D6D8-D1D0688EF145}"/>
          </ac:spMkLst>
        </pc:spChg>
        <pc:spChg chg="add mod">
          <ac:chgData name="Jesse, Kevin" userId="6f05423f-cf98-4c12-b626-169f8a1317c4" providerId="ADAL" clId="{89AB3C09-D008-1B4D-BA44-BC31799CCDBC}" dt="2025-08-14T06:22:56.685" v="10804" actId="14100"/>
          <ac:spMkLst>
            <pc:docMk/>
            <pc:sldMk cId="153457374" sldId="314"/>
            <ac:spMk id="32" creationId="{0FA4022A-0DD0-CC07-A9D4-4F2D556DDA2B}"/>
          </ac:spMkLst>
        </pc:spChg>
        <pc:spChg chg="add mod">
          <ac:chgData name="Jesse, Kevin" userId="6f05423f-cf98-4c12-b626-169f8a1317c4" providerId="ADAL" clId="{89AB3C09-D008-1B4D-BA44-BC31799CCDBC}" dt="2025-08-14T06:23:03.043" v="10807" actId="14100"/>
          <ac:spMkLst>
            <pc:docMk/>
            <pc:sldMk cId="153457374" sldId="314"/>
            <ac:spMk id="33" creationId="{BE76E266-3530-EBBA-DD7E-36BB93A98419}"/>
          </ac:spMkLst>
        </pc:spChg>
        <pc:spChg chg="add mod">
          <ac:chgData name="Jesse, Kevin" userId="6f05423f-cf98-4c12-b626-169f8a1317c4" providerId="ADAL" clId="{89AB3C09-D008-1B4D-BA44-BC31799CCDBC}" dt="2025-08-14T06:21:57.916" v="10757" actId="1076"/>
          <ac:spMkLst>
            <pc:docMk/>
            <pc:sldMk cId="153457374" sldId="314"/>
            <ac:spMk id="36" creationId="{4121E002-8DD3-A0AD-7599-B5444E6D9C0F}"/>
          </ac:spMkLst>
        </pc:spChg>
        <pc:spChg chg="add mod">
          <ac:chgData name="Jesse, Kevin" userId="6f05423f-cf98-4c12-b626-169f8a1317c4" providerId="ADAL" clId="{89AB3C09-D008-1B4D-BA44-BC31799CCDBC}" dt="2025-08-14T06:21:57.916" v="10757" actId="1076"/>
          <ac:spMkLst>
            <pc:docMk/>
            <pc:sldMk cId="153457374" sldId="314"/>
            <ac:spMk id="37" creationId="{0C22287E-CA76-18BC-1FC1-C07C44C7499E}"/>
          </ac:spMkLst>
        </pc:spChg>
        <pc:spChg chg="mod">
          <ac:chgData name="Jesse, Kevin" userId="6f05423f-cf98-4c12-b626-169f8a1317c4" providerId="ADAL" clId="{89AB3C09-D008-1B4D-BA44-BC31799CCDBC}" dt="2025-08-14T06:15:35.969" v="10541" actId="1076"/>
          <ac:spMkLst>
            <pc:docMk/>
            <pc:sldMk cId="153457374" sldId="314"/>
            <ac:spMk id="49" creationId="{60F3643B-971A-3657-F218-A026527AAEBB}"/>
          </ac:spMkLst>
        </pc:spChg>
        <pc:spChg chg="mod">
          <ac:chgData name="Jesse, Kevin" userId="6f05423f-cf98-4c12-b626-169f8a1317c4" providerId="ADAL" clId="{89AB3C09-D008-1B4D-BA44-BC31799CCDBC}" dt="2025-08-14T06:15:29.384" v="10539" actId="1076"/>
          <ac:spMkLst>
            <pc:docMk/>
            <pc:sldMk cId="153457374" sldId="314"/>
            <ac:spMk id="50" creationId="{8B2F1046-8E2F-EC84-311B-A17801C325B8}"/>
          </ac:spMkLst>
        </pc:spChg>
        <pc:spChg chg="mod">
          <ac:chgData name="Jesse, Kevin" userId="6f05423f-cf98-4c12-b626-169f8a1317c4" providerId="ADAL" clId="{89AB3C09-D008-1B4D-BA44-BC31799CCDBC}" dt="2025-08-14T06:16:38.445" v="10557" actId="1076"/>
          <ac:spMkLst>
            <pc:docMk/>
            <pc:sldMk cId="153457374" sldId="314"/>
            <ac:spMk id="51" creationId="{4D12B538-1143-515D-BA2F-C76E27B1F1A7}"/>
          </ac:spMkLst>
        </pc:spChg>
        <pc:spChg chg="mod">
          <ac:chgData name="Jesse, Kevin" userId="6f05423f-cf98-4c12-b626-169f8a1317c4" providerId="ADAL" clId="{89AB3C09-D008-1B4D-BA44-BC31799CCDBC}" dt="2025-08-14T06:15:44.431" v="10544" actId="1076"/>
          <ac:spMkLst>
            <pc:docMk/>
            <pc:sldMk cId="153457374" sldId="314"/>
            <ac:spMk id="52" creationId="{5CCDAAC8-BDD5-B41A-9381-90AB24FB5824}"/>
          </ac:spMkLst>
        </pc:spChg>
        <pc:spChg chg="mod">
          <ac:chgData name="Jesse, Kevin" userId="6f05423f-cf98-4c12-b626-169f8a1317c4" providerId="ADAL" clId="{89AB3C09-D008-1B4D-BA44-BC31799CCDBC}" dt="2025-08-14T06:15:52.904" v="10546" actId="1076"/>
          <ac:spMkLst>
            <pc:docMk/>
            <pc:sldMk cId="153457374" sldId="314"/>
            <ac:spMk id="53" creationId="{86FC40AE-9DB3-2C84-3E12-7D8D433A1CC3}"/>
          </ac:spMkLst>
        </pc:spChg>
        <pc:spChg chg="mod">
          <ac:chgData name="Jesse, Kevin" userId="6f05423f-cf98-4c12-b626-169f8a1317c4" providerId="ADAL" clId="{89AB3C09-D008-1B4D-BA44-BC31799CCDBC}" dt="2025-08-14T06:16:35.915" v="10556" actId="1076"/>
          <ac:spMkLst>
            <pc:docMk/>
            <pc:sldMk cId="153457374" sldId="314"/>
            <ac:spMk id="54" creationId="{67AB63A4-928A-EAA9-81D5-808EB42EB5B3}"/>
          </ac:spMkLst>
        </pc:spChg>
        <pc:spChg chg="add mod">
          <ac:chgData name="Jesse, Kevin" userId="6f05423f-cf98-4c12-b626-169f8a1317c4" providerId="ADAL" clId="{89AB3C09-D008-1B4D-BA44-BC31799CCDBC}" dt="2025-08-14T06:25:24.201" v="10930" actId="167"/>
          <ac:spMkLst>
            <pc:docMk/>
            <pc:sldMk cId="153457374" sldId="314"/>
            <ac:spMk id="76" creationId="{4F354338-0AA8-4666-9F57-4A811170D427}"/>
          </ac:spMkLst>
        </pc:spChg>
        <pc:spChg chg="add mod">
          <ac:chgData name="Jesse, Kevin" userId="6f05423f-cf98-4c12-b626-169f8a1317c4" providerId="ADAL" clId="{89AB3C09-D008-1B4D-BA44-BC31799CCDBC}" dt="2025-08-14T06:31:58.186" v="11197" actId="1076"/>
          <ac:spMkLst>
            <pc:docMk/>
            <pc:sldMk cId="153457374" sldId="314"/>
            <ac:spMk id="83" creationId="{E6F44383-2B29-3F4E-F73F-12CE35320E3F}"/>
          </ac:spMkLst>
        </pc:spChg>
        <pc:spChg chg="add mod">
          <ac:chgData name="Jesse, Kevin" userId="6f05423f-cf98-4c12-b626-169f8a1317c4" providerId="ADAL" clId="{89AB3C09-D008-1B4D-BA44-BC31799CCDBC}" dt="2025-08-14T06:33:53.825" v="11364" actId="14100"/>
          <ac:spMkLst>
            <pc:docMk/>
            <pc:sldMk cId="153457374" sldId="314"/>
            <ac:spMk id="84" creationId="{C82E9405-1FA4-44A4-D8E2-AD284EBDF4AF}"/>
          </ac:spMkLst>
        </pc:spChg>
        <pc:spChg chg="add mod">
          <ac:chgData name="Jesse, Kevin" userId="6f05423f-cf98-4c12-b626-169f8a1317c4" providerId="ADAL" clId="{89AB3C09-D008-1B4D-BA44-BC31799CCDBC}" dt="2025-08-14T06:33:34.136" v="11358" actId="14100"/>
          <ac:spMkLst>
            <pc:docMk/>
            <pc:sldMk cId="153457374" sldId="314"/>
            <ac:spMk id="85" creationId="{30F40626-1099-4FB3-8E6C-17B8401A5665}"/>
          </ac:spMkLst>
        </pc:spChg>
        <pc:grpChg chg="mod">
          <ac:chgData name="Jesse, Kevin" userId="6f05423f-cf98-4c12-b626-169f8a1317c4" providerId="ADAL" clId="{89AB3C09-D008-1B4D-BA44-BC31799CCDBC}" dt="2025-08-14T06:16:50.147" v="10558" actId="1076"/>
          <ac:grpSpMkLst>
            <pc:docMk/>
            <pc:sldMk cId="153457374" sldId="314"/>
            <ac:grpSpMk id="69" creationId="{B1936F73-3BDC-4F2A-ABAB-3F2B82957BB0}"/>
          </ac:grpSpMkLst>
        </pc:grpChg>
        <pc:cxnChg chg="mod">
          <ac:chgData name="Jesse, Kevin" userId="6f05423f-cf98-4c12-b626-169f8a1317c4" providerId="ADAL" clId="{89AB3C09-D008-1B4D-BA44-BC31799CCDBC}" dt="2025-08-14T06:16:33.071" v="10555" actId="1076"/>
          <ac:cxnSpMkLst>
            <pc:docMk/>
            <pc:sldMk cId="153457374" sldId="314"/>
            <ac:cxnSpMk id="35" creationId="{4524144E-0541-DA65-21D3-F8898CF49A1E}"/>
          </ac:cxnSpMkLst>
        </pc:cxnChg>
        <pc:cxnChg chg="add mod">
          <ac:chgData name="Jesse, Kevin" userId="6f05423f-cf98-4c12-b626-169f8a1317c4" providerId="ADAL" clId="{89AB3C09-D008-1B4D-BA44-BC31799CCDBC}" dt="2025-08-14T06:23:00.305" v="10806" actId="14100"/>
          <ac:cxnSpMkLst>
            <pc:docMk/>
            <pc:sldMk cId="153457374" sldId="314"/>
            <ac:cxnSpMk id="39" creationId="{532CE62D-32B0-EAA5-654C-D65A0F6DA1C1}"/>
          </ac:cxnSpMkLst>
        </pc:cxnChg>
        <pc:cxnChg chg="add mod">
          <ac:chgData name="Jesse, Kevin" userId="6f05423f-cf98-4c12-b626-169f8a1317c4" providerId="ADAL" clId="{89AB3C09-D008-1B4D-BA44-BC31799CCDBC}" dt="2025-08-14T06:22:58.726" v="10805" actId="14100"/>
          <ac:cxnSpMkLst>
            <pc:docMk/>
            <pc:sldMk cId="153457374" sldId="314"/>
            <ac:cxnSpMk id="41" creationId="{B2535264-60A2-CC3F-2D1C-F734A9FF3425}"/>
          </ac:cxnSpMkLst>
        </pc:cxnChg>
        <pc:cxnChg chg="mod">
          <ac:chgData name="Jesse, Kevin" userId="6f05423f-cf98-4c12-b626-169f8a1317c4" providerId="ADAL" clId="{89AB3C09-D008-1B4D-BA44-BC31799CCDBC}" dt="2025-08-14T06:16:05.806" v="10549" actId="1076"/>
          <ac:cxnSpMkLst>
            <pc:docMk/>
            <pc:sldMk cId="153457374" sldId="314"/>
            <ac:cxnSpMk id="45" creationId="{A8FFAA2A-9CF9-CC07-C834-FE202DDBB795}"/>
          </ac:cxnSpMkLst>
        </pc:cxnChg>
        <pc:cxnChg chg="add mod">
          <ac:chgData name="Jesse, Kevin" userId="6f05423f-cf98-4c12-b626-169f8a1317c4" providerId="ADAL" clId="{89AB3C09-D008-1B4D-BA44-BC31799CCDBC}" dt="2025-08-14T06:23:20.669" v="10810" actId="692"/>
          <ac:cxnSpMkLst>
            <pc:docMk/>
            <pc:sldMk cId="153457374" sldId="314"/>
            <ac:cxnSpMk id="47" creationId="{2653B59E-FE73-F7CC-285F-CDE444BA5DE9}"/>
          </ac:cxnSpMkLst>
        </pc:cxnChg>
        <pc:cxnChg chg="add mod">
          <ac:chgData name="Jesse, Kevin" userId="6f05423f-cf98-4c12-b626-169f8a1317c4" providerId="ADAL" clId="{89AB3C09-D008-1B4D-BA44-BC31799CCDBC}" dt="2025-08-14T06:24:13.989" v="10816" actId="692"/>
          <ac:cxnSpMkLst>
            <pc:docMk/>
            <pc:sldMk cId="153457374" sldId="314"/>
            <ac:cxnSpMk id="71" creationId="{5808F961-2715-3D85-1E8F-BA45A0B597C8}"/>
          </ac:cxnSpMkLst>
        </pc:cxnChg>
        <pc:cxnChg chg="add mod">
          <ac:chgData name="Jesse, Kevin" userId="6f05423f-cf98-4c12-b626-169f8a1317c4" providerId="ADAL" clId="{89AB3C09-D008-1B4D-BA44-BC31799CCDBC}" dt="2025-08-14T06:24:38.539" v="10818" actId="692"/>
          <ac:cxnSpMkLst>
            <pc:docMk/>
            <pc:sldMk cId="153457374" sldId="314"/>
            <ac:cxnSpMk id="73" creationId="{5ADDE42D-EB37-88C2-6538-331C85F730D8}"/>
          </ac:cxnSpMkLst>
        </pc:cxnChg>
        <pc:cxnChg chg="add mod">
          <ac:chgData name="Jesse, Kevin" userId="6f05423f-cf98-4c12-b626-169f8a1317c4" providerId="ADAL" clId="{89AB3C09-D008-1B4D-BA44-BC31799CCDBC}" dt="2025-08-14T06:24:50.187" v="10820" actId="692"/>
          <ac:cxnSpMkLst>
            <pc:docMk/>
            <pc:sldMk cId="153457374" sldId="314"/>
            <ac:cxnSpMk id="75" creationId="{5F31DB75-57CB-6AF7-42F1-66C0A9ABE449}"/>
          </ac:cxnSpMkLst>
        </pc:cxnChg>
        <pc:cxnChg chg="add mod">
          <ac:chgData name="Jesse, Kevin" userId="6f05423f-cf98-4c12-b626-169f8a1317c4" providerId="ADAL" clId="{89AB3C09-D008-1B4D-BA44-BC31799CCDBC}" dt="2025-08-14T06:25:43.950" v="10932" actId="692"/>
          <ac:cxnSpMkLst>
            <pc:docMk/>
            <pc:sldMk cId="153457374" sldId="314"/>
            <ac:cxnSpMk id="78" creationId="{AC13BD48-5CDD-15A7-44AB-05751B459089}"/>
          </ac:cxnSpMkLst>
        </pc:cxnChg>
        <pc:cxnChg chg="add mod">
          <ac:chgData name="Jesse, Kevin" userId="6f05423f-cf98-4c12-b626-169f8a1317c4" providerId="ADAL" clId="{89AB3C09-D008-1B4D-BA44-BC31799CCDBC}" dt="2025-08-14T06:25:55.301" v="10934" actId="692"/>
          <ac:cxnSpMkLst>
            <pc:docMk/>
            <pc:sldMk cId="153457374" sldId="314"/>
            <ac:cxnSpMk id="80" creationId="{963482ED-625D-0DFF-4C79-B40397338EA4}"/>
          </ac:cxnSpMkLst>
        </pc:cxnChg>
        <pc:cxnChg chg="add mod">
          <ac:chgData name="Jesse, Kevin" userId="6f05423f-cf98-4c12-b626-169f8a1317c4" providerId="ADAL" clId="{89AB3C09-D008-1B4D-BA44-BC31799CCDBC}" dt="2025-08-14T06:26:35.361" v="10936" actId="692"/>
          <ac:cxnSpMkLst>
            <pc:docMk/>
            <pc:sldMk cId="153457374" sldId="314"/>
            <ac:cxnSpMk id="82" creationId="{29010BCE-8523-02BF-EED9-8CA99253F313}"/>
          </ac:cxnSpMkLst>
        </pc:cxnChg>
      </pc:sldChg>
      <pc:sldChg chg="new del">
        <pc:chgData name="Jesse, Kevin" userId="6f05423f-cf98-4c12-b626-169f8a1317c4" providerId="ADAL" clId="{89AB3C09-D008-1B4D-BA44-BC31799CCDBC}" dt="2025-08-14T13:03:56.723" v="12576" actId="2696"/>
        <pc:sldMkLst>
          <pc:docMk/>
          <pc:sldMk cId="2833770368" sldId="315"/>
        </pc:sldMkLst>
      </pc:sldChg>
      <pc:sldChg chg="addSp delSp modSp new mod modClrScheme chgLayout">
        <pc:chgData name="Jesse, Kevin" userId="6f05423f-cf98-4c12-b626-169f8a1317c4" providerId="ADAL" clId="{89AB3C09-D008-1B4D-BA44-BC31799CCDBC}" dt="2025-08-14T13:42:51.695" v="13804" actId="700"/>
        <pc:sldMkLst>
          <pc:docMk/>
          <pc:sldMk cId="2855697922" sldId="315"/>
        </pc:sldMkLst>
        <pc:spChg chg="add mod ord">
          <ac:chgData name="Jesse, Kevin" userId="6f05423f-cf98-4c12-b626-169f8a1317c4" providerId="ADAL" clId="{89AB3C09-D008-1B4D-BA44-BC31799CCDBC}" dt="2025-08-14T13:42:51.695" v="13804" actId="700"/>
          <ac:spMkLst>
            <pc:docMk/>
            <pc:sldMk cId="2855697922" sldId="315"/>
            <ac:spMk id="4" creationId="{42158EDA-6B78-2D37-86F1-A788ABDB241E}"/>
          </ac:spMkLst>
        </pc:spChg>
        <pc:spChg chg="add mod ord">
          <ac:chgData name="Jesse, Kevin" userId="6f05423f-cf98-4c12-b626-169f8a1317c4" providerId="ADAL" clId="{89AB3C09-D008-1B4D-BA44-BC31799CCDBC}" dt="2025-08-14T13:42:51.695" v="13804" actId="700"/>
          <ac:spMkLst>
            <pc:docMk/>
            <pc:sldMk cId="2855697922" sldId="315"/>
            <ac:spMk id="5" creationId="{A5D3873D-7C36-FBF9-1421-79056AB653FB}"/>
          </ac:spMkLst>
        </pc:spChg>
      </pc:sldChg>
      <pc:sldChg chg="modSp new mod">
        <pc:chgData name="Jesse, Kevin" userId="6f05423f-cf98-4c12-b626-169f8a1317c4" providerId="ADAL" clId="{89AB3C09-D008-1B4D-BA44-BC31799CCDBC}" dt="2025-08-14T14:05:51.195" v="14073" actId="20577"/>
        <pc:sldMkLst>
          <pc:docMk/>
          <pc:sldMk cId="158939405" sldId="316"/>
        </pc:sldMkLst>
        <pc:spChg chg="mod">
          <ac:chgData name="Jesse, Kevin" userId="6f05423f-cf98-4c12-b626-169f8a1317c4" providerId="ADAL" clId="{89AB3C09-D008-1B4D-BA44-BC31799CCDBC}" dt="2025-08-14T13:03:29.835" v="12477" actId="20577"/>
          <ac:spMkLst>
            <pc:docMk/>
            <pc:sldMk cId="158939405" sldId="316"/>
            <ac:spMk id="2" creationId="{82EC0D99-ACAE-BF4C-C7DD-BF1064455C97}"/>
          </ac:spMkLst>
        </pc:spChg>
        <pc:spChg chg="mod">
          <ac:chgData name="Jesse, Kevin" userId="6f05423f-cf98-4c12-b626-169f8a1317c4" providerId="ADAL" clId="{89AB3C09-D008-1B4D-BA44-BC31799CCDBC}" dt="2025-08-14T14:05:51.195" v="14073" actId="20577"/>
          <ac:spMkLst>
            <pc:docMk/>
            <pc:sldMk cId="158939405" sldId="316"/>
            <ac:spMk id="3" creationId="{08ACE64F-800F-7BCE-630E-FF7AD488B743}"/>
          </ac:spMkLst>
        </pc:spChg>
      </pc:sldChg>
      <pc:sldChg chg="addSp modSp new mod ord">
        <pc:chgData name="Jesse, Kevin" userId="6f05423f-cf98-4c12-b626-169f8a1317c4" providerId="ADAL" clId="{89AB3C09-D008-1B4D-BA44-BC31799CCDBC}" dt="2025-08-14T14:04:41.731" v="13934" actId="20577"/>
        <pc:sldMkLst>
          <pc:docMk/>
          <pc:sldMk cId="2145421352" sldId="317"/>
        </pc:sldMkLst>
        <pc:spChg chg="mod">
          <ac:chgData name="Jesse, Kevin" userId="6f05423f-cf98-4c12-b626-169f8a1317c4" providerId="ADAL" clId="{89AB3C09-D008-1B4D-BA44-BC31799CCDBC}" dt="2025-08-14T13:05:18.217" v="12629" actId="20577"/>
          <ac:spMkLst>
            <pc:docMk/>
            <pc:sldMk cId="2145421352" sldId="317"/>
            <ac:spMk id="2" creationId="{972A32A6-0436-8962-2FB6-C0FBDE2159D3}"/>
          </ac:spMkLst>
        </pc:spChg>
        <pc:spChg chg="mod">
          <ac:chgData name="Jesse, Kevin" userId="6f05423f-cf98-4c12-b626-169f8a1317c4" providerId="ADAL" clId="{89AB3C09-D008-1B4D-BA44-BC31799CCDBC}" dt="2025-08-14T14:04:41.731" v="13934" actId="20577"/>
          <ac:spMkLst>
            <pc:docMk/>
            <pc:sldMk cId="2145421352" sldId="317"/>
            <ac:spMk id="3" creationId="{79513B0D-D86F-D796-7ACE-7E4928B77938}"/>
          </ac:spMkLst>
        </pc:spChg>
        <pc:spChg chg="add mod">
          <ac:chgData name="Jesse, Kevin" userId="6f05423f-cf98-4c12-b626-169f8a1317c4" providerId="ADAL" clId="{89AB3C09-D008-1B4D-BA44-BC31799CCDBC}" dt="2025-08-14T13:08:50.726" v="13274" actId="1076"/>
          <ac:spMkLst>
            <pc:docMk/>
            <pc:sldMk cId="2145421352" sldId="317"/>
            <ac:spMk id="4" creationId="{AFB6E7A0-2DDF-FE94-AE62-A71152BF3360}"/>
          </ac:spMkLst>
        </pc:spChg>
      </pc:sldChg>
      <pc:sldChg chg="addSp delSp modSp add mod ord">
        <pc:chgData name="Jesse, Kevin" userId="6f05423f-cf98-4c12-b626-169f8a1317c4" providerId="ADAL" clId="{89AB3C09-D008-1B4D-BA44-BC31799CCDBC}" dt="2025-08-14T14:04:28.099" v="13907" actId="20578"/>
        <pc:sldMkLst>
          <pc:docMk/>
          <pc:sldMk cId="1899318373" sldId="318"/>
        </pc:sldMkLst>
        <pc:spChg chg="mod">
          <ac:chgData name="Jesse, Kevin" userId="6f05423f-cf98-4c12-b626-169f8a1317c4" providerId="ADAL" clId="{89AB3C09-D008-1B4D-BA44-BC31799CCDBC}" dt="2025-08-14T13:14:41.824" v="13782" actId="20577"/>
          <ac:spMkLst>
            <pc:docMk/>
            <pc:sldMk cId="1899318373" sldId="318"/>
            <ac:spMk id="3" creationId="{C1A1A2B6-83BF-8141-F7E0-30249F7958C0}"/>
          </ac:spMkLst>
        </pc:spChg>
        <pc:spChg chg="mod">
          <ac:chgData name="Jesse, Kevin" userId="6f05423f-cf98-4c12-b626-169f8a1317c4" providerId="ADAL" clId="{89AB3C09-D008-1B4D-BA44-BC31799CCDBC}" dt="2025-08-14T13:45:19.455" v="13905" actId="1076"/>
          <ac:spMkLst>
            <pc:docMk/>
            <pc:sldMk cId="1899318373" sldId="318"/>
            <ac:spMk id="4" creationId="{1D70E345-B9B9-5E9C-CECC-F1AE6FF0AA97}"/>
          </ac:spMkLst>
        </pc:spChg>
        <pc:picChg chg="add mod">
          <ac:chgData name="Jesse, Kevin" userId="6f05423f-cf98-4c12-b626-169f8a1317c4" providerId="ADAL" clId="{89AB3C09-D008-1B4D-BA44-BC31799CCDBC}" dt="2025-08-14T13:44:36.745" v="13897" actId="1076"/>
          <ac:picMkLst>
            <pc:docMk/>
            <pc:sldMk cId="1899318373" sldId="318"/>
            <ac:picMk id="6" creationId="{25D8F706-8E06-D722-3555-4BBD0CEC3BF6}"/>
          </ac:picMkLst>
        </pc:picChg>
        <pc:picChg chg="add mod modCrop">
          <ac:chgData name="Jesse, Kevin" userId="6f05423f-cf98-4c12-b626-169f8a1317c4" providerId="ADAL" clId="{89AB3C09-D008-1B4D-BA44-BC31799CCDBC}" dt="2025-08-14T13:14:33.970" v="13780" actId="1076"/>
          <ac:picMkLst>
            <pc:docMk/>
            <pc:sldMk cId="1899318373" sldId="318"/>
            <ac:picMk id="8" creationId="{56C5CA37-6827-1D08-9C50-4FE97B25498C}"/>
          </ac:picMkLst>
        </pc:picChg>
      </pc:sldChg>
      <pc:sldChg chg="modSp new mod">
        <pc:chgData name="Jesse, Kevin" userId="6f05423f-cf98-4c12-b626-169f8a1317c4" providerId="ADAL" clId="{89AB3C09-D008-1B4D-BA44-BC31799CCDBC}" dt="2025-08-14T13:15:12.687" v="13803" actId="20577"/>
        <pc:sldMkLst>
          <pc:docMk/>
          <pc:sldMk cId="1852302539" sldId="319"/>
        </pc:sldMkLst>
        <pc:spChg chg="mod">
          <ac:chgData name="Jesse, Kevin" userId="6f05423f-cf98-4c12-b626-169f8a1317c4" providerId="ADAL" clId="{89AB3C09-D008-1B4D-BA44-BC31799CCDBC}" dt="2025-08-14T13:15:12.687" v="13803" actId="20577"/>
          <ac:spMkLst>
            <pc:docMk/>
            <pc:sldMk cId="1852302539" sldId="319"/>
            <ac:spMk id="2" creationId="{40465AC2-DD45-7C2D-6BA0-AA732E27D9A3}"/>
          </ac:spMkLst>
        </pc:spChg>
      </pc:sldChg>
      <pc:sldChg chg="modSp mod">
        <pc:chgData name="Jesse, Kevin" userId="6f05423f-cf98-4c12-b626-169f8a1317c4" providerId="ADAL" clId="{89AB3C09-D008-1B4D-BA44-BC31799CCDBC}" dt="2025-08-16T03:06:57.791" v="14086" actId="207"/>
        <pc:sldMkLst>
          <pc:docMk/>
          <pc:sldMk cId="3186540524" sldId="2147483634"/>
        </pc:sldMkLst>
        <pc:spChg chg="mod">
          <ac:chgData name="Jesse, Kevin" userId="6f05423f-cf98-4c12-b626-169f8a1317c4" providerId="ADAL" clId="{89AB3C09-D008-1B4D-BA44-BC31799CCDBC}" dt="2025-08-16T03:06:57.791" v="14086" actId="207"/>
          <ac:spMkLst>
            <pc:docMk/>
            <pc:sldMk cId="3186540524" sldId="2147483634"/>
            <ac:spMk id="16" creationId="{67F2ADDA-766D-92F6-7637-ADFC30BD37EE}"/>
          </ac:spMkLst>
        </pc:spChg>
        <pc:spChg chg="mod">
          <ac:chgData name="Jesse, Kevin" userId="6f05423f-cf98-4c12-b626-169f8a1317c4" providerId="ADAL" clId="{89AB3C09-D008-1B4D-BA44-BC31799CCDBC}" dt="2025-08-16T03:00:12.468" v="14084" actId="1076"/>
          <ac:spMkLst>
            <pc:docMk/>
            <pc:sldMk cId="3186540524" sldId="2147483634"/>
            <ac:spMk id="23" creationId="{C467FB27-CF84-429E-4915-7B19E5D123EA}"/>
          </ac:spMkLst>
        </pc:spChg>
      </pc:sldChg>
      <pc:sldChg chg="modNotesTx">
        <pc:chgData name="Jesse, Kevin" userId="6f05423f-cf98-4c12-b626-169f8a1317c4" providerId="ADAL" clId="{89AB3C09-D008-1B4D-BA44-BC31799CCDBC}" dt="2025-08-19T15:19:43.220" v="14205" actId="20577"/>
        <pc:sldMkLst>
          <pc:docMk/>
          <pc:sldMk cId="1828713913" sldId="2147483644"/>
        </pc:sldMkLst>
      </pc:sldChg>
    </pc:docChg>
  </pc:docChgLst>
  <pc:docChgLst>
    <pc:chgData name="Jesse, Kevin" userId="S::kevin.jesse@accenture.com::6f05423f-cf98-4c12-b626-169f8a1317c4" providerId="AD" clId="Web-{9476AC93-989C-8D43-0B6F-748D82FF4875}"/>
    <pc:docChg chg="addSld modSld sldOrd modSection">
      <pc:chgData name="Jesse, Kevin" userId="S::kevin.jesse@accenture.com::6f05423f-cf98-4c12-b626-169f8a1317c4" providerId="AD" clId="Web-{9476AC93-989C-8D43-0B6F-748D82FF4875}" dt="2025-06-05T01:26:24.232" v="36"/>
      <pc:docMkLst>
        <pc:docMk/>
      </pc:docMkLst>
      <pc:sldChg chg="ord">
        <pc:chgData name="Jesse, Kevin" userId="S::kevin.jesse@accenture.com::6f05423f-cf98-4c12-b626-169f8a1317c4" providerId="AD" clId="Web-{9476AC93-989C-8D43-0B6F-748D82FF4875}" dt="2025-06-05T01:26:24.232" v="36"/>
        <pc:sldMkLst>
          <pc:docMk/>
          <pc:sldMk cId="623885124" sldId="274"/>
        </pc:sldMkLst>
      </pc:sldChg>
      <pc:sldChg chg="modSp add replId">
        <pc:chgData name="Jesse, Kevin" userId="S::kevin.jesse@accenture.com::6f05423f-cf98-4c12-b626-169f8a1317c4" providerId="AD" clId="Web-{9476AC93-989C-8D43-0B6F-748D82FF4875}" dt="2025-06-05T01:26:13.841" v="35" actId="20577"/>
        <pc:sldMkLst>
          <pc:docMk/>
          <pc:sldMk cId="4040916811" sldId="286"/>
        </pc:sldMkLst>
      </pc:sldChg>
    </pc:docChg>
  </pc:docChgLst>
  <pc:docChgLst>
    <pc:chgData name="Nomeli, Mo" userId="03501b65-0e27-4b56-8c1f-6f5a4f41fafa" providerId="ADAL" clId="{9FADF72D-A898-518F-828F-25536BDA367F}"/>
    <pc:docChg chg="undo redo custSel addSld delSld modSld sldOrd modSection">
      <pc:chgData name="Nomeli, Mo" userId="03501b65-0e27-4b56-8c1f-6f5a4f41fafa" providerId="ADAL" clId="{9FADF72D-A898-518F-828F-25536BDA367F}" dt="2025-08-21T20:59:38.908" v="1121"/>
      <pc:docMkLst>
        <pc:docMk/>
      </pc:docMkLst>
      <pc:sldChg chg="mod modShow">
        <pc:chgData name="Nomeli, Mo" userId="03501b65-0e27-4b56-8c1f-6f5a4f41fafa" providerId="ADAL" clId="{9FADF72D-A898-518F-828F-25536BDA367F}" dt="2025-08-21T20:28:42.993" v="1089" actId="729"/>
        <pc:sldMkLst>
          <pc:docMk/>
          <pc:sldMk cId="3316056398" sldId="256"/>
        </pc:sldMkLst>
      </pc:sldChg>
      <pc:sldChg chg="del">
        <pc:chgData name="Nomeli, Mo" userId="03501b65-0e27-4b56-8c1f-6f5a4f41fafa" providerId="ADAL" clId="{9FADF72D-A898-518F-828F-25536BDA367F}" dt="2025-08-21T20:53:10.232" v="1105" actId="2696"/>
        <pc:sldMkLst>
          <pc:docMk/>
          <pc:sldMk cId="1680333029" sldId="258"/>
        </pc:sldMkLst>
      </pc:sldChg>
      <pc:sldChg chg="add">
        <pc:chgData name="Nomeli, Mo" userId="03501b65-0e27-4b56-8c1f-6f5a4f41fafa" providerId="ADAL" clId="{9FADF72D-A898-518F-828F-25536BDA367F}" dt="2025-08-21T20:53:22.398" v="1106"/>
        <pc:sldMkLst>
          <pc:docMk/>
          <pc:sldMk cId="2094974919" sldId="258"/>
        </pc:sldMkLst>
      </pc:sldChg>
      <pc:sldChg chg="mod modShow">
        <pc:chgData name="Nomeli, Mo" userId="03501b65-0e27-4b56-8c1f-6f5a4f41fafa" providerId="ADAL" clId="{9FADF72D-A898-518F-828F-25536BDA367F}" dt="2025-08-21T20:50:12.017" v="1102" actId="729"/>
        <pc:sldMkLst>
          <pc:docMk/>
          <pc:sldMk cId="2033996445" sldId="259"/>
        </pc:sldMkLst>
      </pc:sldChg>
      <pc:sldChg chg="mod modShow">
        <pc:chgData name="Nomeli, Mo" userId="03501b65-0e27-4b56-8c1f-6f5a4f41fafa" providerId="ADAL" clId="{9FADF72D-A898-518F-828F-25536BDA367F}" dt="2025-08-21T20:50:12.017" v="1102" actId="729"/>
        <pc:sldMkLst>
          <pc:docMk/>
          <pc:sldMk cId="1029316185" sldId="260"/>
        </pc:sldMkLst>
      </pc:sldChg>
      <pc:sldChg chg="del">
        <pc:chgData name="Nomeli, Mo" userId="03501b65-0e27-4b56-8c1f-6f5a4f41fafa" providerId="ADAL" clId="{9FADF72D-A898-518F-828F-25536BDA367F}" dt="2025-08-21T20:53:55.806" v="1107" actId="2696"/>
        <pc:sldMkLst>
          <pc:docMk/>
          <pc:sldMk cId="1842577440" sldId="261"/>
        </pc:sldMkLst>
      </pc:sldChg>
      <pc:sldChg chg="add">
        <pc:chgData name="Nomeli, Mo" userId="03501b65-0e27-4b56-8c1f-6f5a4f41fafa" providerId="ADAL" clId="{9FADF72D-A898-518F-828F-25536BDA367F}" dt="2025-08-21T20:54:02.773" v="1108"/>
        <pc:sldMkLst>
          <pc:docMk/>
          <pc:sldMk cId="3500597475" sldId="261"/>
        </pc:sldMkLst>
      </pc:sldChg>
      <pc:sldChg chg="add">
        <pc:chgData name="Nomeli, Mo" userId="03501b65-0e27-4b56-8c1f-6f5a4f41fafa" providerId="ADAL" clId="{9FADF72D-A898-518F-828F-25536BDA367F}" dt="2025-08-21T20:54:02.773" v="1108"/>
        <pc:sldMkLst>
          <pc:docMk/>
          <pc:sldMk cId="1663756939" sldId="262"/>
        </pc:sldMkLst>
      </pc:sldChg>
      <pc:sldChg chg="del">
        <pc:chgData name="Nomeli, Mo" userId="03501b65-0e27-4b56-8c1f-6f5a4f41fafa" providerId="ADAL" clId="{9FADF72D-A898-518F-828F-25536BDA367F}" dt="2025-08-21T20:53:55.806" v="1107" actId="2696"/>
        <pc:sldMkLst>
          <pc:docMk/>
          <pc:sldMk cId="3723191733" sldId="262"/>
        </pc:sldMkLst>
      </pc:sldChg>
      <pc:sldChg chg="mod modShow">
        <pc:chgData name="Nomeli, Mo" userId="03501b65-0e27-4b56-8c1f-6f5a4f41fafa" providerId="ADAL" clId="{9FADF72D-A898-518F-828F-25536BDA367F}" dt="2025-08-21T20:42:40.413" v="1097" actId="729"/>
        <pc:sldMkLst>
          <pc:docMk/>
          <pc:sldMk cId="1666422679" sldId="263"/>
        </pc:sldMkLst>
      </pc:sldChg>
      <pc:sldChg chg="mod modShow">
        <pc:chgData name="Nomeli, Mo" userId="03501b65-0e27-4b56-8c1f-6f5a4f41fafa" providerId="ADAL" clId="{9FADF72D-A898-518F-828F-25536BDA367F}" dt="2025-08-21T20:43:27.881" v="1098" actId="729"/>
        <pc:sldMkLst>
          <pc:docMk/>
          <pc:sldMk cId="2768373521" sldId="264"/>
        </pc:sldMkLst>
      </pc:sldChg>
      <pc:sldChg chg="mod modShow">
        <pc:chgData name="Nomeli, Mo" userId="03501b65-0e27-4b56-8c1f-6f5a4f41fafa" providerId="ADAL" clId="{9FADF72D-A898-518F-828F-25536BDA367F}" dt="2025-08-21T20:46:14.632" v="1099" actId="729"/>
        <pc:sldMkLst>
          <pc:docMk/>
          <pc:sldMk cId="3150348605" sldId="265"/>
        </pc:sldMkLst>
      </pc:sldChg>
      <pc:sldChg chg="mod modShow">
        <pc:chgData name="Nomeli, Mo" userId="03501b65-0e27-4b56-8c1f-6f5a4f41fafa" providerId="ADAL" clId="{9FADF72D-A898-518F-828F-25536BDA367F}" dt="2025-08-21T20:46:14.632" v="1099" actId="729"/>
        <pc:sldMkLst>
          <pc:docMk/>
          <pc:sldMk cId="508697803" sldId="266"/>
        </pc:sldMkLst>
      </pc:sldChg>
      <pc:sldChg chg="mod modShow">
        <pc:chgData name="Nomeli, Mo" userId="03501b65-0e27-4b56-8c1f-6f5a4f41fafa" providerId="ADAL" clId="{9FADF72D-A898-518F-828F-25536BDA367F}" dt="2025-08-21T20:50:12.017" v="1102" actId="729"/>
        <pc:sldMkLst>
          <pc:docMk/>
          <pc:sldMk cId="512901361" sldId="267"/>
        </pc:sldMkLst>
      </pc:sldChg>
      <pc:sldChg chg="mod modShow">
        <pc:chgData name="Nomeli, Mo" userId="03501b65-0e27-4b56-8c1f-6f5a4f41fafa" providerId="ADAL" clId="{9FADF72D-A898-518F-828F-25536BDA367F}" dt="2025-08-21T20:50:12.017" v="1102" actId="729"/>
        <pc:sldMkLst>
          <pc:docMk/>
          <pc:sldMk cId="498975820" sldId="268"/>
        </pc:sldMkLst>
      </pc:sldChg>
      <pc:sldChg chg="mod modShow">
        <pc:chgData name="Nomeli, Mo" userId="03501b65-0e27-4b56-8c1f-6f5a4f41fafa" providerId="ADAL" clId="{9FADF72D-A898-518F-828F-25536BDA367F}" dt="2025-08-21T20:50:12.017" v="1102" actId="729"/>
        <pc:sldMkLst>
          <pc:docMk/>
          <pc:sldMk cId="3773639313" sldId="269"/>
        </pc:sldMkLst>
      </pc:sldChg>
      <pc:sldChg chg="mod modShow">
        <pc:chgData name="Nomeli, Mo" userId="03501b65-0e27-4b56-8c1f-6f5a4f41fafa" providerId="ADAL" clId="{9FADF72D-A898-518F-828F-25536BDA367F}" dt="2025-08-21T20:50:12.017" v="1102" actId="729"/>
        <pc:sldMkLst>
          <pc:docMk/>
          <pc:sldMk cId="1488655906" sldId="270"/>
        </pc:sldMkLst>
      </pc:sldChg>
      <pc:sldChg chg="add">
        <pc:chgData name="Nomeli, Mo" userId="03501b65-0e27-4b56-8c1f-6f5a4f41fafa" providerId="ADAL" clId="{9FADF72D-A898-518F-828F-25536BDA367F}" dt="2025-08-21T20:57:37.218" v="1118"/>
        <pc:sldMkLst>
          <pc:docMk/>
          <pc:sldMk cId="831973174" sldId="271"/>
        </pc:sldMkLst>
      </pc:sldChg>
      <pc:sldChg chg="add del">
        <pc:chgData name="Nomeli, Mo" userId="03501b65-0e27-4b56-8c1f-6f5a4f41fafa" providerId="ADAL" clId="{9FADF72D-A898-518F-828F-25536BDA367F}" dt="2025-08-21T20:57:28.565" v="1117" actId="2696"/>
        <pc:sldMkLst>
          <pc:docMk/>
          <pc:sldMk cId="1384327413" sldId="271"/>
        </pc:sldMkLst>
      </pc:sldChg>
      <pc:sldChg chg="add del">
        <pc:chgData name="Nomeli, Mo" userId="03501b65-0e27-4b56-8c1f-6f5a4f41fafa" providerId="ADAL" clId="{9FADF72D-A898-518F-828F-25536BDA367F}" dt="2025-08-21T20:56:42.175" v="1115"/>
        <pc:sldMkLst>
          <pc:docMk/>
          <pc:sldMk cId="2187284833" sldId="271"/>
        </pc:sldMkLst>
      </pc:sldChg>
      <pc:sldChg chg="del">
        <pc:chgData name="Nomeli, Mo" userId="03501b65-0e27-4b56-8c1f-6f5a4f41fafa" providerId="ADAL" clId="{9FADF72D-A898-518F-828F-25536BDA367F}" dt="2025-08-21T20:55:59.182" v="1111" actId="2696"/>
        <pc:sldMkLst>
          <pc:docMk/>
          <pc:sldMk cId="4070023767" sldId="271"/>
        </pc:sldMkLst>
      </pc:sldChg>
      <pc:sldChg chg="mod modShow">
        <pc:chgData name="Nomeli, Mo" userId="03501b65-0e27-4b56-8c1f-6f5a4f41fafa" providerId="ADAL" clId="{9FADF72D-A898-518F-828F-25536BDA367F}" dt="2025-08-21T20:50:12.017" v="1102" actId="729"/>
        <pc:sldMkLst>
          <pc:docMk/>
          <pc:sldMk cId="3453381404" sldId="272"/>
        </pc:sldMkLst>
      </pc:sldChg>
      <pc:sldChg chg="mod modShow">
        <pc:chgData name="Nomeli, Mo" userId="03501b65-0e27-4b56-8c1f-6f5a4f41fafa" providerId="ADAL" clId="{9FADF72D-A898-518F-828F-25536BDA367F}" dt="2025-08-21T20:50:12.017" v="1102" actId="729"/>
        <pc:sldMkLst>
          <pc:docMk/>
          <pc:sldMk cId="1109540436" sldId="273"/>
        </pc:sldMkLst>
      </pc:sldChg>
      <pc:sldChg chg="mod modShow">
        <pc:chgData name="Nomeli, Mo" userId="03501b65-0e27-4b56-8c1f-6f5a4f41fafa" providerId="ADAL" clId="{9FADF72D-A898-518F-828F-25536BDA367F}" dt="2025-08-21T20:48:56.664" v="1100" actId="729"/>
        <pc:sldMkLst>
          <pc:docMk/>
          <pc:sldMk cId="623885124" sldId="274"/>
        </pc:sldMkLst>
      </pc:sldChg>
      <pc:sldChg chg="mod modShow">
        <pc:chgData name="Nomeli, Mo" userId="03501b65-0e27-4b56-8c1f-6f5a4f41fafa" providerId="ADAL" clId="{9FADF72D-A898-518F-828F-25536BDA367F}" dt="2025-08-21T20:46:14.632" v="1099" actId="729"/>
        <pc:sldMkLst>
          <pc:docMk/>
          <pc:sldMk cId="1487494725" sldId="275"/>
        </pc:sldMkLst>
      </pc:sldChg>
      <pc:sldChg chg="mod modShow">
        <pc:chgData name="Nomeli, Mo" userId="03501b65-0e27-4b56-8c1f-6f5a4f41fafa" providerId="ADAL" clId="{9FADF72D-A898-518F-828F-25536BDA367F}" dt="2025-08-21T20:53:06.733" v="1104" actId="729"/>
        <pc:sldMkLst>
          <pc:docMk/>
          <pc:sldMk cId="1884301532" sldId="276"/>
        </pc:sldMkLst>
      </pc:sldChg>
      <pc:sldChg chg="mod modShow">
        <pc:chgData name="Nomeli, Mo" userId="03501b65-0e27-4b56-8c1f-6f5a4f41fafa" providerId="ADAL" clId="{9FADF72D-A898-518F-828F-25536BDA367F}" dt="2025-08-21T20:50:12.017" v="1102" actId="729"/>
        <pc:sldMkLst>
          <pc:docMk/>
          <pc:sldMk cId="928141952" sldId="277"/>
        </pc:sldMkLst>
      </pc:sldChg>
      <pc:sldChg chg="mod modShow">
        <pc:chgData name="Nomeli, Mo" userId="03501b65-0e27-4b56-8c1f-6f5a4f41fafa" providerId="ADAL" clId="{9FADF72D-A898-518F-828F-25536BDA367F}" dt="2025-08-21T20:50:12.017" v="1102" actId="729"/>
        <pc:sldMkLst>
          <pc:docMk/>
          <pc:sldMk cId="2596061825" sldId="278"/>
        </pc:sldMkLst>
      </pc:sldChg>
      <pc:sldChg chg="mod modShow">
        <pc:chgData name="Nomeli, Mo" userId="03501b65-0e27-4b56-8c1f-6f5a4f41fafa" providerId="ADAL" clId="{9FADF72D-A898-518F-828F-25536BDA367F}" dt="2025-08-21T20:50:12.017" v="1102" actId="729"/>
        <pc:sldMkLst>
          <pc:docMk/>
          <pc:sldMk cId="1066708131" sldId="279"/>
        </pc:sldMkLst>
      </pc:sldChg>
      <pc:sldChg chg="mod modShow">
        <pc:chgData name="Nomeli, Mo" userId="03501b65-0e27-4b56-8c1f-6f5a4f41fafa" providerId="ADAL" clId="{9FADF72D-A898-518F-828F-25536BDA367F}" dt="2025-08-21T20:50:12.017" v="1102" actId="729"/>
        <pc:sldMkLst>
          <pc:docMk/>
          <pc:sldMk cId="307684153" sldId="280"/>
        </pc:sldMkLst>
      </pc:sldChg>
      <pc:sldChg chg="mod modShow">
        <pc:chgData name="Nomeli, Mo" userId="03501b65-0e27-4b56-8c1f-6f5a4f41fafa" providerId="ADAL" clId="{9FADF72D-A898-518F-828F-25536BDA367F}" dt="2025-08-21T20:59:21.065" v="1120" actId="729"/>
        <pc:sldMkLst>
          <pc:docMk/>
          <pc:sldMk cId="2116748383" sldId="281"/>
        </pc:sldMkLst>
      </pc:sldChg>
      <pc:sldChg chg="add">
        <pc:chgData name="Nomeli, Mo" userId="03501b65-0e27-4b56-8c1f-6f5a4f41fafa" providerId="ADAL" clId="{9FADF72D-A898-518F-828F-25536BDA367F}" dt="2025-08-21T20:59:38.908" v="1121"/>
        <pc:sldMkLst>
          <pc:docMk/>
          <pc:sldMk cId="594671972" sldId="282"/>
        </pc:sldMkLst>
      </pc:sldChg>
      <pc:sldChg chg="del">
        <pc:chgData name="Nomeli, Mo" userId="03501b65-0e27-4b56-8c1f-6f5a4f41fafa" providerId="ADAL" clId="{9FADF72D-A898-518F-828F-25536BDA367F}" dt="2025-08-21T20:59:18.162" v="1119" actId="2696"/>
        <pc:sldMkLst>
          <pc:docMk/>
          <pc:sldMk cId="817395895" sldId="282"/>
        </pc:sldMkLst>
      </pc:sldChg>
      <pc:sldChg chg="add">
        <pc:chgData name="Nomeli, Mo" userId="03501b65-0e27-4b56-8c1f-6f5a4f41fafa" providerId="ADAL" clId="{9FADF72D-A898-518F-828F-25536BDA367F}" dt="2025-08-21T20:59:38.908" v="1121"/>
        <pc:sldMkLst>
          <pc:docMk/>
          <pc:sldMk cId="190665261" sldId="283"/>
        </pc:sldMkLst>
      </pc:sldChg>
      <pc:sldChg chg="del">
        <pc:chgData name="Nomeli, Mo" userId="03501b65-0e27-4b56-8c1f-6f5a4f41fafa" providerId="ADAL" clId="{9FADF72D-A898-518F-828F-25536BDA367F}" dt="2025-08-21T20:59:18.162" v="1119" actId="2696"/>
        <pc:sldMkLst>
          <pc:docMk/>
          <pc:sldMk cId="1377192544" sldId="283"/>
        </pc:sldMkLst>
      </pc:sldChg>
      <pc:sldChg chg="add">
        <pc:chgData name="Nomeli, Mo" userId="03501b65-0e27-4b56-8c1f-6f5a4f41fafa" providerId="ADAL" clId="{9FADF72D-A898-518F-828F-25536BDA367F}" dt="2025-08-21T20:59:38.908" v="1121"/>
        <pc:sldMkLst>
          <pc:docMk/>
          <pc:sldMk cId="1794874326" sldId="284"/>
        </pc:sldMkLst>
      </pc:sldChg>
      <pc:sldChg chg="del">
        <pc:chgData name="Nomeli, Mo" userId="03501b65-0e27-4b56-8c1f-6f5a4f41fafa" providerId="ADAL" clId="{9FADF72D-A898-518F-828F-25536BDA367F}" dt="2025-08-21T20:59:18.162" v="1119" actId="2696"/>
        <pc:sldMkLst>
          <pc:docMk/>
          <pc:sldMk cId="4110142185" sldId="284"/>
        </pc:sldMkLst>
      </pc:sldChg>
      <pc:sldChg chg="add">
        <pc:chgData name="Nomeli, Mo" userId="03501b65-0e27-4b56-8c1f-6f5a4f41fafa" providerId="ADAL" clId="{9FADF72D-A898-518F-828F-25536BDA367F}" dt="2025-08-21T20:59:38.908" v="1121"/>
        <pc:sldMkLst>
          <pc:docMk/>
          <pc:sldMk cId="1437142157" sldId="285"/>
        </pc:sldMkLst>
      </pc:sldChg>
      <pc:sldChg chg="del">
        <pc:chgData name="Nomeli, Mo" userId="03501b65-0e27-4b56-8c1f-6f5a4f41fafa" providerId="ADAL" clId="{9FADF72D-A898-518F-828F-25536BDA367F}" dt="2025-08-21T20:59:18.162" v="1119" actId="2696"/>
        <pc:sldMkLst>
          <pc:docMk/>
          <pc:sldMk cId="1851661533" sldId="285"/>
        </pc:sldMkLst>
      </pc:sldChg>
      <pc:sldChg chg="mod modShow">
        <pc:chgData name="Nomeli, Mo" userId="03501b65-0e27-4b56-8c1f-6f5a4f41fafa" providerId="ADAL" clId="{9FADF72D-A898-518F-828F-25536BDA367F}" dt="2025-08-21T20:49:05.649" v="1101" actId="729"/>
        <pc:sldMkLst>
          <pc:docMk/>
          <pc:sldMk cId="4040916811" sldId="286"/>
        </pc:sldMkLst>
      </pc:sldChg>
      <pc:sldChg chg="mod modShow">
        <pc:chgData name="Nomeli, Mo" userId="03501b65-0e27-4b56-8c1f-6f5a4f41fafa" providerId="ADAL" clId="{9FADF72D-A898-518F-828F-25536BDA367F}" dt="2025-08-21T20:52:00.869" v="1103" actId="729"/>
        <pc:sldMkLst>
          <pc:docMk/>
          <pc:sldMk cId="2989843250" sldId="287"/>
        </pc:sldMkLst>
      </pc:sldChg>
      <pc:sldChg chg="mod modShow">
        <pc:chgData name="Nomeli, Mo" userId="03501b65-0e27-4b56-8c1f-6f5a4f41fafa" providerId="ADAL" clId="{9FADF72D-A898-518F-828F-25536BDA367F}" dt="2025-08-21T20:50:12.017" v="1102" actId="729"/>
        <pc:sldMkLst>
          <pc:docMk/>
          <pc:sldMk cId="1034749082" sldId="288"/>
        </pc:sldMkLst>
      </pc:sldChg>
      <pc:sldChg chg="mod modShow">
        <pc:chgData name="Nomeli, Mo" userId="03501b65-0e27-4b56-8c1f-6f5a4f41fafa" providerId="ADAL" clId="{9FADF72D-A898-518F-828F-25536BDA367F}" dt="2025-08-21T20:52:00.869" v="1103" actId="729"/>
        <pc:sldMkLst>
          <pc:docMk/>
          <pc:sldMk cId="1313241580" sldId="289"/>
        </pc:sldMkLst>
      </pc:sldChg>
      <pc:sldChg chg="mod modShow">
        <pc:chgData name="Nomeli, Mo" userId="03501b65-0e27-4b56-8c1f-6f5a4f41fafa" providerId="ADAL" clId="{9FADF72D-A898-518F-828F-25536BDA367F}" dt="2025-08-21T20:52:00.869" v="1103" actId="729"/>
        <pc:sldMkLst>
          <pc:docMk/>
          <pc:sldMk cId="3125970053" sldId="290"/>
        </pc:sldMkLst>
      </pc:sldChg>
      <pc:sldChg chg="mod modShow">
        <pc:chgData name="Nomeli, Mo" userId="03501b65-0e27-4b56-8c1f-6f5a4f41fafa" providerId="ADAL" clId="{9FADF72D-A898-518F-828F-25536BDA367F}" dt="2025-08-21T20:52:00.869" v="1103" actId="729"/>
        <pc:sldMkLst>
          <pc:docMk/>
          <pc:sldMk cId="730397148" sldId="291"/>
        </pc:sldMkLst>
      </pc:sldChg>
      <pc:sldChg chg="mod modShow">
        <pc:chgData name="Nomeli, Mo" userId="03501b65-0e27-4b56-8c1f-6f5a4f41fafa" providerId="ADAL" clId="{9FADF72D-A898-518F-828F-25536BDA367F}" dt="2025-08-21T20:52:00.869" v="1103" actId="729"/>
        <pc:sldMkLst>
          <pc:docMk/>
          <pc:sldMk cId="3900678681" sldId="292"/>
        </pc:sldMkLst>
      </pc:sldChg>
      <pc:sldChg chg="mod modShow">
        <pc:chgData name="Nomeli, Mo" userId="03501b65-0e27-4b56-8c1f-6f5a4f41fafa" providerId="ADAL" clId="{9FADF72D-A898-518F-828F-25536BDA367F}" dt="2025-08-21T20:52:00.869" v="1103" actId="729"/>
        <pc:sldMkLst>
          <pc:docMk/>
          <pc:sldMk cId="3199984360" sldId="293"/>
        </pc:sldMkLst>
      </pc:sldChg>
      <pc:sldChg chg="mod modShow">
        <pc:chgData name="Nomeli, Mo" userId="03501b65-0e27-4b56-8c1f-6f5a4f41fafa" providerId="ADAL" clId="{9FADF72D-A898-518F-828F-25536BDA367F}" dt="2025-08-21T20:52:00.869" v="1103" actId="729"/>
        <pc:sldMkLst>
          <pc:docMk/>
          <pc:sldMk cId="2917998896" sldId="294"/>
        </pc:sldMkLst>
      </pc:sldChg>
      <pc:sldChg chg="mod modShow">
        <pc:chgData name="Nomeli, Mo" userId="03501b65-0e27-4b56-8c1f-6f5a4f41fafa" providerId="ADAL" clId="{9FADF72D-A898-518F-828F-25536BDA367F}" dt="2025-08-21T20:52:00.869" v="1103" actId="729"/>
        <pc:sldMkLst>
          <pc:docMk/>
          <pc:sldMk cId="3130153528" sldId="295"/>
        </pc:sldMkLst>
      </pc:sldChg>
      <pc:sldChg chg="mod modShow">
        <pc:chgData name="Nomeli, Mo" userId="03501b65-0e27-4b56-8c1f-6f5a4f41fafa" providerId="ADAL" clId="{9FADF72D-A898-518F-828F-25536BDA367F}" dt="2025-08-21T20:52:00.869" v="1103" actId="729"/>
        <pc:sldMkLst>
          <pc:docMk/>
          <pc:sldMk cId="975256365" sldId="296"/>
        </pc:sldMkLst>
      </pc:sldChg>
      <pc:sldChg chg="mod modShow">
        <pc:chgData name="Nomeli, Mo" userId="03501b65-0e27-4b56-8c1f-6f5a4f41fafa" providerId="ADAL" clId="{9FADF72D-A898-518F-828F-25536BDA367F}" dt="2025-08-21T20:52:00.869" v="1103" actId="729"/>
        <pc:sldMkLst>
          <pc:docMk/>
          <pc:sldMk cId="1720529291" sldId="297"/>
        </pc:sldMkLst>
      </pc:sldChg>
      <pc:sldChg chg="mod modShow">
        <pc:chgData name="Nomeli, Mo" userId="03501b65-0e27-4b56-8c1f-6f5a4f41fafa" providerId="ADAL" clId="{9FADF72D-A898-518F-828F-25536BDA367F}" dt="2025-08-21T20:52:00.869" v="1103" actId="729"/>
        <pc:sldMkLst>
          <pc:docMk/>
          <pc:sldMk cId="1943251029" sldId="298"/>
        </pc:sldMkLst>
      </pc:sldChg>
      <pc:sldChg chg="mod modShow">
        <pc:chgData name="Nomeli, Mo" userId="03501b65-0e27-4b56-8c1f-6f5a4f41fafa" providerId="ADAL" clId="{9FADF72D-A898-518F-828F-25536BDA367F}" dt="2025-08-21T20:52:00.869" v="1103" actId="729"/>
        <pc:sldMkLst>
          <pc:docMk/>
          <pc:sldMk cId="3482819534" sldId="299"/>
        </pc:sldMkLst>
      </pc:sldChg>
      <pc:sldChg chg="mod modShow">
        <pc:chgData name="Nomeli, Mo" userId="03501b65-0e27-4b56-8c1f-6f5a4f41fafa" providerId="ADAL" clId="{9FADF72D-A898-518F-828F-25536BDA367F}" dt="2025-08-21T20:52:00.869" v="1103" actId="729"/>
        <pc:sldMkLst>
          <pc:docMk/>
          <pc:sldMk cId="1788584603" sldId="300"/>
        </pc:sldMkLst>
      </pc:sldChg>
      <pc:sldChg chg="mod modShow">
        <pc:chgData name="Nomeli, Mo" userId="03501b65-0e27-4b56-8c1f-6f5a4f41fafa" providerId="ADAL" clId="{9FADF72D-A898-518F-828F-25536BDA367F}" dt="2025-08-21T20:52:00.869" v="1103" actId="729"/>
        <pc:sldMkLst>
          <pc:docMk/>
          <pc:sldMk cId="1848716897" sldId="301"/>
        </pc:sldMkLst>
      </pc:sldChg>
      <pc:sldChg chg="mod modShow">
        <pc:chgData name="Nomeli, Mo" userId="03501b65-0e27-4b56-8c1f-6f5a4f41fafa" providerId="ADAL" clId="{9FADF72D-A898-518F-828F-25536BDA367F}" dt="2025-08-21T20:52:00.869" v="1103" actId="729"/>
        <pc:sldMkLst>
          <pc:docMk/>
          <pc:sldMk cId="1176460455" sldId="302"/>
        </pc:sldMkLst>
      </pc:sldChg>
      <pc:sldChg chg="mod modShow">
        <pc:chgData name="Nomeli, Mo" userId="03501b65-0e27-4b56-8c1f-6f5a4f41fafa" providerId="ADAL" clId="{9FADF72D-A898-518F-828F-25536BDA367F}" dt="2025-08-21T20:52:00.869" v="1103" actId="729"/>
        <pc:sldMkLst>
          <pc:docMk/>
          <pc:sldMk cId="2038880499" sldId="303"/>
        </pc:sldMkLst>
      </pc:sldChg>
      <pc:sldChg chg="mod modShow">
        <pc:chgData name="Nomeli, Mo" userId="03501b65-0e27-4b56-8c1f-6f5a4f41fafa" providerId="ADAL" clId="{9FADF72D-A898-518F-828F-25536BDA367F}" dt="2025-08-21T20:52:00.869" v="1103" actId="729"/>
        <pc:sldMkLst>
          <pc:docMk/>
          <pc:sldMk cId="285656247" sldId="304"/>
        </pc:sldMkLst>
      </pc:sldChg>
      <pc:sldChg chg="mod modShow">
        <pc:chgData name="Nomeli, Mo" userId="03501b65-0e27-4b56-8c1f-6f5a4f41fafa" providerId="ADAL" clId="{9FADF72D-A898-518F-828F-25536BDA367F}" dt="2025-08-21T20:52:00.869" v="1103" actId="729"/>
        <pc:sldMkLst>
          <pc:docMk/>
          <pc:sldMk cId="3766559337" sldId="305"/>
        </pc:sldMkLst>
      </pc:sldChg>
      <pc:sldChg chg="mod modShow">
        <pc:chgData name="Nomeli, Mo" userId="03501b65-0e27-4b56-8c1f-6f5a4f41fafa" providerId="ADAL" clId="{9FADF72D-A898-518F-828F-25536BDA367F}" dt="2025-08-21T20:52:00.869" v="1103" actId="729"/>
        <pc:sldMkLst>
          <pc:docMk/>
          <pc:sldMk cId="3532994236" sldId="306"/>
        </pc:sldMkLst>
      </pc:sldChg>
      <pc:sldChg chg="mod modShow">
        <pc:chgData name="Nomeli, Mo" userId="03501b65-0e27-4b56-8c1f-6f5a4f41fafa" providerId="ADAL" clId="{9FADF72D-A898-518F-828F-25536BDA367F}" dt="2025-08-21T20:52:00.869" v="1103" actId="729"/>
        <pc:sldMkLst>
          <pc:docMk/>
          <pc:sldMk cId="3147735231" sldId="307"/>
        </pc:sldMkLst>
      </pc:sldChg>
      <pc:sldChg chg="mod modShow">
        <pc:chgData name="Nomeli, Mo" userId="03501b65-0e27-4b56-8c1f-6f5a4f41fafa" providerId="ADAL" clId="{9FADF72D-A898-518F-828F-25536BDA367F}" dt="2025-08-21T20:52:00.869" v="1103" actId="729"/>
        <pc:sldMkLst>
          <pc:docMk/>
          <pc:sldMk cId="2081440561" sldId="308"/>
        </pc:sldMkLst>
      </pc:sldChg>
      <pc:sldChg chg="mod modShow">
        <pc:chgData name="Nomeli, Mo" userId="03501b65-0e27-4b56-8c1f-6f5a4f41fafa" providerId="ADAL" clId="{9FADF72D-A898-518F-828F-25536BDA367F}" dt="2025-08-21T20:52:00.869" v="1103" actId="729"/>
        <pc:sldMkLst>
          <pc:docMk/>
          <pc:sldMk cId="274695159" sldId="309"/>
        </pc:sldMkLst>
      </pc:sldChg>
      <pc:sldChg chg="mod modShow">
        <pc:chgData name="Nomeli, Mo" userId="03501b65-0e27-4b56-8c1f-6f5a4f41fafa" providerId="ADAL" clId="{9FADF72D-A898-518F-828F-25536BDA367F}" dt="2025-08-21T20:52:00.869" v="1103" actId="729"/>
        <pc:sldMkLst>
          <pc:docMk/>
          <pc:sldMk cId="1362980260" sldId="310"/>
        </pc:sldMkLst>
      </pc:sldChg>
      <pc:sldChg chg="mod modShow">
        <pc:chgData name="Nomeli, Mo" userId="03501b65-0e27-4b56-8c1f-6f5a4f41fafa" providerId="ADAL" clId="{9FADF72D-A898-518F-828F-25536BDA367F}" dt="2025-08-21T20:52:00.869" v="1103" actId="729"/>
        <pc:sldMkLst>
          <pc:docMk/>
          <pc:sldMk cId="2717777163" sldId="311"/>
        </pc:sldMkLst>
      </pc:sldChg>
      <pc:sldChg chg="mod modShow">
        <pc:chgData name="Nomeli, Mo" userId="03501b65-0e27-4b56-8c1f-6f5a4f41fafa" providerId="ADAL" clId="{9FADF72D-A898-518F-828F-25536BDA367F}" dt="2025-08-21T20:52:00.869" v="1103" actId="729"/>
        <pc:sldMkLst>
          <pc:docMk/>
          <pc:sldMk cId="3796740187" sldId="312"/>
        </pc:sldMkLst>
      </pc:sldChg>
      <pc:sldChg chg="mod modShow">
        <pc:chgData name="Nomeli, Mo" userId="03501b65-0e27-4b56-8c1f-6f5a4f41fafa" providerId="ADAL" clId="{9FADF72D-A898-518F-828F-25536BDA367F}" dt="2025-08-21T20:52:00.869" v="1103" actId="729"/>
        <pc:sldMkLst>
          <pc:docMk/>
          <pc:sldMk cId="663125826" sldId="313"/>
        </pc:sldMkLst>
      </pc:sldChg>
      <pc:sldChg chg="mod modShow">
        <pc:chgData name="Nomeli, Mo" userId="03501b65-0e27-4b56-8c1f-6f5a4f41fafa" providerId="ADAL" clId="{9FADF72D-A898-518F-828F-25536BDA367F}" dt="2025-08-21T20:52:00.869" v="1103" actId="729"/>
        <pc:sldMkLst>
          <pc:docMk/>
          <pc:sldMk cId="153457374" sldId="314"/>
        </pc:sldMkLst>
      </pc:sldChg>
      <pc:sldChg chg="mod modShow">
        <pc:chgData name="Nomeli, Mo" userId="03501b65-0e27-4b56-8c1f-6f5a4f41fafa" providerId="ADAL" clId="{9FADF72D-A898-518F-828F-25536BDA367F}" dt="2025-08-21T20:52:00.869" v="1103" actId="729"/>
        <pc:sldMkLst>
          <pc:docMk/>
          <pc:sldMk cId="2855697922" sldId="315"/>
        </pc:sldMkLst>
      </pc:sldChg>
      <pc:sldChg chg="mod modShow">
        <pc:chgData name="Nomeli, Mo" userId="03501b65-0e27-4b56-8c1f-6f5a4f41fafa" providerId="ADAL" clId="{9FADF72D-A898-518F-828F-25536BDA367F}" dt="2025-08-21T20:52:00.869" v="1103" actId="729"/>
        <pc:sldMkLst>
          <pc:docMk/>
          <pc:sldMk cId="158939405" sldId="316"/>
        </pc:sldMkLst>
      </pc:sldChg>
      <pc:sldChg chg="mod modShow">
        <pc:chgData name="Nomeli, Mo" userId="03501b65-0e27-4b56-8c1f-6f5a4f41fafa" providerId="ADAL" clId="{9FADF72D-A898-518F-828F-25536BDA367F}" dt="2025-08-21T20:52:00.869" v="1103" actId="729"/>
        <pc:sldMkLst>
          <pc:docMk/>
          <pc:sldMk cId="2145421352" sldId="317"/>
        </pc:sldMkLst>
      </pc:sldChg>
      <pc:sldChg chg="mod modShow">
        <pc:chgData name="Nomeli, Mo" userId="03501b65-0e27-4b56-8c1f-6f5a4f41fafa" providerId="ADAL" clId="{9FADF72D-A898-518F-828F-25536BDA367F}" dt="2025-08-21T20:52:00.869" v="1103" actId="729"/>
        <pc:sldMkLst>
          <pc:docMk/>
          <pc:sldMk cId="1899318373" sldId="318"/>
        </pc:sldMkLst>
      </pc:sldChg>
      <pc:sldChg chg="mod modShow">
        <pc:chgData name="Nomeli, Mo" userId="03501b65-0e27-4b56-8c1f-6f5a4f41fafa" providerId="ADAL" clId="{9FADF72D-A898-518F-828F-25536BDA367F}" dt="2025-08-21T20:52:00.869" v="1103" actId="729"/>
        <pc:sldMkLst>
          <pc:docMk/>
          <pc:sldMk cId="1852302539" sldId="319"/>
        </pc:sldMkLst>
      </pc:sldChg>
      <pc:sldChg chg="addSp delSp modSp new del mod modClrScheme chgLayout">
        <pc:chgData name="Nomeli, Mo" userId="03501b65-0e27-4b56-8c1f-6f5a4f41fafa" providerId="ADAL" clId="{9FADF72D-A898-518F-828F-25536BDA367F}" dt="2025-08-21T20:55:22.770" v="1109" actId="2696"/>
        <pc:sldMkLst>
          <pc:docMk/>
          <pc:sldMk cId="515621394" sldId="320"/>
        </pc:sldMkLst>
      </pc:sldChg>
      <pc:sldChg chg="add">
        <pc:chgData name="Nomeli, Mo" userId="03501b65-0e27-4b56-8c1f-6f5a4f41fafa" providerId="ADAL" clId="{9FADF72D-A898-518F-828F-25536BDA367F}" dt="2025-08-21T20:55:34.283" v="1110"/>
        <pc:sldMkLst>
          <pc:docMk/>
          <pc:sldMk cId="1403810049" sldId="320"/>
        </pc:sldMkLst>
      </pc:sldChg>
      <pc:sldChg chg="addSp delSp modSp add del mod ord modClrScheme chgLayout">
        <pc:chgData name="Nomeli, Mo" userId="03501b65-0e27-4b56-8c1f-6f5a4f41fafa" providerId="ADAL" clId="{9FADF72D-A898-518F-828F-25536BDA367F}" dt="2025-08-19T21:58:15.902" v="300" actId="20578"/>
        <pc:sldMkLst>
          <pc:docMk/>
          <pc:sldMk cId="0" sldId="321"/>
        </pc:sldMkLst>
        <pc:spChg chg="mod topLvl">
          <ac:chgData name="Nomeli, Mo" userId="03501b65-0e27-4b56-8c1f-6f5a4f41fafa" providerId="ADAL" clId="{9FADF72D-A898-518F-828F-25536BDA367F}" dt="2025-08-19T21:57:44.434" v="297" actId="1076"/>
          <ac:spMkLst>
            <pc:docMk/>
            <pc:sldMk cId="0" sldId="321"/>
            <ac:spMk id="2" creationId="{00000000-0000-0000-0000-000000000000}"/>
          </ac:spMkLst>
        </pc:spChg>
        <pc:spChg chg="mod topLvl">
          <ac:chgData name="Nomeli, Mo" userId="03501b65-0e27-4b56-8c1f-6f5a4f41fafa" providerId="ADAL" clId="{9FADF72D-A898-518F-828F-25536BDA367F}" dt="2025-08-19T21:57:44.434" v="297" actId="1076"/>
          <ac:spMkLst>
            <pc:docMk/>
            <pc:sldMk cId="0" sldId="321"/>
            <ac:spMk id="3" creationId="{00000000-0000-0000-0000-000000000000}"/>
          </ac:spMkLst>
        </pc:spChg>
        <pc:spChg chg="mod">
          <ac:chgData name="Nomeli, Mo" userId="03501b65-0e27-4b56-8c1f-6f5a4f41fafa" providerId="ADAL" clId="{9FADF72D-A898-518F-828F-25536BDA367F}" dt="2025-08-19T21:57:44.434" v="297" actId="1076"/>
          <ac:spMkLst>
            <pc:docMk/>
            <pc:sldMk cId="0" sldId="321"/>
            <ac:spMk id="5" creationId="{00000000-0000-0000-0000-000000000000}"/>
          </ac:spMkLst>
        </pc:spChg>
        <pc:spChg chg="mod">
          <ac:chgData name="Nomeli, Mo" userId="03501b65-0e27-4b56-8c1f-6f5a4f41fafa" providerId="ADAL" clId="{9FADF72D-A898-518F-828F-25536BDA367F}" dt="2025-08-19T21:51:27.034" v="255" actId="403"/>
          <ac:spMkLst>
            <pc:docMk/>
            <pc:sldMk cId="0" sldId="321"/>
            <ac:spMk id="6" creationId="{00000000-0000-0000-0000-000000000000}"/>
          </ac:spMkLst>
        </pc:spChg>
        <pc:spChg chg="mod">
          <ac:chgData name="Nomeli, Mo" userId="03501b65-0e27-4b56-8c1f-6f5a4f41fafa" providerId="ADAL" clId="{9FADF72D-A898-518F-828F-25536BDA367F}" dt="2025-08-19T21:51:27.034" v="255" actId="403"/>
          <ac:spMkLst>
            <pc:docMk/>
            <pc:sldMk cId="0" sldId="321"/>
            <ac:spMk id="7" creationId="{00000000-0000-0000-0000-000000000000}"/>
          </ac:spMkLst>
        </pc:spChg>
        <pc:spChg chg="mod">
          <ac:chgData name="Nomeli, Mo" userId="03501b65-0e27-4b56-8c1f-6f5a4f41fafa" providerId="ADAL" clId="{9FADF72D-A898-518F-828F-25536BDA367F}" dt="2025-08-19T21:51:27.034" v="255" actId="403"/>
          <ac:spMkLst>
            <pc:docMk/>
            <pc:sldMk cId="0" sldId="321"/>
            <ac:spMk id="12" creationId="{00000000-0000-0000-0000-000000000000}"/>
          </ac:spMkLst>
        </pc:spChg>
        <pc:spChg chg="mod">
          <ac:chgData name="Nomeli, Mo" userId="03501b65-0e27-4b56-8c1f-6f5a4f41fafa" providerId="ADAL" clId="{9FADF72D-A898-518F-828F-25536BDA367F}" dt="2025-08-19T21:51:27.034" v="255" actId="403"/>
          <ac:spMkLst>
            <pc:docMk/>
            <pc:sldMk cId="0" sldId="321"/>
            <ac:spMk id="13" creationId="{00000000-0000-0000-0000-000000000000}"/>
          </ac:spMkLst>
        </pc:spChg>
        <pc:spChg chg="mod">
          <ac:chgData name="Nomeli, Mo" userId="03501b65-0e27-4b56-8c1f-6f5a4f41fafa" providerId="ADAL" clId="{9FADF72D-A898-518F-828F-25536BDA367F}" dt="2025-08-19T21:51:27.034" v="255" actId="403"/>
          <ac:spMkLst>
            <pc:docMk/>
            <pc:sldMk cId="0" sldId="321"/>
            <ac:spMk id="15" creationId="{00000000-0000-0000-0000-000000000000}"/>
          </ac:spMkLst>
        </pc:spChg>
        <pc:spChg chg="mod">
          <ac:chgData name="Nomeli, Mo" userId="03501b65-0e27-4b56-8c1f-6f5a4f41fafa" providerId="ADAL" clId="{9FADF72D-A898-518F-828F-25536BDA367F}" dt="2025-08-19T21:51:27.034" v="255" actId="403"/>
          <ac:spMkLst>
            <pc:docMk/>
            <pc:sldMk cId="0" sldId="321"/>
            <ac:spMk id="16" creationId="{00000000-0000-0000-0000-000000000000}"/>
          </ac:spMkLst>
        </pc:spChg>
        <pc:spChg chg="mod">
          <ac:chgData name="Nomeli, Mo" userId="03501b65-0e27-4b56-8c1f-6f5a4f41fafa" providerId="ADAL" clId="{9FADF72D-A898-518F-828F-25536BDA367F}" dt="2025-08-19T21:57:44.434" v="297" actId="1076"/>
          <ac:spMkLst>
            <pc:docMk/>
            <pc:sldMk cId="0" sldId="321"/>
            <ac:spMk id="19" creationId="{00000000-0000-0000-0000-000000000000}"/>
          </ac:spMkLst>
        </pc:spChg>
        <pc:spChg chg="mod topLvl">
          <ac:chgData name="Nomeli, Mo" userId="03501b65-0e27-4b56-8c1f-6f5a4f41fafa" providerId="ADAL" clId="{9FADF72D-A898-518F-828F-25536BDA367F}" dt="2025-08-19T21:57:44.434" v="297" actId="1076"/>
          <ac:spMkLst>
            <pc:docMk/>
            <pc:sldMk cId="0" sldId="321"/>
            <ac:spMk id="20" creationId="{00000000-0000-0000-0000-000000000000}"/>
          </ac:spMkLst>
        </pc:spChg>
        <pc:spChg chg="mod topLvl">
          <ac:chgData name="Nomeli, Mo" userId="03501b65-0e27-4b56-8c1f-6f5a4f41fafa" providerId="ADAL" clId="{9FADF72D-A898-518F-828F-25536BDA367F}" dt="2025-08-19T21:57:44.434" v="297" actId="1076"/>
          <ac:spMkLst>
            <pc:docMk/>
            <pc:sldMk cId="0" sldId="321"/>
            <ac:spMk id="21" creationId="{00000000-0000-0000-0000-000000000000}"/>
          </ac:spMkLst>
        </pc:spChg>
        <pc:spChg chg="mod">
          <ac:chgData name="Nomeli, Mo" userId="03501b65-0e27-4b56-8c1f-6f5a4f41fafa" providerId="ADAL" clId="{9FADF72D-A898-518F-828F-25536BDA367F}" dt="2025-08-19T21:57:44.434" v="297" actId="1076"/>
          <ac:spMkLst>
            <pc:docMk/>
            <pc:sldMk cId="0" sldId="321"/>
            <ac:spMk id="22" creationId="{00000000-0000-0000-0000-000000000000}"/>
          </ac:spMkLst>
        </pc:spChg>
        <pc:spChg chg="mod">
          <ac:chgData name="Nomeli, Mo" userId="03501b65-0e27-4b56-8c1f-6f5a4f41fafa" providerId="ADAL" clId="{9FADF72D-A898-518F-828F-25536BDA367F}" dt="2025-08-19T21:57:44.434" v="297" actId="1076"/>
          <ac:spMkLst>
            <pc:docMk/>
            <pc:sldMk cId="0" sldId="321"/>
            <ac:spMk id="23" creationId="{00000000-0000-0000-0000-000000000000}"/>
          </ac:spMkLst>
        </pc:spChg>
        <pc:spChg chg="mod">
          <ac:chgData name="Nomeli, Mo" userId="03501b65-0e27-4b56-8c1f-6f5a4f41fafa" providerId="ADAL" clId="{9FADF72D-A898-518F-828F-25536BDA367F}" dt="2025-08-19T21:50:11.034" v="223" actId="20577"/>
          <ac:spMkLst>
            <pc:docMk/>
            <pc:sldMk cId="0" sldId="321"/>
            <ac:spMk id="24" creationId="{00000000-0000-0000-0000-000000000000}"/>
          </ac:spMkLst>
        </pc:spChg>
        <pc:spChg chg="mod">
          <ac:chgData name="Nomeli, Mo" userId="03501b65-0e27-4b56-8c1f-6f5a4f41fafa" providerId="ADAL" clId="{9FADF72D-A898-518F-828F-25536BDA367F}" dt="2025-08-19T21:57:44.434" v="297" actId="1076"/>
          <ac:spMkLst>
            <pc:docMk/>
            <pc:sldMk cId="0" sldId="321"/>
            <ac:spMk id="25" creationId="{00000000-0000-0000-0000-000000000000}"/>
          </ac:spMkLst>
        </pc:spChg>
        <pc:spChg chg="mod topLvl">
          <ac:chgData name="Nomeli, Mo" userId="03501b65-0e27-4b56-8c1f-6f5a4f41fafa" providerId="ADAL" clId="{9FADF72D-A898-518F-828F-25536BDA367F}" dt="2025-08-19T21:57:44.434" v="297" actId="1076"/>
          <ac:spMkLst>
            <pc:docMk/>
            <pc:sldMk cId="0" sldId="321"/>
            <ac:spMk id="26" creationId="{00000000-0000-0000-0000-000000000000}"/>
          </ac:spMkLst>
        </pc:spChg>
        <pc:spChg chg="add mod ord">
          <ac:chgData name="Nomeli, Mo" userId="03501b65-0e27-4b56-8c1f-6f5a4f41fafa" providerId="ADAL" clId="{9FADF72D-A898-518F-828F-25536BDA367F}" dt="2025-08-19T21:46:10.622" v="156" actId="20577"/>
          <ac:spMkLst>
            <pc:docMk/>
            <pc:sldMk cId="0" sldId="321"/>
            <ac:spMk id="30" creationId="{C98348B5-B037-C96A-5E0B-67A15CB777C2}"/>
          </ac:spMkLst>
        </pc:spChg>
        <pc:spChg chg="add mod">
          <ac:chgData name="Nomeli, Mo" userId="03501b65-0e27-4b56-8c1f-6f5a4f41fafa" providerId="ADAL" clId="{9FADF72D-A898-518F-828F-25536BDA367F}" dt="2025-08-19T21:56:48.066" v="296" actId="1076"/>
          <ac:spMkLst>
            <pc:docMk/>
            <pc:sldMk cId="0" sldId="321"/>
            <ac:spMk id="31" creationId="{A68EC286-E6AB-7E60-2834-D2892A83F6ED}"/>
          </ac:spMkLst>
        </pc:spChg>
        <pc:grpChg chg="mod">
          <ac:chgData name="Nomeli, Mo" userId="03501b65-0e27-4b56-8c1f-6f5a4f41fafa" providerId="ADAL" clId="{9FADF72D-A898-518F-828F-25536BDA367F}" dt="2025-08-19T21:48:41.988" v="192" actId="1076"/>
          <ac:grpSpMkLst>
            <pc:docMk/>
            <pc:sldMk cId="0" sldId="321"/>
            <ac:grpSpMk id="8" creationId="{00000000-0000-0000-0000-000000000000}"/>
          </ac:grpSpMkLst>
        </pc:grpChg>
        <pc:grpChg chg="mod">
          <ac:chgData name="Nomeli, Mo" userId="03501b65-0e27-4b56-8c1f-6f5a4f41fafa" providerId="ADAL" clId="{9FADF72D-A898-518F-828F-25536BDA367F}" dt="2025-08-19T21:48:29.787" v="190" actId="1076"/>
          <ac:grpSpMkLst>
            <pc:docMk/>
            <pc:sldMk cId="0" sldId="321"/>
            <ac:grpSpMk id="11" creationId="{00000000-0000-0000-0000-000000000000}"/>
          </ac:grpSpMkLst>
        </pc:grpChg>
        <pc:grpChg chg="mod">
          <ac:chgData name="Nomeli, Mo" userId="03501b65-0e27-4b56-8c1f-6f5a4f41fafa" providerId="ADAL" clId="{9FADF72D-A898-518F-828F-25536BDA367F}" dt="2025-08-19T21:48:48.971" v="193" actId="1076"/>
          <ac:grpSpMkLst>
            <pc:docMk/>
            <pc:sldMk cId="0" sldId="321"/>
            <ac:grpSpMk id="14" creationId="{00000000-0000-0000-0000-000000000000}"/>
          </ac:grpSpMkLst>
        </pc:grpChg>
        <pc:grpChg chg="mod">
          <ac:chgData name="Nomeli, Mo" userId="03501b65-0e27-4b56-8c1f-6f5a4f41fafa" providerId="ADAL" clId="{9FADF72D-A898-518F-828F-25536BDA367F}" dt="2025-08-19T21:48:35.137" v="191" actId="1076"/>
          <ac:grpSpMkLst>
            <pc:docMk/>
            <pc:sldMk cId="0" sldId="321"/>
            <ac:grpSpMk id="17" creationId="{00000000-0000-0000-0000-000000000000}"/>
          </ac:grpSpMkLst>
        </pc:grpChg>
      </pc:sldChg>
      <pc:sldChg chg="addSp delSp modSp new mod ord modClrScheme chgLayout">
        <pc:chgData name="Nomeli, Mo" userId="03501b65-0e27-4b56-8c1f-6f5a4f41fafa" providerId="ADAL" clId="{9FADF72D-A898-518F-828F-25536BDA367F}" dt="2025-08-19T22:14:27.122" v="389"/>
        <pc:sldMkLst>
          <pc:docMk/>
          <pc:sldMk cId="601886412" sldId="322"/>
        </pc:sldMkLst>
        <pc:spChg chg="add mod ord">
          <ac:chgData name="Nomeli, Mo" userId="03501b65-0e27-4b56-8c1f-6f5a4f41fafa" providerId="ADAL" clId="{9FADF72D-A898-518F-828F-25536BDA367F}" dt="2025-08-19T22:13:55.159" v="386" actId="20577"/>
          <ac:spMkLst>
            <pc:docMk/>
            <pc:sldMk cId="601886412" sldId="322"/>
            <ac:spMk id="4" creationId="{CCCE49B9-20AB-C723-744D-67A1933F7FB5}"/>
          </ac:spMkLst>
        </pc:spChg>
        <pc:spChg chg="mod">
          <ac:chgData name="Nomeli, Mo" userId="03501b65-0e27-4b56-8c1f-6f5a4f41fafa" providerId="ADAL" clId="{9FADF72D-A898-518F-828F-25536BDA367F}" dt="2025-08-19T22:14:00.801" v="388" actId="403"/>
          <ac:spMkLst>
            <pc:docMk/>
            <pc:sldMk cId="601886412" sldId="322"/>
            <ac:spMk id="6" creationId="{50A1CADC-7D77-FFCD-C1A7-9867D76DFC17}"/>
          </ac:spMkLst>
        </pc:spChg>
        <pc:spChg chg="mod">
          <ac:chgData name="Nomeli, Mo" userId="03501b65-0e27-4b56-8c1f-6f5a4f41fafa" providerId="ADAL" clId="{9FADF72D-A898-518F-828F-25536BDA367F}" dt="2025-08-19T22:14:00.801" v="388" actId="403"/>
          <ac:spMkLst>
            <pc:docMk/>
            <pc:sldMk cId="601886412" sldId="322"/>
            <ac:spMk id="7" creationId="{A0AFA4CD-B899-101D-BB94-69C1D322FFCE}"/>
          </ac:spMkLst>
        </pc:spChg>
        <pc:spChg chg="mod">
          <ac:chgData name="Nomeli, Mo" userId="03501b65-0e27-4b56-8c1f-6f5a4f41fafa" providerId="ADAL" clId="{9FADF72D-A898-518F-828F-25536BDA367F}" dt="2025-08-19T22:14:00.801" v="388" actId="403"/>
          <ac:spMkLst>
            <pc:docMk/>
            <pc:sldMk cId="601886412" sldId="322"/>
            <ac:spMk id="9" creationId="{393460F3-D436-37E8-BE11-C3DD499034A4}"/>
          </ac:spMkLst>
        </pc:spChg>
        <pc:spChg chg="mod">
          <ac:chgData name="Nomeli, Mo" userId="03501b65-0e27-4b56-8c1f-6f5a4f41fafa" providerId="ADAL" clId="{9FADF72D-A898-518F-828F-25536BDA367F}" dt="2025-08-19T22:14:00.801" v="388" actId="403"/>
          <ac:spMkLst>
            <pc:docMk/>
            <pc:sldMk cId="601886412" sldId="322"/>
            <ac:spMk id="10" creationId="{D7BCAD99-E88A-3DC0-86A7-F07E84B71DDD}"/>
          </ac:spMkLst>
        </pc:spChg>
        <pc:spChg chg="mod">
          <ac:chgData name="Nomeli, Mo" userId="03501b65-0e27-4b56-8c1f-6f5a4f41fafa" providerId="ADAL" clId="{9FADF72D-A898-518F-828F-25536BDA367F}" dt="2025-08-19T22:14:00.801" v="388" actId="403"/>
          <ac:spMkLst>
            <pc:docMk/>
            <pc:sldMk cId="601886412" sldId="322"/>
            <ac:spMk id="12" creationId="{F8928DE2-A210-DAE6-6B24-77C7057BADF4}"/>
          </ac:spMkLst>
        </pc:spChg>
        <pc:spChg chg="add mod">
          <ac:chgData name="Nomeli, Mo" userId="03501b65-0e27-4b56-8c1f-6f5a4f41fafa" providerId="ADAL" clId="{9FADF72D-A898-518F-828F-25536BDA367F}" dt="2025-08-19T22:14:00.801" v="388" actId="403"/>
          <ac:spMkLst>
            <pc:docMk/>
            <pc:sldMk cId="601886412" sldId="322"/>
            <ac:spMk id="14" creationId="{5D40F56E-78F1-718E-3097-5152332151BF}"/>
          </ac:spMkLst>
        </pc:spChg>
        <pc:spChg chg="add mod">
          <ac:chgData name="Nomeli, Mo" userId="03501b65-0e27-4b56-8c1f-6f5a4f41fafa" providerId="ADAL" clId="{9FADF72D-A898-518F-828F-25536BDA367F}" dt="2025-08-19T22:14:00.801" v="388" actId="403"/>
          <ac:spMkLst>
            <pc:docMk/>
            <pc:sldMk cId="601886412" sldId="322"/>
            <ac:spMk id="15" creationId="{0282A7AB-E02C-4D14-9BBE-06599D45AAC8}"/>
          </ac:spMkLst>
        </pc:spChg>
        <pc:spChg chg="add mod">
          <ac:chgData name="Nomeli, Mo" userId="03501b65-0e27-4b56-8c1f-6f5a4f41fafa" providerId="ADAL" clId="{9FADF72D-A898-518F-828F-25536BDA367F}" dt="2025-08-19T22:14:00.801" v="388" actId="403"/>
          <ac:spMkLst>
            <pc:docMk/>
            <pc:sldMk cId="601886412" sldId="322"/>
            <ac:spMk id="16" creationId="{C6CF684C-7C52-57B9-4003-14FE12A4260C}"/>
          </ac:spMkLst>
        </pc:spChg>
        <pc:spChg chg="add mod">
          <ac:chgData name="Nomeli, Mo" userId="03501b65-0e27-4b56-8c1f-6f5a4f41fafa" providerId="ADAL" clId="{9FADF72D-A898-518F-828F-25536BDA367F}" dt="2025-08-19T22:14:00.801" v="388" actId="403"/>
          <ac:spMkLst>
            <pc:docMk/>
            <pc:sldMk cId="601886412" sldId="322"/>
            <ac:spMk id="17" creationId="{B26115F8-12F5-04F3-A397-F9AAED7F4C74}"/>
          </ac:spMkLst>
        </pc:spChg>
        <pc:spChg chg="add mod">
          <ac:chgData name="Nomeli, Mo" userId="03501b65-0e27-4b56-8c1f-6f5a4f41fafa" providerId="ADAL" clId="{9FADF72D-A898-518F-828F-25536BDA367F}" dt="2025-08-19T22:14:00.801" v="388" actId="403"/>
          <ac:spMkLst>
            <pc:docMk/>
            <pc:sldMk cId="601886412" sldId="322"/>
            <ac:spMk id="18" creationId="{E7387DA9-885E-7424-848C-AACF6E7B1E7B}"/>
          </ac:spMkLst>
        </pc:spChg>
        <pc:spChg chg="mod">
          <ac:chgData name="Nomeli, Mo" userId="03501b65-0e27-4b56-8c1f-6f5a4f41fafa" providerId="ADAL" clId="{9FADF72D-A898-518F-828F-25536BDA367F}" dt="2025-08-19T22:13:34.732" v="368" actId="164"/>
          <ac:spMkLst>
            <pc:docMk/>
            <pc:sldMk cId="601886412" sldId="322"/>
            <ac:spMk id="19" creationId="{3D376C52-152E-54B3-8569-167EBB3B9CFC}"/>
          </ac:spMkLst>
        </pc:spChg>
        <pc:spChg chg="add mod">
          <ac:chgData name="Nomeli, Mo" userId="03501b65-0e27-4b56-8c1f-6f5a4f41fafa" providerId="ADAL" clId="{9FADF72D-A898-518F-828F-25536BDA367F}" dt="2025-08-19T22:14:27.122" v="389"/>
          <ac:spMkLst>
            <pc:docMk/>
            <pc:sldMk cId="601886412" sldId="322"/>
            <ac:spMk id="21" creationId="{C106F954-C9FA-3C99-4BD8-CDE6354E0E33}"/>
          </ac:spMkLst>
        </pc:spChg>
        <pc:grpChg chg="mod">
          <ac:chgData name="Nomeli, Mo" userId="03501b65-0e27-4b56-8c1f-6f5a4f41fafa" providerId="ADAL" clId="{9FADF72D-A898-518F-828F-25536BDA367F}" dt="2025-08-19T22:13:34.732" v="368" actId="164"/>
          <ac:grpSpMkLst>
            <pc:docMk/>
            <pc:sldMk cId="601886412" sldId="322"/>
            <ac:grpSpMk id="5" creationId="{37A9773D-5882-0165-427A-6CD65AF6DE94}"/>
          </ac:grpSpMkLst>
        </pc:grpChg>
        <pc:grpChg chg="mod">
          <ac:chgData name="Nomeli, Mo" userId="03501b65-0e27-4b56-8c1f-6f5a4f41fafa" providerId="ADAL" clId="{9FADF72D-A898-518F-828F-25536BDA367F}" dt="2025-08-19T22:13:34.732" v="368" actId="164"/>
          <ac:grpSpMkLst>
            <pc:docMk/>
            <pc:sldMk cId="601886412" sldId="322"/>
            <ac:grpSpMk id="8" creationId="{353FC651-5DAA-F369-B69A-72A2CBBAE5EB}"/>
          </ac:grpSpMkLst>
        </pc:grpChg>
        <pc:grpChg chg="mod">
          <ac:chgData name="Nomeli, Mo" userId="03501b65-0e27-4b56-8c1f-6f5a4f41fafa" providerId="ADAL" clId="{9FADF72D-A898-518F-828F-25536BDA367F}" dt="2025-08-19T22:13:34.732" v="368" actId="164"/>
          <ac:grpSpMkLst>
            <pc:docMk/>
            <pc:sldMk cId="601886412" sldId="322"/>
            <ac:grpSpMk id="11" creationId="{54FF904B-9FCB-FB69-4CE6-B9689298E3FC}"/>
          </ac:grpSpMkLst>
        </pc:grpChg>
        <pc:grpChg chg="add mod">
          <ac:chgData name="Nomeli, Mo" userId="03501b65-0e27-4b56-8c1f-6f5a4f41fafa" providerId="ADAL" clId="{9FADF72D-A898-518F-828F-25536BDA367F}" dt="2025-08-19T22:13:42.496" v="383" actId="1076"/>
          <ac:grpSpMkLst>
            <pc:docMk/>
            <pc:sldMk cId="601886412" sldId="322"/>
            <ac:grpSpMk id="20" creationId="{C787A79D-2D99-B688-4533-8B3E3EF4C09D}"/>
          </ac:grpSpMkLst>
        </pc:grpChg>
      </pc:sldChg>
      <pc:sldChg chg="addSp delSp modSp new mod modClrScheme chgLayout">
        <pc:chgData name="Nomeli, Mo" userId="03501b65-0e27-4b56-8c1f-6f5a4f41fafa" providerId="ADAL" clId="{9FADF72D-A898-518F-828F-25536BDA367F}" dt="2025-08-19T22:07:31.214" v="365" actId="20577"/>
        <pc:sldMkLst>
          <pc:docMk/>
          <pc:sldMk cId="3406687889" sldId="323"/>
        </pc:sldMkLst>
        <pc:spChg chg="add mod ord">
          <ac:chgData name="Nomeli, Mo" userId="03501b65-0e27-4b56-8c1f-6f5a4f41fafa" providerId="ADAL" clId="{9FADF72D-A898-518F-828F-25536BDA367F}" dt="2025-08-19T22:03:35.177" v="325" actId="20577"/>
          <ac:spMkLst>
            <pc:docMk/>
            <pc:sldMk cId="3406687889" sldId="323"/>
            <ac:spMk id="4" creationId="{8264D2A4-6078-4C1C-92A6-A9DA907A99EC}"/>
          </ac:spMkLst>
        </pc:spChg>
        <pc:spChg chg="mod">
          <ac:chgData name="Nomeli, Mo" userId="03501b65-0e27-4b56-8c1f-6f5a4f41fafa" providerId="ADAL" clId="{9FADF72D-A898-518F-828F-25536BDA367F}" dt="2025-08-19T22:04:37.053" v="362" actId="14100"/>
          <ac:spMkLst>
            <pc:docMk/>
            <pc:sldMk cId="3406687889" sldId="323"/>
            <ac:spMk id="9" creationId="{F4AD5C1E-AE8C-3358-EE84-7512AAD4E318}"/>
          </ac:spMkLst>
        </pc:spChg>
        <pc:spChg chg="mod">
          <ac:chgData name="Nomeli, Mo" userId="03501b65-0e27-4b56-8c1f-6f5a4f41fafa" providerId="ADAL" clId="{9FADF72D-A898-518F-828F-25536BDA367F}" dt="2025-08-19T22:03:05.988" v="303"/>
          <ac:spMkLst>
            <pc:docMk/>
            <pc:sldMk cId="3406687889" sldId="323"/>
            <ac:spMk id="12" creationId="{0A748680-A165-E7F6-886D-F9C8560F9627}"/>
          </ac:spMkLst>
        </pc:spChg>
        <pc:spChg chg="mod">
          <ac:chgData name="Nomeli, Mo" userId="03501b65-0e27-4b56-8c1f-6f5a4f41fafa" providerId="ADAL" clId="{9FADF72D-A898-518F-828F-25536BDA367F}" dt="2025-08-19T22:03:05.988" v="303"/>
          <ac:spMkLst>
            <pc:docMk/>
            <pc:sldMk cId="3406687889" sldId="323"/>
            <ac:spMk id="13" creationId="{B7E688F9-5AF6-A62C-BF4F-0E62938DB601}"/>
          </ac:spMkLst>
        </pc:spChg>
        <pc:spChg chg="mod">
          <ac:chgData name="Nomeli, Mo" userId="03501b65-0e27-4b56-8c1f-6f5a4f41fafa" providerId="ADAL" clId="{9FADF72D-A898-518F-828F-25536BDA367F}" dt="2025-08-19T22:03:05.988" v="303"/>
          <ac:spMkLst>
            <pc:docMk/>
            <pc:sldMk cId="3406687889" sldId="323"/>
            <ac:spMk id="19" creationId="{3897D718-1CE2-A90B-FB8C-E459E25A9898}"/>
          </ac:spMkLst>
        </pc:spChg>
        <pc:spChg chg="mod">
          <ac:chgData name="Nomeli, Mo" userId="03501b65-0e27-4b56-8c1f-6f5a4f41fafa" providerId="ADAL" clId="{9FADF72D-A898-518F-828F-25536BDA367F}" dt="2025-08-19T22:03:05.988" v="303"/>
          <ac:spMkLst>
            <pc:docMk/>
            <pc:sldMk cId="3406687889" sldId="323"/>
            <ac:spMk id="21" creationId="{0FFFFD20-4A0B-EA5F-66AD-C4D2E99D06F4}"/>
          </ac:spMkLst>
        </pc:spChg>
        <pc:spChg chg="mod">
          <ac:chgData name="Nomeli, Mo" userId="03501b65-0e27-4b56-8c1f-6f5a4f41fafa" providerId="ADAL" clId="{9FADF72D-A898-518F-828F-25536BDA367F}" dt="2025-08-19T22:03:05.988" v="303"/>
          <ac:spMkLst>
            <pc:docMk/>
            <pc:sldMk cId="3406687889" sldId="323"/>
            <ac:spMk id="22" creationId="{CCECA24F-3E60-F9A9-BBE5-7C380FA484E0}"/>
          </ac:spMkLst>
        </pc:spChg>
        <pc:spChg chg="mod">
          <ac:chgData name="Nomeli, Mo" userId="03501b65-0e27-4b56-8c1f-6f5a4f41fafa" providerId="ADAL" clId="{9FADF72D-A898-518F-828F-25536BDA367F}" dt="2025-08-19T22:03:05.988" v="303"/>
          <ac:spMkLst>
            <pc:docMk/>
            <pc:sldMk cId="3406687889" sldId="323"/>
            <ac:spMk id="29" creationId="{28361955-79E5-4E78-3432-05E4A00797B4}"/>
          </ac:spMkLst>
        </pc:spChg>
        <pc:spChg chg="mod">
          <ac:chgData name="Nomeli, Mo" userId="03501b65-0e27-4b56-8c1f-6f5a4f41fafa" providerId="ADAL" clId="{9FADF72D-A898-518F-828F-25536BDA367F}" dt="2025-08-19T22:03:05.988" v="303"/>
          <ac:spMkLst>
            <pc:docMk/>
            <pc:sldMk cId="3406687889" sldId="323"/>
            <ac:spMk id="30" creationId="{D79782FA-272E-E148-8333-C740C596E121}"/>
          </ac:spMkLst>
        </pc:spChg>
        <pc:spChg chg="mod">
          <ac:chgData name="Nomeli, Mo" userId="03501b65-0e27-4b56-8c1f-6f5a4f41fafa" providerId="ADAL" clId="{9FADF72D-A898-518F-828F-25536BDA367F}" dt="2025-08-19T22:03:05.988" v="303"/>
          <ac:spMkLst>
            <pc:docMk/>
            <pc:sldMk cId="3406687889" sldId="323"/>
            <ac:spMk id="32" creationId="{2D3157F1-ABCA-BA8A-F2BD-F1EBEC2FE39B}"/>
          </ac:spMkLst>
        </pc:spChg>
        <pc:spChg chg="mod">
          <ac:chgData name="Nomeli, Mo" userId="03501b65-0e27-4b56-8c1f-6f5a4f41fafa" providerId="ADAL" clId="{9FADF72D-A898-518F-828F-25536BDA367F}" dt="2025-08-19T22:03:05.988" v="303"/>
          <ac:spMkLst>
            <pc:docMk/>
            <pc:sldMk cId="3406687889" sldId="323"/>
            <ac:spMk id="33" creationId="{B1AC4093-E844-57D6-68B0-99703D30509C}"/>
          </ac:spMkLst>
        </pc:spChg>
        <pc:spChg chg="mod">
          <ac:chgData name="Nomeli, Mo" userId="03501b65-0e27-4b56-8c1f-6f5a4f41fafa" providerId="ADAL" clId="{9FADF72D-A898-518F-828F-25536BDA367F}" dt="2025-08-19T22:03:05.988" v="303"/>
          <ac:spMkLst>
            <pc:docMk/>
            <pc:sldMk cId="3406687889" sldId="323"/>
            <ac:spMk id="39" creationId="{AC648B80-8BFA-493C-1890-FD5C2AD851E6}"/>
          </ac:spMkLst>
        </pc:spChg>
        <pc:spChg chg="mod">
          <ac:chgData name="Nomeli, Mo" userId="03501b65-0e27-4b56-8c1f-6f5a4f41fafa" providerId="ADAL" clId="{9FADF72D-A898-518F-828F-25536BDA367F}" dt="2025-08-19T22:04:43.353" v="363" actId="1076"/>
          <ac:spMkLst>
            <pc:docMk/>
            <pc:sldMk cId="3406687889" sldId="323"/>
            <ac:spMk id="41" creationId="{C1C4F1DB-E70C-D6C5-3B07-920DCEABF384}"/>
          </ac:spMkLst>
        </pc:spChg>
        <pc:spChg chg="mod">
          <ac:chgData name="Nomeli, Mo" userId="03501b65-0e27-4b56-8c1f-6f5a4f41fafa" providerId="ADAL" clId="{9FADF72D-A898-518F-828F-25536BDA367F}" dt="2025-08-19T22:07:31.214" v="365" actId="20577"/>
          <ac:spMkLst>
            <pc:docMk/>
            <pc:sldMk cId="3406687889" sldId="323"/>
            <ac:spMk id="42" creationId="{8250DBF3-9949-F621-73C4-61EEC54D3680}"/>
          </ac:spMkLst>
        </pc:spChg>
        <pc:grpChg chg="mod">
          <ac:chgData name="Nomeli, Mo" userId="03501b65-0e27-4b56-8c1f-6f5a4f41fafa" providerId="ADAL" clId="{9FADF72D-A898-518F-828F-25536BDA367F}" dt="2025-08-19T22:03:42.259" v="326" actId="164"/>
          <ac:grpSpMkLst>
            <pc:docMk/>
            <pc:sldMk cId="3406687889" sldId="323"/>
            <ac:grpSpMk id="5" creationId="{AC101877-8914-DA7B-1F4A-FD743AA242C8}"/>
          </ac:grpSpMkLst>
        </pc:grpChg>
        <pc:grpChg chg="mod">
          <ac:chgData name="Nomeli, Mo" userId="03501b65-0e27-4b56-8c1f-6f5a4f41fafa" providerId="ADAL" clId="{9FADF72D-A898-518F-828F-25536BDA367F}" dt="2025-08-19T22:03:42.259" v="326" actId="164"/>
          <ac:grpSpMkLst>
            <pc:docMk/>
            <pc:sldMk cId="3406687889" sldId="323"/>
            <ac:grpSpMk id="8" creationId="{C3D57BB7-1029-88BC-AC84-2D357758D347}"/>
          </ac:grpSpMkLst>
        </pc:grpChg>
        <pc:grpChg chg="mod">
          <ac:chgData name="Nomeli, Mo" userId="03501b65-0e27-4b56-8c1f-6f5a4f41fafa" providerId="ADAL" clId="{9FADF72D-A898-518F-828F-25536BDA367F}" dt="2025-08-19T22:03:42.259" v="326" actId="164"/>
          <ac:grpSpMkLst>
            <pc:docMk/>
            <pc:sldMk cId="3406687889" sldId="323"/>
            <ac:grpSpMk id="11" creationId="{F51CD62E-4EEA-C2B7-4CDA-4FDB4432B073}"/>
          </ac:grpSpMkLst>
        </pc:grpChg>
        <pc:grpChg chg="mod">
          <ac:chgData name="Nomeli, Mo" userId="03501b65-0e27-4b56-8c1f-6f5a4f41fafa" providerId="ADAL" clId="{9FADF72D-A898-518F-828F-25536BDA367F}" dt="2025-08-19T22:03:42.259" v="326" actId="164"/>
          <ac:grpSpMkLst>
            <pc:docMk/>
            <pc:sldMk cId="3406687889" sldId="323"/>
            <ac:grpSpMk id="20" creationId="{9117E4D3-7D38-DFD4-FC9F-E668E7F03C76}"/>
          </ac:grpSpMkLst>
        </pc:grpChg>
        <pc:grpChg chg="mod">
          <ac:chgData name="Nomeli, Mo" userId="03501b65-0e27-4b56-8c1f-6f5a4f41fafa" providerId="ADAL" clId="{9FADF72D-A898-518F-828F-25536BDA367F}" dt="2025-08-19T22:03:42.259" v="326" actId="164"/>
          <ac:grpSpMkLst>
            <pc:docMk/>
            <pc:sldMk cId="3406687889" sldId="323"/>
            <ac:grpSpMk id="27" creationId="{AE5CCC7D-83FA-801C-5F43-01AFB2CE28D8}"/>
          </ac:grpSpMkLst>
        </pc:grpChg>
        <pc:grpChg chg="mod">
          <ac:chgData name="Nomeli, Mo" userId="03501b65-0e27-4b56-8c1f-6f5a4f41fafa" providerId="ADAL" clId="{9FADF72D-A898-518F-828F-25536BDA367F}" dt="2025-08-19T22:03:42.259" v="326" actId="164"/>
          <ac:grpSpMkLst>
            <pc:docMk/>
            <pc:sldMk cId="3406687889" sldId="323"/>
            <ac:grpSpMk id="34" creationId="{DEE487A7-AA8A-7FD7-53CF-4BF72FF915E2}"/>
          </ac:grpSpMkLst>
        </pc:grpChg>
        <pc:grpChg chg="add mod">
          <ac:chgData name="Nomeli, Mo" userId="03501b65-0e27-4b56-8c1f-6f5a4f41fafa" providerId="ADAL" clId="{9FADF72D-A898-518F-828F-25536BDA367F}" dt="2025-08-19T22:03:51.837" v="341" actId="1076"/>
          <ac:grpSpMkLst>
            <pc:docMk/>
            <pc:sldMk cId="3406687889" sldId="323"/>
            <ac:grpSpMk id="43" creationId="{2C9420A4-AF1C-DA36-1C09-FC925013AFFD}"/>
          </ac:grpSpMkLst>
        </pc:grpChg>
      </pc:sldChg>
      <pc:sldChg chg="addSp modSp new mod">
        <pc:chgData name="Nomeli, Mo" userId="03501b65-0e27-4b56-8c1f-6f5a4f41fafa" providerId="ADAL" clId="{9FADF72D-A898-518F-828F-25536BDA367F}" dt="2025-08-19T23:24:33.203" v="550" actId="1076"/>
        <pc:sldMkLst>
          <pc:docMk/>
          <pc:sldMk cId="1797211508" sldId="324"/>
        </pc:sldMkLst>
        <pc:spChg chg="mod">
          <ac:chgData name="Nomeli, Mo" userId="03501b65-0e27-4b56-8c1f-6f5a4f41fafa" providerId="ADAL" clId="{9FADF72D-A898-518F-828F-25536BDA367F}" dt="2025-08-19T23:03:32.025" v="393"/>
          <ac:spMkLst>
            <pc:docMk/>
            <pc:sldMk cId="1797211508" sldId="324"/>
            <ac:spMk id="2" creationId="{87CE89AB-A01A-8CB1-5567-B657FEE2C5FA}"/>
          </ac:spMkLst>
        </pc:spChg>
        <pc:spChg chg="mod">
          <ac:chgData name="Nomeli, Mo" userId="03501b65-0e27-4b56-8c1f-6f5a4f41fafa" providerId="ADAL" clId="{9FADF72D-A898-518F-828F-25536BDA367F}" dt="2025-08-19T23:03:18.318" v="391"/>
          <ac:spMkLst>
            <pc:docMk/>
            <pc:sldMk cId="1797211508" sldId="324"/>
            <ac:spMk id="4" creationId="{D3938E92-0A1F-B3FD-F277-94D66DE75C2A}"/>
          </ac:spMkLst>
        </pc:spChg>
        <pc:spChg chg="mod">
          <ac:chgData name="Nomeli, Mo" userId="03501b65-0e27-4b56-8c1f-6f5a4f41fafa" providerId="ADAL" clId="{9FADF72D-A898-518F-828F-25536BDA367F}" dt="2025-08-19T23:03:18.318" v="391"/>
          <ac:spMkLst>
            <pc:docMk/>
            <pc:sldMk cId="1797211508" sldId="324"/>
            <ac:spMk id="5" creationId="{07544D4E-6C1B-F28A-5791-8ABD2AA2C323}"/>
          </ac:spMkLst>
        </pc:spChg>
        <pc:spChg chg="mod">
          <ac:chgData name="Nomeli, Mo" userId="03501b65-0e27-4b56-8c1f-6f5a4f41fafa" providerId="ADAL" clId="{9FADF72D-A898-518F-828F-25536BDA367F}" dt="2025-08-19T23:03:18.318" v="391"/>
          <ac:spMkLst>
            <pc:docMk/>
            <pc:sldMk cId="1797211508" sldId="324"/>
            <ac:spMk id="6" creationId="{7E561FA2-3FD8-0896-9007-258A17B7149A}"/>
          </ac:spMkLst>
        </pc:spChg>
        <pc:spChg chg="mod">
          <ac:chgData name="Nomeli, Mo" userId="03501b65-0e27-4b56-8c1f-6f5a4f41fafa" providerId="ADAL" clId="{9FADF72D-A898-518F-828F-25536BDA367F}" dt="2025-08-19T23:03:18.318" v="391"/>
          <ac:spMkLst>
            <pc:docMk/>
            <pc:sldMk cId="1797211508" sldId="324"/>
            <ac:spMk id="10" creationId="{9D8CCE51-F154-705B-A3AC-DD5DD720B96E}"/>
          </ac:spMkLst>
        </pc:spChg>
        <pc:spChg chg="mod">
          <ac:chgData name="Nomeli, Mo" userId="03501b65-0e27-4b56-8c1f-6f5a4f41fafa" providerId="ADAL" clId="{9FADF72D-A898-518F-828F-25536BDA367F}" dt="2025-08-19T23:03:18.318" v="391"/>
          <ac:spMkLst>
            <pc:docMk/>
            <pc:sldMk cId="1797211508" sldId="324"/>
            <ac:spMk id="12" creationId="{6D43346A-22B9-BBDC-E7FB-535B762EEFBA}"/>
          </ac:spMkLst>
        </pc:spChg>
        <pc:spChg chg="mod">
          <ac:chgData name="Nomeli, Mo" userId="03501b65-0e27-4b56-8c1f-6f5a4f41fafa" providerId="ADAL" clId="{9FADF72D-A898-518F-828F-25536BDA367F}" dt="2025-08-19T23:03:43.592" v="394" actId="1076"/>
          <ac:spMkLst>
            <pc:docMk/>
            <pc:sldMk cId="1797211508" sldId="324"/>
            <ac:spMk id="13" creationId="{C6352AB7-90DD-8D51-40F5-FE81B3208144}"/>
          </ac:spMkLst>
        </pc:spChg>
        <pc:spChg chg="mod">
          <ac:chgData name="Nomeli, Mo" userId="03501b65-0e27-4b56-8c1f-6f5a4f41fafa" providerId="ADAL" clId="{9FADF72D-A898-518F-828F-25536BDA367F}" dt="2025-08-19T23:03:43.592" v="394" actId="1076"/>
          <ac:spMkLst>
            <pc:docMk/>
            <pc:sldMk cId="1797211508" sldId="324"/>
            <ac:spMk id="14" creationId="{7B0D437C-7B00-4184-55C5-32A29363EA58}"/>
          </ac:spMkLst>
        </pc:spChg>
        <pc:spChg chg="add mod">
          <ac:chgData name="Nomeli, Mo" userId="03501b65-0e27-4b56-8c1f-6f5a4f41fafa" providerId="ADAL" clId="{9FADF72D-A898-518F-828F-25536BDA367F}" dt="2025-08-19T23:03:43.592" v="394" actId="1076"/>
          <ac:spMkLst>
            <pc:docMk/>
            <pc:sldMk cId="1797211508" sldId="324"/>
            <ac:spMk id="15" creationId="{0352A4F9-F2B9-0439-51AD-0F05CD4E8907}"/>
          </ac:spMkLst>
        </pc:spChg>
        <pc:spChg chg="add mod">
          <ac:chgData name="Nomeli, Mo" userId="03501b65-0e27-4b56-8c1f-6f5a4f41fafa" providerId="ADAL" clId="{9FADF72D-A898-518F-828F-25536BDA367F}" dt="2025-08-19T23:03:43.592" v="394" actId="1076"/>
          <ac:spMkLst>
            <pc:docMk/>
            <pc:sldMk cId="1797211508" sldId="324"/>
            <ac:spMk id="16" creationId="{DA407C69-8C6D-5C37-8E27-6E6EDA19314C}"/>
          </ac:spMkLst>
        </pc:spChg>
        <pc:spChg chg="mod">
          <ac:chgData name="Nomeli, Mo" userId="03501b65-0e27-4b56-8c1f-6f5a4f41fafa" providerId="ADAL" clId="{9FADF72D-A898-518F-828F-25536BDA367F}" dt="2025-08-19T23:03:43.592" v="394" actId="1076"/>
          <ac:spMkLst>
            <pc:docMk/>
            <pc:sldMk cId="1797211508" sldId="324"/>
            <ac:spMk id="17" creationId="{03C6BFB3-D03A-14E8-D1A4-6592C481D237}"/>
          </ac:spMkLst>
        </pc:spChg>
        <pc:spChg chg="add mod">
          <ac:chgData name="Nomeli, Mo" userId="03501b65-0e27-4b56-8c1f-6f5a4f41fafa" providerId="ADAL" clId="{9FADF72D-A898-518F-828F-25536BDA367F}" dt="2025-08-19T23:03:43.592" v="394" actId="1076"/>
          <ac:spMkLst>
            <pc:docMk/>
            <pc:sldMk cId="1797211508" sldId="324"/>
            <ac:spMk id="18" creationId="{020A39DA-0B06-4647-B341-E9722B677956}"/>
          </ac:spMkLst>
        </pc:spChg>
        <pc:spChg chg="add mod">
          <ac:chgData name="Nomeli, Mo" userId="03501b65-0e27-4b56-8c1f-6f5a4f41fafa" providerId="ADAL" clId="{9FADF72D-A898-518F-828F-25536BDA367F}" dt="2025-08-19T23:03:43.592" v="394" actId="1076"/>
          <ac:spMkLst>
            <pc:docMk/>
            <pc:sldMk cId="1797211508" sldId="324"/>
            <ac:spMk id="19" creationId="{1B733195-7F18-5178-1E74-6E119EBCBADB}"/>
          </ac:spMkLst>
        </pc:spChg>
        <pc:spChg chg="add mod">
          <ac:chgData name="Nomeli, Mo" userId="03501b65-0e27-4b56-8c1f-6f5a4f41fafa" providerId="ADAL" clId="{9FADF72D-A898-518F-828F-25536BDA367F}" dt="2025-08-19T23:03:43.592" v="394" actId="1076"/>
          <ac:spMkLst>
            <pc:docMk/>
            <pc:sldMk cId="1797211508" sldId="324"/>
            <ac:spMk id="20" creationId="{A0FFCA92-DAF9-3698-5B81-B687B96A15B0}"/>
          </ac:spMkLst>
        </pc:spChg>
        <pc:spChg chg="mod">
          <ac:chgData name="Nomeli, Mo" userId="03501b65-0e27-4b56-8c1f-6f5a4f41fafa" providerId="ADAL" clId="{9FADF72D-A898-518F-828F-25536BDA367F}" dt="2025-08-19T23:05:14.946" v="407" actId="403"/>
          <ac:spMkLst>
            <pc:docMk/>
            <pc:sldMk cId="1797211508" sldId="324"/>
            <ac:spMk id="26" creationId="{6766F08A-7E3F-68C8-1C2D-9E5A673CCACD}"/>
          </ac:spMkLst>
        </pc:spChg>
        <pc:spChg chg="mod">
          <ac:chgData name="Nomeli, Mo" userId="03501b65-0e27-4b56-8c1f-6f5a4f41fafa" providerId="ADAL" clId="{9FADF72D-A898-518F-828F-25536BDA367F}" dt="2025-08-19T23:05:14.946" v="407" actId="403"/>
          <ac:spMkLst>
            <pc:docMk/>
            <pc:sldMk cId="1797211508" sldId="324"/>
            <ac:spMk id="28" creationId="{31A7788D-DFD1-EB60-0E56-1CDA8EEBE37C}"/>
          </ac:spMkLst>
        </pc:spChg>
        <pc:spChg chg="mod">
          <ac:chgData name="Nomeli, Mo" userId="03501b65-0e27-4b56-8c1f-6f5a4f41fafa" providerId="ADAL" clId="{9FADF72D-A898-518F-828F-25536BDA367F}" dt="2025-08-19T23:05:14.946" v="407" actId="403"/>
          <ac:spMkLst>
            <pc:docMk/>
            <pc:sldMk cId="1797211508" sldId="324"/>
            <ac:spMk id="29" creationId="{AA477A23-2FE7-D462-F0AD-B6376A063D35}"/>
          </ac:spMkLst>
        </pc:spChg>
        <pc:spChg chg="mod">
          <ac:chgData name="Nomeli, Mo" userId="03501b65-0e27-4b56-8c1f-6f5a4f41fafa" providerId="ADAL" clId="{9FADF72D-A898-518F-828F-25536BDA367F}" dt="2025-08-19T23:05:14.946" v="407" actId="403"/>
          <ac:spMkLst>
            <pc:docMk/>
            <pc:sldMk cId="1797211508" sldId="324"/>
            <ac:spMk id="32" creationId="{01B3B33C-C6B6-BA8C-E1FE-BAB3E26FA581}"/>
          </ac:spMkLst>
        </pc:spChg>
        <pc:spChg chg="add mod">
          <ac:chgData name="Nomeli, Mo" userId="03501b65-0e27-4b56-8c1f-6f5a4f41fafa" providerId="ADAL" clId="{9FADF72D-A898-518F-828F-25536BDA367F}" dt="2025-08-19T23:05:14.946" v="407" actId="403"/>
          <ac:spMkLst>
            <pc:docMk/>
            <pc:sldMk cId="1797211508" sldId="324"/>
            <ac:spMk id="33" creationId="{458E3345-5232-91C2-6A3F-C6825825E67C}"/>
          </ac:spMkLst>
        </pc:spChg>
        <pc:spChg chg="mod">
          <ac:chgData name="Nomeli, Mo" userId="03501b65-0e27-4b56-8c1f-6f5a4f41fafa" providerId="ADAL" clId="{9FADF72D-A898-518F-828F-25536BDA367F}" dt="2025-08-19T23:05:00.096" v="397" actId="164"/>
          <ac:spMkLst>
            <pc:docMk/>
            <pc:sldMk cId="1797211508" sldId="324"/>
            <ac:spMk id="34" creationId="{BD362751-1A5C-001A-0406-E7748CFF4F0C}"/>
          </ac:spMkLst>
        </pc:spChg>
        <pc:spChg chg="add mod">
          <ac:chgData name="Nomeli, Mo" userId="03501b65-0e27-4b56-8c1f-6f5a4f41fafa" providerId="ADAL" clId="{9FADF72D-A898-518F-828F-25536BDA367F}" dt="2025-08-19T23:05:14.946" v="407" actId="403"/>
          <ac:spMkLst>
            <pc:docMk/>
            <pc:sldMk cId="1797211508" sldId="324"/>
            <ac:spMk id="35" creationId="{261620FE-F05D-4BFF-02BF-EB84CC2F3449}"/>
          </ac:spMkLst>
        </pc:spChg>
        <pc:spChg chg="add mod">
          <ac:chgData name="Nomeli, Mo" userId="03501b65-0e27-4b56-8c1f-6f5a4f41fafa" providerId="ADAL" clId="{9FADF72D-A898-518F-828F-25536BDA367F}" dt="2025-08-19T23:05:14.946" v="407" actId="403"/>
          <ac:spMkLst>
            <pc:docMk/>
            <pc:sldMk cId="1797211508" sldId="324"/>
            <ac:spMk id="36" creationId="{945BEEF2-B230-2C4F-35CE-46A956D4558D}"/>
          </ac:spMkLst>
        </pc:spChg>
        <pc:spChg chg="add mod">
          <ac:chgData name="Nomeli, Mo" userId="03501b65-0e27-4b56-8c1f-6f5a4f41fafa" providerId="ADAL" clId="{9FADF72D-A898-518F-828F-25536BDA367F}" dt="2025-08-19T23:05:14.946" v="407" actId="403"/>
          <ac:spMkLst>
            <pc:docMk/>
            <pc:sldMk cId="1797211508" sldId="324"/>
            <ac:spMk id="37" creationId="{4F014012-676A-020C-E59D-8FCACF8DD637}"/>
          </ac:spMkLst>
        </pc:spChg>
        <pc:spChg chg="add mod">
          <ac:chgData name="Nomeli, Mo" userId="03501b65-0e27-4b56-8c1f-6f5a4f41fafa" providerId="ADAL" clId="{9FADF72D-A898-518F-828F-25536BDA367F}" dt="2025-08-19T23:05:14.946" v="407" actId="403"/>
          <ac:spMkLst>
            <pc:docMk/>
            <pc:sldMk cId="1797211508" sldId="324"/>
            <ac:spMk id="38" creationId="{2D558E97-CAEB-A733-2492-C67E0E1EA19B}"/>
          </ac:spMkLst>
        </pc:spChg>
        <pc:spChg chg="add mod">
          <ac:chgData name="Nomeli, Mo" userId="03501b65-0e27-4b56-8c1f-6f5a4f41fafa" providerId="ADAL" clId="{9FADF72D-A898-518F-828F-25536BDA367F}" dt="2025-08-19T23:05:14.946" v="407" actId="403"/>
          <ac:spMkLst>
            <pc:docMk/>
            <pc:sldMk cId="1797211508" sldId="324"/>
            <ac:spMk id="39" creationId="{6FA50344-6890-F76B-B12C-251044495422}"/>
          </ac:spMkLst>
        </pc:spChg>
        <pc:spChg chg="mod">
          <ac:chgData name="Nomeli, Mo" userId="03501b65-0e27-4b56-8c1f-6f5a4f41fafa" providerId="ADAL" clId="{9FADF72D-A898-518F-828F-25536BDA367F}" dt="2025-08-19T23:05:00.096" v="397" actId="164"/>
          <ac:spMkLst>
            <pc:docMk/>
            <pc:sldMk cId="1797211508" sldId="324"/>
            <ac:spMk id="40" creationId="{279FA169-1993-14DF-CB2D-3ECF20035EF2}"/>
          </ac:spMkLst>
        </pc:spChg>
        <pc:grpChg chg="mod">
          <ac:chgData name="Nomeli, Mo" userId="03501b65-0e27-4b56-8c1f-6f5a4f41fafa" providerId="ADAL" clId="{9FADF72D-A898-518F-828F-25536BDA367F}" dt="2025-08-19T23:03:43.592" v="394" actId="1076"/>
          <ac:grpSpMkLst>
            <pc:docMk/>
            <pc:sldMk cId="1797211508" sldId="324"/>
            <ac:grpSpMk id="3" creationId="{56E61DE1-4083-3647-4D9B-D24BBD4C6C96}"/>
          </ac:grpSpMkLst>
        </pc:grpChg>
        <pc:grpChg chg="mod">
          <ac:chgData name="Nomeli, Mo" userId="03501b65-0e27-4b56-8c1f-6f5a4f41fafa" providerId="ADAL" clId="{9FADF72D-A898-518F-828F-25536BDA367F}" dt="2025-08-19T23:03:43.592" v="394" actId="1076"/>
          <ac:grpSpMkLst>
            <pc:docMk/>
            <pc:sldMk cId="1797211508" sldId="324"/>
            <ac:grpSpMk id="8" creationId="{3FC27721-9932-53A8-CDD1-7E3256735480}"/>
          </ac:grpSpMkLst>
        </pc:grpChg>
        <pc:grpChg chg="mod">
          <ac:chgData name="Nomeli, Mo" userId="03501b65-0e27-4b56-8c1f-6f5a4f41fafa" providerId="ADAL" clId="{9FADF72D-A898-518F-828F-25536BDA367F}" dt="2025-08-19T23:05:00.096" v="397" actId="164"/>
          <ac:grpSpMkLst>
            <pc:docMk/>
            <pc:sldMk cId="1797211508" sldId="324"/>
            <ac:grpSpMk id="24" creationId="{CB06436C-D4A8-4B62-FE25-61D66AEC82DE}"/>
          </ac:grpSpMkLst>
        </pc:grpChg>
        <pc:grpChg chg="mod">
          <ac:chgData name="Nomeli, Mo" userId="03501b65-0e27-4b56-8c1f-6f5a4f41fafa" providerId="ADAL" clId="{9FADF72D-A898-518F-828F-25536BDA367F}" dt="2025-08-19T23:05:00.096" v="397" actId="164"/>
          <ac:grpSpMkLst>
            <pc:docMk/>
            <pc:sldMk cId="1797211508" sldId="324"/>
            <ac:grpSpMk id="30" creationId="{447CADD6-4AEB-67AE-2301-AB02DA7097DE}"/>
          </ac:grpSpMkLst>
        </pc:grpChg>
        <pc:grpChg chg="mod">
          <ac:chgData name="Nomeli, Mo" userId="03501b65-0e27-4b56-8c1f-6f5a4f41fafa" providerId="ADAL" clId="{9FADF72D-A898-518F-828F-25536BDA367F}" dt="2025-08-19T23:24:33.203" v="550" actId="1076"/>
          <ac:grpSpMkLst>
            <pc:docMk/>
            <pc:sldMk cId="1797211508" sldId="324"/>
            <ac:grpSpMk id="41" creationId="{68C8988C-D845-F9C8-D435-B8518B8F1BF6}"/>
          </ac:grpSpMkLst>
        </pc:grpChg>
      </pc:sldChg>
      <pc:sldChg chg="addSp delSp modSp new mod">
        <pc:chgData name="Nomeli, Mo" userId="03501b65-0e27-4b56-8c1f-6f5a4f41fafa" providerId="ADAL" clId="{9FADF72D-A898-518F-828F-25536BDA367F}" dt="2025-08-19T23:11:53.757" v="429"/>
        <pc:sldMkLst>
          <pc:docMk/>
          <pc:sldMk cId="1149718372" sldId="325"/>
        </pc:sldMkLst>
        <pc:spChg chg="mod">
          <ac:chgData name="Nomeli, Mo" userId="03501b65-0e27-4b56-8c1f-6f5a4f41fafa" providerId="ADAL" clId="{9FADF72D-A898-518F-828F-25536BDA367F}" dt="2025-08-19T23:11:53.757" v="429"/>
          <ac:spMkLst>
            <pc:docMk/>
            <pc:sldMk cId="1149718372" sldId="325"/>
            <ac:spMk id="2" creationId="{269F6B63-BD30-6F73-28FF-8A3E7B62D9D7}"/>
          </ac:spMkLst>
        </pc:spChg>
        <pc:spChg chg="mod">
          <ac:chgData name="Nomeli, Mo" userId="03501b65-0e27-4b56-8c1f-6f5a4f41fafa" providerId="ADAL" clId="{9FADF72D-A898-518F-828F-25536BDA367F}" dt="2025-08-19T23:11:39.604" v="428" actId="403"/>
          <ac:spMkLst>
            <pc:docMk/>
            <pc:sldMk cId="1149718372" sldId="325"/>
            <ac:spMk id="23" creationId="{01FF4CAC-3569-0C97-61CE-E9A2243936BB}"/>
          </ac:spMkLst>
        </pc:spChg>
        <pc:spChg chg="mod">
          <ac:chgData name="Nomeli, Mo" userId="03501b65-0e27-4b56-8c1f-6f5a4f41fafa" providerId="ADAL" clId="{9FADF72D-A898-518F-828F-25536BDA367F}" dt="2025-08-19T23:11:01.068" v="410" actId="164"/>
          <ac:spMkLst>
            <pc:docMk/>
            <pc:sldMk cId="1149718372" sldId="325"/>
            <ac:spMk id="24" creationId="{6CD9BA69-58A9-ADDA-0AAD-FC1D38CC9CAF}"/>
          </ac:spMkLst>
        </pc:spChg>
        <pc:spChg chg="mod">
          <ac:chgData name="Nomeli, Mo" userId="03501b65-0e27-4b56-8c1f-6f5a4f41fafa" providerId="ADAL" clId="{9FADF72D-A898-518F-828F-25536BDA367F}" dt="2025-08-19T23:11:01.068" v="410" actId="164"/>
          <ac:spMkLst>
            <pc:docMk/>
            <pc:sldMk cId="1149718372" sldId="325"/>
            <ac:spMk id="25" creationId="{1326F02F-ED27-606C-1FA3-9645F8D299C4}"/>
          </ac:spMkLst>
        </pc:spChg>
        <pc:spChg chg="mod">
          <ac:chgData name="Nomeli, Mo" userId="03501b65-0e27-4b56-8c1f-6f5a4f41fafa" providerId="ADAL" clId="{9FADF72D-A898-518F-828F-25536BDA367F}" dt="2025-08-19T23:11:01.068" v="410" actId="164"/>
          <ac:spMkLst>
            <pc:docMk/>
            <pc:sldMk cId="1149718372" sldId="325"/>
            <ac:spMk id="26" creationId="{53C564FA-BEA4-CE99-CA4D-DE78AADE48B9}"/>
          </ac:spMkLst>
        </pc:spChg>
        <pc:spChg chg="add mod topLvl">
          <ac:chgData name="Nomeli, Mo" userId="03501b65-0e27-4b56-8c1f-6f5a4f41fafa" providerId="ADAL" clId="{9FADF72D-A898-518F-828F-25536BDA367F}" dt="2025-08-19T23:11:39.604" v="428" actId="403"/>
          <ac:spMkLst>
            <pc:docMk/>
            <pc:sldMk cId="1149718372" sldId="325"/>
            <ac:spMk id="27" creationId="{6E03C258-643A-C7D6-C026-4D54B025345B}"/>
          </ac:spMkLst>
        </pc:spChg>
        <pc:spChg chg="mod">
          <ac:chgData name="Nomeli, Mo" userId="03501b65-0e27-4b56-8c1f-6f5a4f41fafa" providerId="ADAL" clId="{9FADF72D-A898-518F-828F-25536BDA367F}" dt="2025-08-19T23:11:01.068" v="410" actId="164"/>
          <ac:spMkLst>
            <pc:docMk/>
            <pc:sldMk cId="1149718372" sldId="325"/>
            <ac:spMk id="28" creationId="{F1AD8DE6-C938-7DB6-59EF-82214160D609}"/>
          </ac:spMkLst>
        </pc:spChg>
        <pc:spChg chg="add mod topLvl">
          <ac:chgData name="Nomeli, Mo" userId="03501b65-0e27-4b56-8c1f-6f5a4f41fafa" providerId="ADAL" clId="{9FADF72D-A898-518F-828F-25536BDA367F}" dt="2025-08-19T23:11:39.604" v="428" actId="403"/>
          <ac:spMkLst>
            <pc:docMk/>
            <pc:sldMk cId="1149718372" sldId="325"/>
            <ac:spMk id="30" creationId="{30215A8D-EB3D-1F5F-89CE-5C5FC68D34E0}"/>
          </ac:spMkLst>
        </pc:spChg>
        <pc:spChg chg="add mod topLvl">
          <ac:chgData name="Nomeli, Mo" userId="03501b65-0e27-4b56-8c1f-6f5a4f41fafa" providerId="ADAL" clId="{9FADF72D-A898-518F-828F-25536BDA367F}" dt="2025-08-19T23:11:39.604" v="428" actId="403"/>
          <ac:spMkLst>
            <pc:docMk/>
            <pc:sldMk cId="1149718372" sldId="325"/>
            <ac:spMk id="32" creationId="{0B6E67BD-C1FA-D560-CF9D-72C0C40A5FB7}"/>
          </ac:spMkLst>
        </pc:spChg>
        <pc:spChg chg="add mod topLvl">
          <ac:chgData name="Nomeli, Mo" userId="03501b65-0e27-4b56-8c1f-6f5a4f41fafa" providerId="ADAL" clId="{9FADF72D-A898-518F-828F-25536BDA367F}" dt="2025-08-19T23:11:39.604" v="428" actId="403"/>
          <ac:spMkLst>
            <pc:docMk/>
            <pc:sldMk cId="1149718372" sldId="325"/>
            <ac:spMk id="33" creationId="{3FB1C8E9-0ADB-3D83-6E48-402616FBB538}"/>
          </ac:spMkLst>
        </pc:spChg>
        <pc:spChg chg="add mod topLvl">
          <ac:chgData name="Nomeli, Mo" userId="03501b65-0e27-4b56-8c1f-6f5a4f41fafa" providerId="ADAL" clId="{9FADF72D-A898-518F-828F-25536BDA367F}" dt="2025-08-19T23:11:39.604" v="428" actId="403"/>
          <ac:spMkLst>
            <pc:docMk/>
            <pc:sldMk cId="1149718372" sldId="325"/>
            <ac:spMk id="34" creationId="{B96045C9-9B41-4A08-6D3F-07F4F3026BCD}"/>
          </ac:spMkLst>
        </pc:spChg>
        <pc:spChg chg="mod">
          <ac:chgData name="Nomeli, Mo" userId="03501b65-0e27-4b56-8c1f-6f5a4f41fafa" providerId="ADAL" clId="{9FADF72D-A898-518F-828F-25536BDA367F}" dt="2025-08-19T23:11:01.068" v="410" actId="164"/>
          <ac:spMkLst>
            <pc:docMk/>
            <pc:sldMk cId="1149718372" sldId="325"/>
            <ac:spMk id="35" creationId="{7D94132C-02E1-0DE3-10A9-4C575F1A6CAE}"/>
          </ac:spMkLst>
        </pc:spChg>
        <pc:spChg chg="mod">
          <ac:chgData name="Nomeli, Mo" userId="03501b65-0e27-4b56-8c1f-6f5a4f41fafa" providerId="ADAL" clId="{9FADF72D-A898-518F-828F-25536BDA367F}" dt="2025-08-19T23:11:01.068" v="410" actId="164"/>
          <ac:spMkLst>
            <pc:docMk/>
            <pc:sldMk cId="1149718372" sldId="325"/>
            <ac:spMk id="37" creationId="{45347226-53D0-4DBE-3B55-DA39B79E64C5}"/>
          </ac:spMkLst>
        </pc:spChg>
        <pc:spChg chg="add mod topLvl">
          <ac:chgData name="Nomeli, Mo" userId="03501b65-0e27-4b56-8c1f-6f5a4f41fafa" providerId="ADAL" clId="{9FADF72D-A898-518F-828F-25536BDA367F}" dt="2025-08-19T23:11:39.604" v="428" actId="403"/>
          <ac:spMkLst>
            <pc:docMk/>
            <pc:sldMk cId="1149718372" sldId="325"/>
            <ac:spMk id="38" creationId="{66AEFE3D-0E26-AD3A-E154-377F44A44FE1}"/>
          </ac:spMkLst>
        </pc:spChg>
        <pc:spChg chg="add mod topLvl">
          <ac:chgData name="Nomeli, Mo" userId="03501b65-0e27-4b56-8c1f-6f5a4f41fafa" providerId="ADAL" clId="{9FADF72D-A898-518F-828F-25536BDA367F}" dt="2025-08-19T23:11:39.604" v="428" actId="403"/>
          <ac:spMkLst>
            <pc:docMk/>
            <pc:sldMk cId="1149718372" sldId="325"/>
            <ac:spMk id="39" creationId="{849C56A9-DB9F-66D9-A270-140AB0FAAAC4}"/>
          </ac:spMkLst>
        </pc:spChg>
        <pc:spChg chg="add mod topLvl">
          <ac:chgData name="Nomeli, Mo" userId="03501b65-0e27-4b56-8c1f-6f5a4f41fafa" providerId="ADAL" clId="{9FADF72D-A898-518F-828F-25536BDA367F}" dt="2025-08-19T23:11:39.604" v="428" actId="403"/>
          <ac:spMkLst>
            <pc:docMk/>
            <pc:sldMk cId="1149718372" sldId="325"/>
            <ac:spMk id="41" creationId="{56FC0543-A37F-7EA6-3D64-3BFA0AD72B23}"/>
          </ac:spMkLst>
        </pc:spChg>
        <pc:spChg chg="add mod topLvl">
          <ac:chgData name="Nomeli, Mo" userId="03501b65-0e27-4b56-8c1f-6f5a4f41fafa" providerId="ADAL" clId="{9FADF72D-A898-518F-828F-25536BDA367F}" dt="2025-08-19T23:11:39.604" v="428" actId="403"/>
          <ac:spMkLst>
            <pc:docMk/>
            <pc:sldMk cId="1149718372" sldId="325"/>
            <ac:spMk id="42" creationId="{AD4B32B4-64E7-64AA-13A6-3C2DF28532EE}"/>
          </ac:spMkLst>
        </pc:spChg>
        <pc:spChg chg="mod">
          <ac:chgData name="Nomeli, Mo" userId="03501b65-0e27-4b56-8c1f-6f5a4f41fafa" providerId="ADAL" clId="{9FADF72D-A898-518F-828F-25536BDA367F}" dt="2025-08-19T23:11:01.068" v="410" actId="164"/>
          <ac:spMkLst>
            <pc:docMk/>
            <pc:sldMk cId="1149718372" sldId="325"/>
            <ac:spMk id="43" creationId="{E4DF1A41-C439-8073-43C2-F67F06CE9A7C}"/>
          </ac:spMkLst>
        </pc:spChg>
        <pc:spChg chg="mod">
          <ac:chgData name="Nomeli, Mo" userId="03501b65-0e27-4b56-8c1f-6f5a4f41fafa" providerId="ADAL" clId="{9FADF72D-A898-518F-828F-25536BDA367F}" dt="2025-08-19T23:11:01.068" v="410" actId="164"/>
          <ac:spMkLst>
            <pc:docMk/>
            <pc:sldMk cId="1149718372" sldId="325"/>
            <ac:spMk id="44" creationId="{EF750215-47B6-F66E-536B-5F3591349E93}"/>
          </ac:spMkLst>
        </pc:spChg>
        <pc:grpChg chg="mod">
          <ac:chgData name="Nomeli, Mo" userId="03501b65-0e27-4b56-8c1f-6f5a4f41fafa" providerId="ADAL" clId="{9FADF72D-A898-518F-828F-25536BDA367F}" dt="2025-08-19T23:11:22.865" v="424" actId="1076"/>
          <ac:grpSpMkLst>
            <pc:docMk/>
            <pc:sldMk cId="1149718372" sldId="325"/>
            <ac:grpSpMk id="45" creationId="{A1DD02A0-052D-A9D3-995D-A6827E400F17}"/>
          </ac:grpSpMkLst>
        </pc:grpChg>
      </pc:sldChg>
      <pc:sldChg chg="addSp delSp modSp new mod">
        <pc:chgData name="Nomeli, Mo" userId="03501b65-0e27-4b56-8c1f-6f5a4f41fafa" providerId="ADAL" clId="{9FADF72D-A898-518F-828F-25536BDA367F}" dt="2025-08-19T23:26:03.870" v="563" actId="1076"/>
        <pc:sldMkLst>
          <pc:docMk/>
          <pc:sldMk cId="1176888252" sldId="327"/>
        </pc:sldMkLst>
        <pc:spChg chg="mod">
          <ac:chgData name="Nomeli, Mo" userId="03501b65-0e27-4b56-8c1f-6f5a4f41fafa" providerId="ADAL" clId="{9FADF72D-A898-518F-828F-25536BDA367F}" dt="2025-08-19T23:18:14.780" v="514" actId="20577"/>
          <ac:spMkLst>
            <pc:docMk/>
            <pc:sldMk cId="1176888252" sldId="327"/>
            <ac:spMk id="2" creationId="{F43E47A4-2958-924C-E856-2D7DF3762859}"/>
          </ac:spMkLst>
        </pc:spChg>
        <pc:spChg chg="mod">
          <ac:chgData name="Nomeli, Mo" userId="03501b65-0e27-4b56-8c1f-6f5a4f41fafa" providerId="ADAL" clId="{9FADF72D-A898-518F-828F-25536BDA367F}" dt="2025-08-19T23:17:38.171" v="507" actId="404"/>
          <ac:spMkLst>
            <pc:docMk/>
            <pc:sldMk cId="1176888252" sldId="327"/>
            <ac:spMk id="5" creationId="{84A1B28A-FBD1-8D0A-05F3-F8A6A518D681}"/>
          </ac:spMkLst>
        </pc:spChg>
        <pc:spChg chg="mod">
          <ac:chgData name="Nomeli, Mo" userId="03501b65-0e27-4b56-8c1f-6f5a4f41fafa" providerId="ADAL" clId="{9FADF72D-A898-518F-828F-25536BDA367F}" dt="2025-08-19T23:17:38.171" v="507" actId="404"/>
          <ac:spMkLst>
            <pc:docMk/>
            <pc:sldMk cId="1176888252" sldId="327"/>
            <ac:spMk id="8" creationId="{F44C243C-421E-D94D-4A72-25AD13C41DC5}"/>
          </ac:spMkLst>
        </pc:spChg>
        <pc:spChg chg="mod">
          <ac:chgData name="Nomeli, Mo" userId="03501b65-0e27-4b56-8c1f-6f5a4f41fafa" providerId="ADAL" clId="{9FADF72D-A898-518F-828F-25536BDA367F}" dt="2025-08-19T23:17:38.171" v="507" actId="404"/>
          <ac:spMkLst>
            <pc:docMk/>
            <pc:sldMk cId="1176888252" sldId="327"/>
            <ac:spMk id="10" creationId="{61F35886-976D-4E5A-818E-2B29C1437C88}"/>
          </ac:spMkLst>
        </pc:spChg>
        <pc:spChg chg="mod">
          <ac:chgData name="Nomeli, Mo" userId="03501b65-0e27-4b56-8c1f-6f5a4f41fafa" providerId="ADAL" clId="{9FADF72D-A898-518F-828F-25536BDA367F}" dt="2025-08-19T23:17:38.171" v="507" actId="404"/>
          <ac:spMkLst>
            <pc:docMk/>
            <pc:sldMk cId="1176888252" sldId="327"/>
            <ac:spMk id="11" creationId="{FA24B73E-A51E-2164-6739-62CC788A9390}"/>
          </ac:spMkLst>
        </pc:spChg>
        <pc:spChg chg="mod">
          <ac:chgData name="Nomeli, Mo" userId="03501b65-0e27-4b56-8c1f-6f5a4f41fafa" providerId="ADAL" clId="{9FADF72D-A898-518F-828F-25536BDA367F}" dt="2025-08-19T23:17:38.171" v="507" actId="404"/>
          <ac:spMkLst>
            <pc:docMk/>
            <pc:sldMk cId="1176888252" sldId="327"/>
            <ac:spMk id="14" creationId="{DE489FD8-1879-3FDC-D7F1-DD3737CAD738}"/>
          </ac:spMkLst>
        </pc:spChg>
        <pc:spChg chg="add mod">
          <ac:chgData name="Nomeli, Mo" userId="03501b65-0e27-4b56-8c1f-6f5a4f41fafa" providerId="ADAL" clId="{9FADF72D-A898-518F-828F-25536BDA367F}" dt="2025-08-19T23:17:38.171" v="507" actId="404"/>
          <ac:spMkLst>
            <pc:docMk/>
            <pc:sldMk cId="1176888252" sldId="327"/>
            <ac:spMk id="19" creationId="{F468170A-BA51-A2B8-9813-C18FE0385A1E}"/>
          </ac:spMkLst>
        </pc:spChg>
        <pc:spChg chg="mod">
          <ac:chgData name="Nomeli, Mo" userId="03501b65-0e27-4b56-8c1f-6f5a4f41fafa" providerId="ADAL" clId="{9FADF72D-A898-518F-828F-25536BDA367F}" dt="2025-08-19T23:18:27.318" v="515" actId="1076"/>
          <ac:spMkLst>
            <pc:docMk/>
            <pc:sldMk cId="1176888252" sldId="327"/>
            <ac:spMk id="20" creationId="{C864F9C9-230B-E3FD-5F37-A7B540562386}"/>
          </ac:spMkLst>
        </pc:spChg>
        <pc:spChg chg="mod">
          <ac:chgData name="Nomeli, Mo" userId="03501b65-0e27-4b56-8c1f-6f5a4f41fafa" providerId="ADAL" clId="{9FADF72D-A898-518F-828F-25536BDA367F}" dt="2025-08-19T23:25:33.134" v="556" actId="1076"/>
          <ac:spMkLst>
            <pc:docMk/>
            <pc:sldMk cId="1176888252" sldId="327"/>
            <ac:spMk id="21" creationId="{07A75568-0325-3533-28EA-CA8069C2BA5B}"/>
          </ac:spMkLst>
        </pc:spChg>
        <pc:spChg chg="mod">
          <ac:chgData name="Nomeli, Mo" userId="03501b65-0e27-4b56-8c1f-6f5a4f41fafa" providerId="ADAL" clId="{9FADF72D-A898-518F-828F-25536BDA367F}" dt="2025-08-19T23:26:03.870" v="563" actId="1076"/>
          <ac:spMkLst>
            <pc:docMk/>
            <pc:sldMk cId="1176888252" sldId="327"/>
            <ac:spMk id="22" creationId="{496CFA83-1C2D-1920-F912-3A25BFA4E845}"/>
          </ac:spMkLst>
        </pc:spChg>
        <pc:spChg chg="add mod">
          <ac:chgData name="Nomeli, Mo" userId="03501b65-0e27-4b56-8c1f-6f5a4f41fafa" providerId="ADAL" clId="{9FADF72D-A898-518F-828F-25536BDA367F}" dt="2025-08-19T23:25:07.287" v="552" actId="14100"/>
          <ac:spMkLst>
            <pc:docMk/>
            <pc:sldMk cId="1176888252" sldId="327"/>
            <ac:spMk id="23" creationId="{9658FF2C-D4D0-4183-1487-B8AC31A39DE2}"/>
          </ac:spMkLst>
        </pc:spChg>
        <pc:spChg chg="mod">
          <ac:chgData name="Nomeli, Mo" userId="03501b65-0e27-4b56-8c1f-6f5a4f41fafa" providerId="ADAL" clId="{9FADF72D-A898-518F-828F-25536BDA367F}" dt="2025-08-19T23:25:17.854" v="554" actId="14100"/>
          <ac:spMkLst>
            <pc:docMk/>
            <pc:sldMk cId="1176888252" sldId="327"/>
            <ac:spMk id="24" creationId="{CFF772D2-200C-1EE9-4CFE-7F628DBC35C9}"/>
          </ac:spMkLst>
        </pc:spChg>
        <pc:spChg chg="mod">
          <ac:chgData name="Nomeli, Mo" userId="03501b65-0e27-4b56-8c1f-6f5a4f41fafa" providerId="ADAL" clId="{9FADF72D-A898-518F-828F-25536BDA367F}" dt="2025-08-19T23:25:40.400" v="559" actId="14100"/>
          <ac:spMkLst>
            <pc:docMk/>
            <pc:sldMk cId="1176888252" sldId="327"/>
            <ac:spMk id="25" creationId="{BE9910F1-D6C4-25C4-A670-B5F783B4B171}"/>
          </ac:spMkLst>
        </pc:spChg>
        <pc:spChg chg="mod">
          <ac:chgData name="Nomeli, Mo" userId="03501b65-0e27-4b56-8c1f-6f5a4f41fafa" providerId="ADAL" clId="{9FADF72D-A898-518F-828F-25536BDA367F}" dt="2025-08-19T23:26:03.870" v="563" actId="1076"/>
          <ac:spMkLst>
            <pc:docMk/>
            <pc:sldMk cId="1176888252" sldId="327"/>
            <ac:spMk id="26" creationId="{2F73AE1F-918C-F1F0-CFF9-133D9407F349}"/>
          </ac:spMkLst>
        </pc:spChg>
        <pc:spChg chg="add mod">
          <ac:chgData name="Nomeli, Mo" userId="03501b65-0e27-4b56-8c1f-6f5a4f41fafa" providerId="ADAL" clId="{9FADF72D-A898-518F-828F-25536BDA367F}" dt="2025-08-19T23:17:38.171" v="507" actId="404"/>
          <ac:spMkLst>
            <pc:docMk/>
            <pc:sldMk cId="1176888252" sldId="327"/>
            <ac:spMk id="27" creationId="{FE803378-5F42-1636-7311-8C11351F589E}"/>
          </ac:spMkLst>
        </pc:spChg>
        <pc:spChg chg="add mod">
          <ac:chgData name="Nomeli, Mo" userId="03501b65-0e27-4b56-8c1f-6f5a4f41fafa" providerId="ADAL" clId="{9FADF72D-A898-518F-828F-25536BDA367F}" dt="2025-08-19T23:17:38.171" v="507" actId="404"/>
          <ac:spMkLst>
            <pc:docMk/>
            <pc:sldMk cId="1176888252" sldId="327"/>
            <ac:spMk id="28" creationId="{DCE778DD-484F-7B68-F424-0A76624CB88A}"/>
          </ac:spMkLst>
        </pc:spChg>
        <pc:spChg chg="mod">
          <ac:chgData name="Nomeli, Mo" userId="03501b65-0e27-4b56-8c1f-6f5a4f41fafa" providerId="ADAL" clId="{9FADF72D-A898-518F-828F-25536BDA367F}" dt="2025-08-19T23:14:42.020" v="433" actId="164"/>
          <ac:spMkLst>
            <pc:docMk/>
            <pc:sldMk cId="1176888252" sldId="327"/>
            <ac:spMk id="29" creationId="{89924F1A-AB65-D553-37D5-C3BE65B776B1}"/>
          </ac:spMkLst>
        </pc:spChg>
        <pc:spChg chg="add mod">
          <ac:chgData name="Nomeli, Mo" userId="03501b65-0e27-4b56-8c1f-6f5a4f41fafa" providerId="ADAL" clId="{9FADF72D-A898-518F-828F-25536BDA367F}" dt="2025-08-19T23:17:38.171" v="507" actId="404"/>
          <ac:spMkLst>
            <pc:docMk/>
            <pc:sldMk cId="1176888252" sldId="327"/>
            <ac:spMk id="30" creationId="{1444B606-91FB-EC77-8D17-B407E9D2DFC0}"/>
          </ac:spMkLst>
        </pc:spChg>
        <pc:grpChg chg="mod">
          <ac:chgData name="Nomeli, Mo" userId="03501b65-0e27-4b56-8c1f-6f5a4f41fafa" providerId="ADAL" clId="{9FADF72D-A898-518F-828F-25536BDA367F}" dt="2025-08-19T23:14:42.020" v="433" actId="164"/>
          <ac:grpSpMkLst>
            <pc:docMk/>
            <pc:sldMk cId="1176888252" sldId="327"/>
            <ac:grpSpMk id="3" creationId="{6233B062-3A05-EECF-E252-8AC94CBCD6C6}"/>
          </ac:grpSpMkLst>
        </pc:grpChg>
        <pc:grpChg chg="mod">
          <ac:chgData name="Nomeli, Mo" userId="03501b65-0e27-4b56-8c1f-6f5a4f41fafa" providerId="ADAL" clId="{9FADF72D-A898-518F-828F-25536BDA367F}" dt="2025-08-19T23:14:42.020" v="433" actId="164"/>
          <ac:grpSpMkLst>
            <pc:docMk/>
            <pc:sldMk cId="1176888252" sldId="327"/>
            <ac:grpSpMk id="6" creationId="{44C45E91-A7FD-C148-0FA5-778CDBE948F3}"/>
          </ac:grpSpMkLst>
        </pc:grpChg>
        <pc:grpChg chg="mod">
          <ac:chgData name="Nomeli, Mo" userId="03501b65-0e27-4b56-8c1f-6f5a4f41fafa" providerId="ADAL" clId="{9FADF72D-A898-518F-828F-25536BDA367F}" dt="2025-08-19T23:14:42.020" v="433" actId="164"/>
          <ac:grpSpMkLst>
            <pc:docMk/>
            <pc:sldMk cId="1176888252" sldId="327"/>
            <ac:grpSpMk id="9" creationId="{AA084138-025E-3D90-6845-766D7730EA77}"/>
          </ac:grpSpMkLst>
        </pc:grpChg>
        <pc:grpChg chg="mod">
          <ac:chgData name="Nomeli, Mo" userId="03501b65-0e27-4b56-8c1f-6f5a4f41fafa" providerId="ADAL" clId="{9FADF72D-A898-518F-828F-25536BDA367F}" dt="2025-08-19T23:14:42.020" v="433" actId="164"/>
          <ac:grpSpMkLst>
            <pc:docMk/>
            <pc:sldMk cId="1176888252" sldId="327"/>
            <ac:grpSpMk id="12" creationId="{8491CC05-5EDD-EE9F-BB0D-BD64ED77AAC7}"/>
          </ac:grpSpMkLst>
        </pc:grpChg>
        <pc:grpChg chg="add mod">
          <ac:chgData name="Nomeli, Mo" userId="03501b65-0e27-4b56-8c1f-6f5a4f41fafa" providerId="ADAL" clId="{9FADF72D-A898-518F-828F-25536BDA367F}" dt="2025-08-19T23:17:11.439" v="493" actId="164"/>
          <ac:grpSpMkLst>
            <pc:docMk/>
            <pc:sldMk cId="1176888252" sldId="327"/>
            <ac:grpSpMk id="31" creationId="{13DE1589-1E81-902B-4458-F3B0545F86BB}"/>
          </ac:grpSpMkLst>
        </pc:grpChg>
        <pc:grpChg chg="add mod">
          <ac:chgData name="Nomeli, Mo" userId="03501b65-0e27-4b56-8c1f-6f5a4f41fafa" providerId="ADAL" clId="{9FADF72D-A898-518F-828F-25536BDA367F}" dt="2025-08-19T23:17:24.001" v="502" actId="1076"/>
          <ac:grpSpMkLst>
            <pc:docMk/>
            <pc:sldMk cId="1176888252" sldId="327"/>
            <ac:grpSpMk id="32" creationId="{CDB01080-329F-3CF5-E169-F33ABAE8D578}"/>
          </ac:grpSpMkLst>
        </pc:grpChg>
      </pc:sldChg>
      <pc:sldChg chg="addSp modSp new mod">
        <pc:chgData name="Nomeli, Mo" userId="03501b65-0e27-4b56-8c1f-6f5a4f41fafa" providerId="ADAL" clId="{9FADF72D-A898-518F-828F-25536BDA367F}" dt="2025-08-19T23:21:26.322" v="549" actId="403"/>
        <pc:sldMkLst>
          <pc:docMk/>
          <pc:sldMk cId="1367302050" sldId="328"/>
        </pc:sldMkLst>
        <pc:spChg chg="mod">
          <ac:chgData name="Nomeli, Mo" userId="03501b65-0e27-4b56-8c1f-6f5a4f41fafa" providerId="ADAL" clId="{9FADF72D-A898-518F-828F-25536BDA367F}" dt="2025-08-19T23:20:53.925" v="517"/>
          <ac:spMkLst>
            <pc:docMk/>
            <pc:sldMk cId="1367302050" sldId="328"/>
            <ac:spMk id="2" creationId="{613C86D6-E4FF-2004-EED1-E0B582117D79}"/>
          </ac:spMkLst>
        </pc:spChg>
        <pc:spChg chg="mod">
          <ac:chgData name="Nomeli, Mo" userId="03501b65-0e27-4b56-8c1f-6f5a4f41fafa" providerId="ADAL" clId="{9FADF72D-A898-518F-828F-25536BDA367F}" dt="2025-08-19T23:21:26.322" v="549" actId="403"/>
          <ac:spMkLst>
            <pc:docMk/>
            <pc:sldMk cId="1367302050" sldId="328"/>
            <ac:spMk id="4" creationId="{4903E97A-D2B6-C1E2-1230-E06CF27AD2C2}"/>
          </ac:spMkLst>
        </pc:spChg>
        <pc:spChg chg="mod">
          <ac:chgData name="Nomeli, Mo" userId="03501b65-0e27-4b56-8c1f-6f5a4f41fafa" providerId="ADAL" clId="{9FADF72D-A898-518F-828F-25536BDA367F}" dt="2025-08-19T23:21:26.322" v="549" actId="403"/>
          <ac:spMkLst>
            <pc:docMk/>
            <pc:sldMk cId="1367302050" sldId="328"/>
            <ac:spMk id="9" creationId="{DD4A54F5-EF46-D406-3607-BB3E9A419C2F}"/>
          </ac:spMkLst>
        </pc:spChg>
        <pc:spChg chg="mod">
          <ac:chgData name="Nomeli, Mo" userId="03501b65-0e27-4b56-8c1f-6f5a4f41fafa" providerId="ADAL" clId="{9FADF72D-A898-518F-828F-25536BDA367F}" dt="2025-08-19T23:21:26.322" v="549" actId="403"/>
          <ac:spMkLst>
            <pc:docMk/>
            <pc:sldMk cId="1367302050" sldId="328"/>
            <ac:spMk id="12" creationId="{C8CBAB74-4A43-6DA0-8DCD-B689037CC98A}"/>
          </ac:spMkLst>
        </pc:spChg>
        <pc:spChg chg="mod">
          <ac:chgData name="Nomeli, Mo" userId="03501b65-0e27-4b56-8c1f-6f5a4f41fafa" providerId="ADAL" clId="{9FADF72D-A898-518F-828F-25536BDA367F}" dt="2025-08-19T23:21:26.322" v="549" actId="403"/>
          <ac:spMkLst>
            <pc:docMk/>
            <pc:sldMk cId="1367302050" sldId="328"/>
            <ac:spMk id="14" creationId="{1E0BA6E0-9D9E-4681-DB14-62CEC5D0C708}"/>
          </ac:spMkLst>
        </pc:spChg>
        <pc:spChg chg="mod">
          <ac:chgData name="Nomeli, Mo" userId="03501b65-0e27-4b56-8c1f-6f5a4f41fafa" providerId="ADAL" clId="{9FADF72D-A898-518F-828F-25536BDA367F}" dt="2025-08-19T23:21:26.322" v="549" actId="403"/>
          <ac:spMkLst>
            <pc:docMk/>
            <pc:sldMk cId="1367302050" sldId="328"/>
            <ac:spMk id="15" creationId="{580AE9C3-11A5-93ED-4768-0AD1184053C3}"/>
          </ac:spMkLst>
        </pc:spChg>
        <pc:spChg chg="add mod">
          <ac:chgData name="Nomeli, Mo" userId="03501b65-0e27-4b56-8c1f-6f5a4f41fafa" providerId="ADAL" clId="{9FADF72D-A898-518F-828F-25536BDA367F}" dt="2025-08-19T23:21:26.322" v="549" actId="403"/>
          <ac:spMkLst>
            <pc:docMk/>
            <pc:sldMk cId="1367302050" sldId="328"/>
            <ac:spMk id="16" creationId="{F372D49F-3AD8-8A95-DE11-128ECC63EE28}"/>
          </ac:spMkLst>
        </pc:spChg>
        <pc:spChg chg="mod">
          <ac:chgData name="Nomeli, Mo" userId="03501b65-0e27-4b56-8c1f-6f5a4f41fafa" providerId="ADAL" clId="{9FADF72D-A898-518F-828F-25536BDA367F}" dt="2025-08-19T23:21:13.942" v="520" actId="164"/>
          <ac:spMkLst>
            <pc:docMk/>
            <pc:sldMk cId="1367302050" sldId="328"/>
            <ac:spMk id="17" creationId="{CB7C15FE-F3ED-AC4F-2BCD-28BAD1D46BD1}"/>
          </ac:spMkLst>
        </pc:spChg>
        <pc:spChg chg="add mod">
          <ac:chgData name="Nomeli, Mo" userId="03501b65-0e27-4b56-8c1f-6f5a4f41fafa" providerId="ADAL" clId="{9FADF72D-A898-518F-828F-25536BDA367F}" dt="2025-08-19T23:21:26.322" v="549" actId="403"/>
          <ac:spMkLst>
            <pc:docMk/>
            <pc:sldMk cId="1367302050" sldId="328"/>
            <ac:spMk id="18" creationId="{E87AB48A-2C3F-2879-5C83-1D16A494C5DB}"/>
          </ac:spMkLst>
        </pc:spChg>
        <pc:spChg chg="mod">
          <ac:chgData name="Nomeli, Mo" userId="03501b65-0e27-4b56-8c1f-6f5a4f41fafa" providerId="ADAL" clId="{9FADF72D-A898-518F-828F-25536BDA367F}" dt="2025-08-19T23:21:13.942" v="520" actId="164"/>
          <ac:spMkLst>
            <pc:docMk/>
            <pc:sldMk cId="1367302050" sldId="328"/>
            <ac:spMk id="19" creationId="{075735A4-BCAD-2ABE-F3DE-8CBC3BE40C00}"/>
          </ac:spMkLst>
        </pc:spChg>
        <pc:spChg chg="mod">
          <ac:chgData name="Nomeli, Mo" userId="03501b65-0e27-4b56-8c1f-6f5a4f41fafa" providerId="ADAL" clId="{9FADF72D-A898-518F-828F-25536BDA367F}" dt="2025-08-19T23:21:13.942" v="520" actId="164"/>
          <ac:spMkLst>
            <pc:docMk/>
            <pc:sldMk cId="1367302050" sldId="328"/>
            <ac:spMk id="20" creationId="{7AE5082A-9356-009F-0529-6171C5ACD619}"/>
          </ac:spMkLst>
        </pc:spChg>
        <pc:spChg chg="mod">
          <ac:chgData name="Nomeli, Mo" userId="03501b65-0e27-4b56-8c1f-6f5a4f41fafa" providerId="ADAL" clId="{9FADF72D-A898-518F-828F-25536BDA367F}" dt="2025-08-19T23:21:13.942" v="520" actId="164"/>
          <ac:spMkLst>
            <pc:docMk/>
            <pc:sldMk cId="1367302050" sldId="328"/>
            <ac:spMk id="21" creationId="{5ADFD6B8-4A1B-F26A-B048-6150D6F460DA}"/>
          </ac:spMkLst>
        </pc:spChg>
        <pc:spChg chg="add mod">
          <ac:chgData name="Nomeli, Mo" userId="03501b65-0e27-4b56-8c1f-6f5a4f41fafa" providerId="ADAL" clId="{9FADF72D-A898-518F-828F-25536BDA367F}" dt="2025-08-19T23:21:26.322" v="549" actId="403"/>
          <ac:spMkLst>
            <pc:docMk/>
            <pc:sldMk cId="1367302050" sldId="328"/>
            <ac:spMk id="22" creationId="{21BE87F5-EC76-7800-0E40-F996FA8E9D61}"/>
          </ac:spMkLst>
        </pc:spChg>
        <pc:spChg chg="add mod">
          <ac:chgData name="Nomeli, Mo" userId="03501b65-0e27-4b56-8c1f-6f5a4f41fafa" providerId="ADAL" clId="{9FADF72D-A898-518F-828F-25536BDA367F}" dt="2025-08-19T23:21:26.322" v="549" actId="403"/>
          <ac:spMkLst>
            <pc:docMk/>
            <pc:sldMk cId="1367302050" sldId="328"/>
            <ac:spMk id="23" creationId="{D8D7E608-08F7-09DD-0D8E-AF5B5D925A90}"/>
          </ac:spMkLst>
        </pc:spChg>
        <pc:spChg chg="mod">
          <ac:chgData name="Nomeli, Mo" userId="03501b65-0e27-4b56-8c1f-6f5a4f41fafa" providerId="ADAL" clId="{9FADF72D-A898-518F-828F-25536BDA367F}" dt="2025-08-19T23:21:13.942" v="520" actId="164"/>
          <ac:spMkLst>
            <pc:docMk/>
            <pc:sldMk cId="1367302050" sldId="328"/>
            <ac:spMk id="24" creationId="{824DEF39-0E20-B17E-A118-CC88FDA87329}"/>
          </ac:spMkLst>
        </pc:spChg>
        <pc:spChg chg="add mod">
          <ac:chgData name="Nomeli, Mo" userId="03501b65-0e27-4b56-8c1f-6f5a4f41fafa" providerId="ADAL" clId="{9FADF72D-A898-518F-828F-25536BDA367F}" dt="2025-08-19T23:21:26.322" v="549" actId="403"/>
          <ac:spMkLst>
            <pc:docMk/>
            <pc:sldMk cId="1367302050" sldId="328"/>
            <ac:spMk id="25" creationId="{774611F7-0C7C-4147-2DA0-35CFE3F2D181}"/>
          </ac:spMkLst>
        </pc:spChg>
        <pc:grpChg chg="mod">
          <ac:chgData name="Nomeli, Mo" userId="03501b65-0e27-4b56-8c1f-6f5a4f41fafa" providerId="ADAL" clId="{9FADF72D-A898-518F-828F-25536BDA367F}" dt="2025-08-19T23:21:21.436" v="542" actId="1076"/>
          <ac:grpSpMkLst>
            <pc:docMk/>
            <pc:sldMk cId="1367302050" sldId="328"/>
            <ac:grpSpMk id="26" creationId="{624807CA-E942-8689-C34C-4A6D3B31DE79}"/>
          </ac:grpSpMkLst>
        </pc:grpChg>
      </pc:sldChg>
      <pc:sldChg chg="addSp delSp modSp new mod modNotesTx">
        <pc:chgData name="Nomeli, Mo" userId="03501b65-0e27-4b56-8c1f-6f5a4f41fafa" providerId="ADAL" clId="{9FADF72D-A898-518F-828F-25536BDA367F}" dt="2025-08-19T23:41:19.688" v="793" actId="20577"/>
        <pc:sldMkLst>
          <pc:docMk/>
          <pc:sldMk cId="2512073087" sldId="329"/>
        </pc:sldMkLst>
        <pc:spChg chg="mod">
          <ac:chgData name="Nomeli, Mo" userId="03501b65-0e27-4b56-8c1f-6f5a4f41fafa" providerId="ADAL" clId="{9FADF72D-A898-518F-828F-25536BDA367F}" dt="2025-08-19T23:30:09.188" v="565"/>
          <ac:spMkLst>
            <pc:docMk/>
            <pc:sldMk cId="2512073087" sldId="329"/>
            <ac:spMk id="2" creationId="{C625D865-0B66-03B7-1C43-9859B45D0575}"/>
          </ac:spMkLst>
        </pc:spChg>
        <pc:spChg chg="mod">
          <ac:chgData name="Nomeli, Mo" userId="03501b65-0e27-4b56-8c1f-6f5a4f41fafa" providerId="ADAL" clId="{9FADF72D-A898-518F-828F-25536BDA367F}" dt="2025-08-19T23:36:01.184" v="692" actId="165"/>
          <ac:spMkLst>
            <pc:docMk/>
            <pc:sldMk cId="2512073087" sldId="329"/>
            <ac:spMk id="159" creationId="{A933FF30-E863-3019-0223-2EAC34DC9224}"/>
          </ac:spMkLst>
        </pc:spChg>
        <pc:spChg chg="mod">
          <ac:chgData name="Nomeli, Mo" userId="03501b65-0e27-4b56-8c1f-6f5a4f41fafa" providerId="ADAL" clId="{9FADF72D-A898-518F-828F-25536BDA367F}" dt="2025-08-19T23:36:01.184" v="692" actId="165"/>
          <ac:spMkLst>
            <pc:docMk/>
            <pc:sldMk cId="2512073087" sldId="329"/>
            <ac:spMk id="168" creationId="{1B821B2E-1879-2B2B-5ACC-0E00AA84C140}"/>
          </ac:spMkLst>
        </pc:spChg>
        <pc:spChg chg="mod">
          <ac:chgData name="Nomeli, Mo" userId="03501b65-0e27-4b56-8c1f-6f5a4f41fafa" providerId="ADAL" clId="{9FADF72D-A898-518F-828F-25536BDA367F}" dt="2025-08-19T23:36:01.184" v="692" actId="165"/>
          <ac:spMkLst>
            <pc:docMk/>
            <pc:sldMk cId="2512073087" sldId="329"/>
            <ac:spMk id="186" creationId="{FF7AE3AE-BA86-6624-C8DB-7EC79E7BA1CB}"/>
          </ac:spMkLst>
        </pc:spChg>
        <pc:spChg chg="mod">
          <ac:chgData name="Nomeli, Mo" userId="03501b65-0e27-4b56-8c1f-6f5a4f41fafa" providerId="ADAL" clId="{9FADF72D-A898-518F-828F-25536BDA367F}" dt="2025-08-19T23:36:01.184" v="692" actId="165"/>
          <ac:spMkLst>
            <pc:docMk/>
            <pc:sldMk cId="2512073087" sldId="329"/>
            <ac:spMk id="195" creationId="{DEE41922-89CD-4714-BD77-C986F70CCBFD}"/>
          </ac:spMkLst>
        </pc:spChg>
        <pc:spChg chg="mod">
          <ac:chgData name="Nomeli, Mo" userId="03501b65-0e27-4b56-8c1f-6f5a4f41fafa" providerId="ADAL" clId="{9FADF72D-A898-518F-828F-25536BDA367F}" dt="2025-08-19T23:36:01.184" v="692" actId="165"/>
          <ac:spMkLst>
            <pc:docMk/>
            <pc:sldMk cId="2512073087" sldId="329"/>
            <ac:spMk id="204" creationId="{4D68622F-F858-59D0-80F2-1AC2DD96E81F}"/>
          </ac:spMkLst>
        </pc:spChg>
        <pc:spChg chg="mod">
          <ac:chgData name="Nomeli, Mo" userId="03501b65-0e27-4b56-8c1f-6f5a4f41fafa" providerId="ADAL" clId="{9FADF72D-A898-518F-828F-25536BDA367F}" dt="2025-08-19T23:36:01.184" v="692" actId="165"/>
          <ac:spMkLst>
            <pc:docMk/>
            <pc:sldMk cId="2512073087" sldId="329"/>
            <ac:spMk id="217" creationId="{07B9805F-4EA5-BDD3-6CBE-0A339F6D0DC4}"/>
          </ac:spMkLst>
        </pc:spChg>
        <pc:spChg chg="mod">
          <ac:chgData name="Nomeli, Mo" userId="03501b65-0e27-4b56-8c1f-6f5a4f41fafa" providerId="ADAL" clId="{9FADF72D-A898-518F-828F-25536BDA367F}" dt="2025-08-19T23:36:01.184" v="692" actId="165"/>
          <ac:spMkLst>
            <pc:docMk/>
            <pc:sldMk cId="2512073087" sldId="329"/>
            <ac:spMk id="232" creationId="{27A62881-0A0B-1535-9869-957C5139754F}"/>
          </ac:spMkLst>
        </pc:spChg>
        <pc:spChg chg="mod">
          <ac:chgData name="Nomeli, Mo" userId="03501b65-0e27-4b56-8c1f-6f5a4f41fafa" providerId="ADAL" clId="{9FADF72D-A898-518F-828F-25536BDA367F}" dt="2025-08-19T23:36:01.184" v="692" actId="165"/>
          <ac:spMkLst>
            <pc:docMk/>
            <pc:sldMk cId="2512073087" sldId="329"/>
            <ac:spMk id="251" creationId="{F3A928E0-1C0F-DE71-E8E3-BD258D117FDB}"/>
          </ac:spMkLst>
        </pc:spChg>
        <pc:spChg chg="mod">
          <ac:chgData name="Nomeli, Mo" userId="03501b65-0e27-4b56-8c1f-6f5a4f41fafa" providerId="ADAL" clId="{9FADF72D-A898-518F-828F-25536BDA367F}" dt="2025-08-19T23:36:01.184" v="692" actId="165"/>
          <ac:spMkLst>
            <pc:docMk/>
            <pc:sldMk cId="2512073087" sldId="329"/>
            <ac:spMk id="267" creationId="{EB114B44-65DA-DEF8-4D9C-B7558349FD1E}"/>
          </ac:spMkLst>
        </pc:spChg>
        <pc:spChg chg="mod">
          <ac:chgData name="Nomeli, Mo" userId="03501b65-0e27-4b56-8c1f-6f5a4f41fafa" providerId="ADAL" clId="{9FADF72D-A898-518F-828F-25536BDA367F}" dt="2025-08-19T23:36:01.184" v="692" actId="165"/>
          <ac:spMkLst>
            <pc:docMk/>
            <pc:sldMk cId="2512073087" sldId="329"/>
            <ac:spMk id="271" creationId="{31C4114F-EB15-BC43-86B4-259C3922C161}"/>
          </ac:spMkLst>
        </pc:spChg>
        <pc:spChg chg="mod">
          <ac:chgData name="Nomeli, Mo" userId="03501b65-0e27-4b56-8c1f-6f5a4f41fafa" providerId="ADAL" clId="{9FADF72D-A898-518F-828F-25536BDA367F}" dt="2025-08-19T23:40:15.552" v="784" actId="164"/>
          <ac:spMkLst>
            <pc:docMk/>
            <pc:sldMk cId="2512073087" sldId="329"/>
            <ac:spMk id="272" creationId="{48C338DC-277E-EBD6-6614-63D6F005CBCA}"/>
          </ac:spMkLst>
        </pc:spChg>
        <pc:spChg chg="mod">
          <ac:chgData name="Nomeli, Mo" userId="03501b65-0e27-4b56-8c1f-6f5a4f41fafa" providerId="ADAL" clId="{9FADF72D-A898-518F-828F-25536BDA367F}" dt="2025-08-19T23:39:54.658" v="766" actId="1036"/>
          <ac:spMkLst>
            <pc:docMk/>
            <pc:sldMk cId="2512073087" sldId="329"/>
            <ac:spMk id="273" creationId="{6DD86CFF-73F0-C38F-785F-C82931D486EA}"/>
          </ac:spMkLst>
        </pc:spChg>
        <pc:spChg chg="mod">
          <ac:chgData name="Nomeli, Mo" userId="03501b65-0e27-4b56-8c1f-6f5a4f41fafa" providerId="ADAL" clId="{9FADF72D-A898-518F-828F-25536BDA367F}" dt="2025-08-19T23:40:15.552" v="784" actId="164"/>
          <ac:spMkLst>
            <pc:docMk/>
            <pc:sldMk cId="2512073087" sldId="329"/>
            <ac:spMk id="274" creationId="{D9615D5B-824A-7F00-0AC2-309C0BE46883}"/>
          </ac:spMkLst>
        </pc:spChg>
        <pc:spChg chg="mod">
          <ac:chgData name="Nomeli, Mo" userId="03501b65-0e27-4b56-8c1f-6f5a4f41fafa" providerId="ADAL" clId="{9FADF72D-A898-518F-828F-25536BDA367F}" dt="2025-08-19T23:40:15.552" v="784" actId="164"/>
          <ac:spMkLst>
            <pc:docMk/>
            <pc:sldMk cId="2512073087" sldId="329"/>
            <ac:spMk id="275" creationId="{5AF09D58-6529-9B19-7A3F-953EDEF87D9F}"/>
          </ac:spMkLst>
        </pc:spChg>
        <pc:spChg chg="mod">
          <ac:chgData name="Nomeli, Mo" userId="03501b65-0e27-4b56-8c1f-6f5a4f41fafa" providerId="ADAL" clId="{9FADF72D-A898-518F-828F-25536BDA367F}" dt="2025-08-19T23:40:15.552" v="784" actId="164"/>
          <ac:spMkLst>
            <pc:docMk/>
            <pc:sldMk cId="2512073087" sldId="329"/>
            <ac:spMk id="276" creationId="{274D28FF-0B56-050B-4585-B413370C7AF5}"/>
          </ac:spMkLst>
        </pc:spChg>
        <pc:spChg chg="mod">
          <ac:chgData name="Nomeli, Mo" userId="03501b65-0e27-4b56-8c1f-6f5a4f41fafa" providerId="ADAL" clId="{9FADF72D-A898-518F-828F-25536BDA367F}" dt="2025-08-19T23:39:25.980" v="754" actId="1036"/>
          <ac:spMkLst>
            <pc:docMk/>
            <pc:sldMk cId="2512073087" sldId="329"/>
            <ac:spMk id="277" creationId="{9B2CE44F-FFE1-27AB-D2D5-9B024B4B4E1A}"/>
          </ac:spMkLst>
        </pc:spChg>
        <pc:spChg chg="mod">
          <ac:chgData name="Nomeli, Mo" userId="03501b65-0e27-4b56-8c1f-6f5a4f41fafa" providerId="ADAL" clId="{9FADF72D-A898-518F-828F-25536BDA367F}" dt="2025-08-19T23:40:15.552" v="784" actId="164"/>
          <ac:spMkLst>
            <pc:docMk/>
            <pc:sldMk cId="2512073087" sldId="329"/>
            <ac:spMk id="278" creationId="{3532F0B6-974D-736A-4FCE-E2AE58EAAE6E}"/>
          </ac:spMkLst>
        </pc:spChg>
        <pc:spChg chg="mod">
          <ac:chgData name="Nomeli, Mo" userId="03501b65-0e27-4b56-8c1f-6f5a4f41fafa" providerId="ADAL" clId="{9FADF72D-A898-518F-828F-25536BDA367F}" dt="2025-08-19T23:39:54.658" v="766" actId="1036"/>
          <ac:spMkLst>
            <pc:docMk/>
            <pc:sldMk cId="2512073087" sldId="329"/>
            <ac:spMk id="279" creationId="{FB938CE4-62C9-AB7C-BF2B-EEA35B01F3B3}"/>
          </ac:spMkLst>
        </pc:spChg>
        <pc:spChg chg="mod">
          <ac:chgData name="Nomeli, Mo" userId="03501b65-0e27-4b56-8c1f-6f5a4f41fafa" providerId="ADAL" clId="{9FADF72D-A898-518F-828F-25536BDA367F}" dt="2025-08-19T23:36:13.807" v="708" actId="1038"/>
          <ac:spMkLst>
            <pc:docMk/>
            <pc:sldMk cId="2512073087" sldId="329"/>
            <ac:spMk id="280" creationId="{DDDFFE10-FFFF-2B4C-D365-FD6BBA2F2389}"/>
          </ac:spMkLst>
        </pc:spChg>
        <pc:spChg chg="mod">
          <ac:chgData name="Nomeli, Mo" userId="03501b65-0e27-4b56-8c1f-6f5a4f41fafa" providerId="ADAL" clId="{9FADF72D-A898-518F-828F-25536BDA367F}" dt="2025-08-19T23:37:00.239" v="724" actId="20577"/>
          <ac:spMkLst>
            <pc:docMk/>
            <pc:sldMk cId="2512073087" sldId="329"/>
            <ac:spMk id="281" creationId="{E7FB53A9-2DBC-B047-8BB7-5D1ADC8936C2}"/>
          </ac:spMkLst>
        </pc:spChg>
        <pc:spChg chg="mod">
          <ac:chgData name="Nomeli, Mo" userId="03501b65-0e27-4b56-8c1f-6f5a4f41fafa" providerId="ADAL" clId="{9FADF72D-A898-518F-828F-25536BDA367F}" dt="2025-08-19T23:40:15.552" v="784" actId="164"/>
          <ac:spMkLst>
            <pc:docMk/>
            <pc:sldMk cId="2512073087" sldId="329"/>
            <ac:spMk id="282" creationId="{93E58B7F-E590-9727-4E48-2AC77B409D13}"/>
          </ac:spMkLst>
        </pc:spChg>
        <pc:spChg chg="mod">
          <ac:chgData name="Nomeli, Mo" userId="03501b65-0e27-4b56-8c1f-6f5a4f41fafa" providerId="ADAL" clId="{9FADF72D-A898-518F-828F-25536BDA367F}" dt="2025-08-19T23:40:15.552" v="784" actId="164"/>
          <ac:spMkLst>
            <pc:docMk/>
            <pc:sldMk cId="2512073087" sldId="329"/>
            <ac:spMk id="283" creationId="{6105C6EB-9C16-AEA7-B611-DFB5A4BA35F8}"/>
          </ac:spMkLst>
        </pc:spChg>
        <pc:spChg chg="mod">
          <ac:chgData name="Nomeli, Mo" userId="03501b65-0e27-4b56-8c1f-6f5a4f41fafa" providerId="ADAL" clId="{9FADF72D-A898-518F-828F-25536BDA367F}" dt="2025-08-19T23:36:43.986" v="717" actId="20577"/>
          <ac:spMkLst>
            <pc:docMk/>
            <pc:sldMk cId="2512073087" sldId="329"/>
            <ac:spMk id="284" creationId="{B146F6EA-37BB-0DB8-9E81-00222142C0F9}"/>
          </ac:spMkLst>
        </pc:spChg>
        <pc:spChg chg="mod">
          <ac:chgData name="Nomeli, Mo" userId="03501b65-0e27-4b56-8c1f-6f5a4f41fafa" providerId="ADAL" clId="{9FADF72D-A898-518F-828F-25536BDA367F}" dt="2025-08-19T23:40:07.450" v="783" actId="1036"/>
          <ac:spMkLst>
            <pc:docMk/>
            <pc:sldMk cId="2512073087" sldId="329"/>
            <ac:spMk id="285" creationId="{1ABF94E5-4E20-A8C9-B1F3-EDBD3E92166E}"/>
          </ac:spMkLst>
        </pc:spChg>
        <pc:spChg chg="mod">
          <ac:chgData name="Nomeli, Mo" userId="03501b65-0e27-4b56-8c1f-6f5a4f41fafa" providerId="ADAL" clId="{9FADF72D-A898-518F-828F-25536BDA367F}" dt="2025-08-19T23:40:15.552" v="784" actId="164"/>
          <ac:spMkLst>
            <pc:docMk/>
            <pc:sldMk cId="2512073087" sldId="329"/>
            <ac:spMk id="286" creationId="{8E81EB8A-4EEC-4AD1-60C8-D1D0CF20A447}"/>
          </ac:spMkLst>
        </pc:spChg>
        <pc:spChg chg="mod">
          <ac:chgData name="Nomeli, Mo" userId="03501b65-0e27-4b56-8c1f-6f5a4f41fafa" providerId="ADAL" clId="{9FADF72D-A898-518F-828F-25536BDA367F}" dt="2025-08-19T23:40:07.450" v="783" actId="1036"/>
          <ac:spMkLst>
            <pc:docMk/>
            <pc:sldMk cId="2512073087" sldId="329"/>
            <ac:spMk id="287" creationId="{F0DF78CD-B2FB-F26C-DD4F-B166EFE79161}"/>
          </ac:spMkLst>
        </pc:spChg>
        <pc:spChg chg="mod">
          <ac:chgData name="Nomeli, Mo" userId="03501b65-0e27-4b56-8c1f-6f5a4f41fafa" providerId="ADAL" clId="{9FADF72D-A898-518F-828F-25536BDA367F}" dt="2025-08-19T23:39:54.658" v="766" actId="1036"/>
          <ac:spMkLst>
            <pc:docMk/>
            <pc:sldMk cId="2512073087" sldId="329"/>
            <ac:spMk id="288" creationId="{B84B52AE-3C12-A9FB-2A73-F82E64A4726A}"/>
          </ac:spMkLst>
        </pc:spChg>
        <pc:spChg chg="mod">
          <ac:chgData name="Nomeli, Mo" userId="03501b65-0e27-4b56-8c1f-6f5a4f41fafa" providerId="ADAL" clId="{9FADF72D-A898-518F-828F-25536BDA367F}" dt="2025-08-19T23:40:15.552" v="784" actId="164"/>
          <ac:spMkLst>
            <pc:docMk/>
            <pc:sldMk cId="2512073087" sldId="329"/>
            <ac:spMk id="289" creationId="{0B18B969-9707-0F70-491E-04DBFF3DD461}"/>
          </ac:spMkLst>
        </pc:spChg>
        <pc:spChg chg="mod">
          <ac:chgData name="Nomeli, Mo" userId="03501b65-0e27-4b56-8c1f-6f5a4f41fafa" providerId="ADAL" clId="{9FADF72D-A898-518F-828F-25536BDA367F}" dt="2025-08-19T23:39:54.658" v="766" actId="1036"/>
          <ac:spMkLst>
            <pc:docMk/>
            <pc:sldMk cId="2512073087" sldId="329"/>
            <ac:spMk id="290" creationId="{EBF97656-B7CA-8F44-D438-5CFD1F84EA34}"/>
          </ac:spMkLst>
        </pc:spChg>
        <pc:spChg chg="mod">
          <ac:chgData name="Nomeli, Mo" userId="03501b65-0e27-4b56-8c1f-6f5a4f41fafa" providerId="ADAL" clId="{9FADF72D-A898-518F-828F-25536BDA367F}" dt="2025-08-19T23:39:09.543" v="731" actId="1036"/>
          <ac:spMkLst>
            <pc:docMk/>
            <pc:sldMk cId="2512073087" sldId="329"/>
            <ac:spMk id="291" creationId="{3D4792FE-2B3B-896E-7E23-A9EE1D316254}"/>
          </ac:spMkLst>
        </pc:spChg>
        <pc:spChg chg="mod">
          <ac:chgData name="Nomeli, Mo" userId="03501b65-0e27-4b56-8c1f-6f5a4f41fafa" providerId="ADAL" clId="{9FADF72D-A898-518F-828F-25536BDA367F}" dt="2025-08-19T23:40:15.552" v="784" actId="164"/>
          <ac:spMkLst>
            <pc:docMk/>
            <pc:sldMk cId="2512073087" sldId="329"/>
            <ac:spMk id="292" creationId="{106A1083-2DD7-E10C-B0FE-D23A03AF6E50}"/>
          </ac:spMkLst>
        </pc:spChg>
        <pc:spChg chg="mod">
          <ac:chgData name="Nomeli, Mo" userId="03501b65-0e27-4b56-8c1f-6f5a4f41fafa" providerId="ADAL" clId="{9FADF72D-A898-518F-828F-25536BDA367F}" dt="2025-08-19T23:40:07.450" v="783" actId="1036"/>
          <ac:spMkLst>
            <pc:docMk/>
            <pc:sldMk cId="2512073087" sldId="329"/>
            <ac:spMk id="293" creationId="{38739CDB-E477-7245-8E65-CDC840DA746C}"/>
          </ac:spMkLst>
        </pc:spChg>
        <pc:spChg chg="mod">
          <ac:chgData name="Nomeli, Mo" userId="03501b65-0e27-4b56-8c1f-6f5a4f41fafa" providerId="ADAL" clId="{9FADF72D-A898-518F-828F-25536BDA367F}" dt="2025-08-19T23:40:07.450" v="783" actId="1036"/>
          <ac:spMkLst>
            <pc:docMk/>
            <pc:sldMk cId="2512073087" sldId="329"/>
            <ac:spMk id="294" creationId="{31FAD270-A096-0FE5-D202-C192D36452A9}"/>
          </ac:spMkLst>
        </pc:spChg>
        <pc:grpChg chg="mod">
          <ac:chgData name="Nomeli, Mo" userId="03501b65-0e27-4b56-8c1f-6f5a4f41fafa" providerId="ADAL" clId="{9FADF72D-A898-518F-828F-25536BDA367F}" dt="2025-08-19T23:40:27.331" v="790" actId="1076"/>
          <ac:grpSpMkLst>
            <pc:docMk/>
            <pc:sldMk cId="2512073087" sldId="329"/>
            <ac:grpSpMk id="3" creationId="{48F4F6DA-9D6D-67FE-B675-CD396F0CE2CA}"/>
          </ac:grpSpMkLst>
        </pc:grpChg>
        <pc:grpChg chg="mod">
          <ac:chgData name="Nomeli, Mo" userId="03501b65-0e27-4b56-8c1f-6f5a4f41fafa" providerId="ADAL" clId="{9FADF72D-A898-518F-828F-25536BDA367F}" dt="2025-08-19T23:40:07.450" v="783" actId="1036"/>
          <ac:grpSpMkLst>
            <pc:docMk/>
            <pc:sldMk cId="2512073087" sldId="329"/>
            <ac:grpSpMk id="150" creationId="{CB138232-D04F-7702-A016-F47D9A7AC119}"/>
          </ac:grpSpMkLst>
        </pc:grpChg>
        <pc:grpChg chg="mod">
          <ac:chgData name="Nomeli, Mo" userId="03501b65-0e27-4b56-8c1f-6f5a4f41fafa" providerId="ADAL" clId="{9FADF72D-A898-518F-828F-25536BDA367F}" dt="2025-08-19T23:40:07.450" v="783" actId="1036"/>
          <ac:grpSpMkLst>
            <pc:docMk/>
            <pc:sldMk cId="2512073087" sldId="329"/>
            <ac:grpSpMk id="155" creationId="{B2881E9D-5441-287A-F0D0-685E602AE55A}"/>
          </ac:grpSpMkLst>
        </pc:grpChg>
        <pc:grpChg chg="mod">
          <ac:chgData name="Nomeli, Mo" userId="03501b65-0e27-4b56-8c1f-6f5a4f41fafa" providerId="ADAL" clId="{9FADF72D-A898-518F-828F-25536BDA367F}" dt="2025-08-19T23:39:09.543" v="731" actId="1036"/>
          <ac:grpSpMkLst>
            <pc:docMk/>
            <pc:sldMk cId="2512073087" sldId="329"/>
            <ac:grpSpMk id="165" creationId="{C0858412-18F4-4B92-A606-8810A753998F}"/>
          </ac:grpSpMkLst>
        </pc:grpChg>
        <pc:grpChg chg="mod">
          <ac:chgData name="Nomeli, Mo" userId="03501b65-0e27-4b56-8c1f-6f5a4f41fafa" providerId="ADAL" clId="{9FADF72D-A898-518F-828F-25536BDA367F}" dt="2025-08-19T23:39:09.543" v="731" actId="1036"/>
          <ac:grpSpMkLst>
            <pc:docMk/>
            <pc:sldMk cId="2512073087" sldId="329"/>
            <ac:grpSpMk id="170" creationId="{DBA8A9AB-BDE3-5857-A496-44AFC700FBF8}"/>
          </ac:grpSpMkLst>
        </pc:grpChg>
        <pc:grpChg chg="mod">
          <ac:chgData name="Nomeli, Mo" userId="03501b65-0e27-4b56-8c1f-6f5a4f41fafa" providerId="ADAL" clId="{9FADF72D-A898-518F-828F-25536BDA367F}" dt="2025-08-19T23:39:09.543" v="731" actId="1036"/>
          <ac:grpSpMkLst>
            <pc:docMk/>
            <pc:sldMk cId="2512073087" sldId="329"/>
            <ac:grpSpMk id="175" creationId="{38B0B496-4A3B-77C2-3FA3-D0BFA2A6FBB4}"/>
          </ac:grpSpMkLst>
        </pc:grpChg>
        <pc:grpChg chg="mod">
          <ac:chgData name="Nomeli, Mo" userId="03501b65-0e27-4b56-8c1f-6f5a4f41fafa" providerId="ADAL" clId="{9FADF72D-A898-518F-828F-25536BDA367F}" dt="2025-08-19T23:38:57.883" v="725" actId="1076"/>
          <ac:grpSpMkLst>
            <pc:docMk/>
            <pc:sldMk cId="2512073087" sldId="329"/>
            <ac:grpSpMk id="190" creationId="{AA014BAF-DA4E-C876-3CF6-785408B664B6}"/>
          </ac:grpSpMkLst>
        </pc:grpChg>
        <pc:grpChg chg="mod">
          <ac:chgData name="Nomeli, Mo" userId="03501b65-0e27-4b56-8c1f-6f5a4f41fafa" providerId="ADAL" clId="{9FADF72D-A898-518F-828F-25536BDA367F}" dt="2025-08-19T23:38:57.883" v="725" actId="1076"/>
          <ac:grpSpMkLst>
            <pc:docMk/>
            <pc:sldMk cId="2512073087" sldId="329"/>
            <ac:grpSpMk id="205" creationId="{68A5E9A7-1A53-1B52-74E8-BAE227177DF4}"/>
          </ac:grpSpMkLst>
        </pc:grpChg>
        <pc:grpChg chg="mod">
          <ac:chgData name="Nomeli, Mo" userId="03501b65-0e27-4b56-8c1f-6f5a4f41fafa" providerId="ADAL" clId="{9FADF72D-A898-518F-828F-25536BDA367F}" dt="2025-08-19T23:38:57.883" v="725" actId="1076"/>
          <ac:grpSpMkLst>
            <pc:docMk/>
            <pc:sldMk cId="2512073087" sldId="329"/>
            <ac:grpSpMk id="218" creationId="{1EA2EF8C-D14B-C44E-5239-9BA8486E3770}"/>
          </ac:grpSpMkLst>
        </pc:grpChg>
        <pc:grpChg chg="mod">
          <ac:chgData name="Nomeli, Mo" userId="03501b65-0e27-4b56-8c1f-6f5a4f41fafa" providerId="ADAL" clId="{9FADF72D-A898-518F-828F-25536BDA367F}" dt="2025-08-19T23:38:57.883" v="725" actId="1076"/>
          <ac:grpSpMkLst>
            <pc:docMk/>
            <pc:sldMk cId="2512073087" sldId="329"/>
            <ac:grpSpMk id="231" creationId="{76C7C4C3-62BB-52BB-ADC2-648015EB7E78}"/>
          </ac:grpSpMkLst>
        </pc:grpChg>
        <pc:grpChg chg="mod">
          <ac:chgData name="Nomeli, Mo" userId="03501b65-0e27-4b56-8c1f-6f5a4f41fafa" providerId="ADAL" clId="{9FADF72D-A898-518F-828F-25536BDA367F}" dt="2025-08-19T23:38:57.883" v="725" actId="1076"/>
          <ac:grpSpMkLst>
            <pc:docMk/>
            <pc:sldMk cId="2512073087" sldId="329"/>
            <ac:grpSpMk id="246" creationId="{6BA5DE04-3F4F-1336-8CE4-0471C1DC247C}"/>
          </ac:grpSpMkLst>
        </pc:grpChg>
        <pc:grpChg chg="mod">
          <ac:chgData name="Nomeli, Mo" userId="03501b65-0e27-4b56-8c1f-6f5a4f41fafa" providerId="ADAL" clId="{9FADF72D-A898-518F-828F-25536BDA367F}" dt="2025-08-19T23:38:57.883" v="725" actId="1076"/>
          <ac:grpSpMkLst>
            <pc:docMk/>
            <pc:sldMk cId="2512073087" sldId="329"/>
            <ac:grpSpMk id="255" creationId="{111D1B7A-E64A-595F-A8B5-056B8C78AA58}"/>
          </ac:grpSpMkLst>
        </pc:grpChg>
      </pc:sldChg>
      <pc:sldChg chg="addSp modSp new mod">
        <pc:chgData name="Nomeli, Mo" userId="03501b65-0e27-4b56-8c1f-6f5a4f41fafa" providerId="ADAL" clId="{9FADF72D-A898-518F-828F-25536BDA367F}" dt="2025-08-20T16:01:35.846" v="813" actId="403"/>
        <pc:sldMkLst>
          <pc:docMk/>
          <pc:sldMk cId="3135133555" sldId="330"/>
        </pc:sldMkLst>
        <pc:spChg chg="mod">
          <ac:chgData name="Nomeli, Mo" userId="03501b65-0e27-4b56-8c1f-6f5a4f41fafa" providerId="ADAL" clId="{9FADF72D-A898-518F-828F-25536BDA367F}" dt="2025-08-20T16:01:29.153" v="812"/>
          <ac:spMkLst>
            <pc:docMk/>
            <pc:sldMk cId="3135133555" sldId="330"/>
            <ac:spMk id="2" creationId="{DC60D503-547F-0919-B64A-B5A66C31FCAD}"/>
          </ac:spMkLst>
        </pc:spChg>
        <pc:spChg chg="mod">
          <ac:chgData name="Nomeli, Mo" userId="03501b65-0e27-4b56-8c1f-6f5a4f41fafa" providerId="ADAL" clId="{9FADF72D-A898-518F-828F-25536BDA367F}" dt="2025-08-20T16:01:35.846" v="813" actId="403"/>
          <ac:spMkLst>
            <pc:docMk/>
            <pc:sldMk cId="3135133555" sldId="330"/>
            <ac:spMk id="8" creationId="{67B3226C-50AD-EC4A-D007-BFBF0FA651E3}"/>
          </ac:spMkLst>
        </pc:spChg>
        <pc:spChg chg="mod">
          <ac:chgData name="Nomeli, Mo" userId="03501b65-0e27-4b56-8c1f-6f5a4f41fafa" providerId="ADAL" clId="{9FADF72D-A898-518F-828F-25536BDA367F}" dt="2025-08-20T16:01:35.846" v="813" actId="403"/>
          <ac:spMkLst>
            <pc:docMk/>
            <pc:sldMk cId="3135133555" sldId="330"/>
            <ac:spMk id="20" creationId="{644A29B5-75C8-FD18-E912-66C856D038E1}"/>
          </ac:spMkLst>
        </pc:spChg>
        <pc:spChg chg="mod">
          <ac:chgData name="Nomeli, Mo" userId="03501b65-0e27-4b56-8c1f-6f5a4f41fafa" providerId="ADAL" clId="{9FADF72D-A898-518F-828F-25536BDA367F}" dt="2025-08-20T16:01:35.846" v="813" actId="403"/>
          <ac:spMkLst>
            <pc:docMk/>
            <pc:sldMk cId="3135133555" sldId="330"/>
            <ac:spMk id="40" creationId="{408A112A-A0FC-B887-DA41-2ABB597D95BA}"/>
          </ac:spMkLst>
        </pc:spChg>
        <pc:spChg chg="mod">
          <ac:chgData name="Nomeli, Mo" userId="03501b65-0e27-4b56-8c1f-6f5a4f41fafa" providerId="ADAL" clId="{9FADF72D-A898-518F-828F-25536BDA367F}" dt="2025-08-20T16:01:35.846" v="813" actId="403"/>
          <ac:spMkLst>
            <pc:docMk/>
            <pc:sldMk cId="3135133555" sldId="330"/>
            <ac:spMk id="43" creationId="{66AEBCFE-A9DE-3740-6C01-DAE8F2FFFDF3}"/>
          </ac:spMkLst>
        </pc:spChg>
        <pc:spChg chg="mod">
          <ac:chgData name="Nomeli, Mo" userId="03501b65-0e27-4b56-8c1f-6f5a4f41fafa" providerId="ADAL" clId="{9FADF72D-A898-518F-828F-25536BDA367F}" dt="2025-08-20T16:01:35.846" v="813" actId="403"/>
          <ac:spMkLst>
            <pc:docMk/>
            <pc:sldMk cId="3135133555" sldId="330"/>
            <ac:spMk id="46" creationId="{234347A3-B5C0-C1C0-FCA0-FBA663E5FB84}"/>
          </ac:spMkLst>
        </pc:spChg>
        <pc:spChg chg="mod">
          <ac:chgData name="Nomeli, Mo" userId="03501b65-0e27-4b56-8c1f-6f5a4f41fafa" providerId="ADAL" clId="{9FADF72D-A898-518F-828F-25536BDA367F}" dt="2025-08-20T16:01:35.846" v="813" actId="403"/>
          <ac:spMkLst>
            <pc:docMk/>
            <pc:sldMk cId="3135133555" sldId="330"/>
            <ac:spMk id="50" creationId="{FC323E20-CAE2-1AB6-E142-B9B79F567D6B}"/>
          </ac:spMkLst>
        </pc:spChg>
        <pc:spChg chg="mod">
          <ac:chgData name="Nomeli, Mo" userId="03501b65-0e27-4b56-8c1f-6f5a4f41fafa" providerId="ADAL" clId="{9FADF72D-A898-518F-828F-25536BDA367F}" dt="2025-08-20T16:01:35.846" v="813" actId="403"/>
          <ac:spMkLst>
            <pc:docMk/>
            <pc:sldMk cId="3135133555" sldId="330"/>
            <ac:spMk id="68" creationId="{5EDD4D78-3EE4-4A2E-66E3-577BE784DAA9}"/>
          </ac:spMkLst>
        </pc:spChg>
        <pc:spChg chg="mod">
          <ac:chgData name="Nomeli, Mo" userId="03501b65-0e27-4b56-8c1f-6f5a4f41fafa" providerId="ADAL" clId="{9FADF72D-A898-518F-828F-25536BDA367F}" dt="2025-08-20T16:01:35.846" v="813" actId="403"/>
          <ac:spMkLst>
            <pc:docMk/>
            <pc:sldMk cId="3135133555" sldId="330"/>
            <ac:spMk id="74" creationId="{819F27CA-88BD-39E8-E31C-1B32D5C89204}"/>
          </ac:spMkLst>
        </pc:spChg>
        <pc:spChg chg="mod">
          <ac:chgData name="Nomeli, Mo" userId="03501b65-0e27-4b56-8c1f-6f5a4f41fafa" providerId="ADAL" clId="{9FADF72D-A898-518F-828F-25536BDA367F}" dt="2025-08-20T16:01:35.846" v="813" actId="403"/>
          <ac:spMkLst>
            <pc:docMk/>
            <pc:sldMk cId="3135133555" sldId="330"/>
            <ac:spMk id="86" creationId="{2F102170-E71D-F7D3-3AD8-3F62ABFADFD0}"/>
          </ac:spMkLst>
        </pc:spChg>
        <pc:spChg chg="mod">
          <ac:chgData name="Nomeli, Mo" userId="03501b65-0e27-4b56-8c1f-6f5a4f41fafa" providerId="ADAL" clId="{9FADF72D-A898-518F-828F-25536BDA367F}" dt="2025-08-20T16:01:04.793" v="796" actId="164"/>
          <ac:spMkLst>
            <pc:docMk/>
            <pc:sldMk cId="3135133555" sldId="330"/>
            <ac:spMk id="90" creationId="{8B873DCA-7391-362F-7B1E-6040CABF2AE7}"/>
          </ac:spMkLst>
        </pc:spChg>
        <pc:spChg chg="mod">
          <ac:chgData name="Nomeli, Mo" userId="03501b65-0e27-4b56-8c1f-6f5a4f41fafa" providerId="ADAL" clId="{9FADF72D-A898-518F-828F-25536BDA367F}" dt="2025-08-20T16:01:04.793" v="796" actId="164"/>
          <ac:spMkLst>
            <pc:docMk/>
            <pc:sldMk cId="3135133555" sldId="330"/>
            <ac:spMk id="91" creationId="{79B6EC3F-05CF-257C-658A-F1838692B87E}"/>
          </ac:spMkLst>
        </pc:spChg>
        <pc:spChg chg="mod">
          <ac:chgData name="Nomeli, Mo" userId="03501b65-0e27-4b56-8c1f-6f5a4f41fafa" providerId="ADAL" clId="{9FADF72D-A898-518F-828F-25536BDA367F}" dt="2025-08-20T16:01:04.793" v="796" actId="164"/>
          <ac:spMkLst>
            <pc:docMk/>
            <pc:sldMk cId="3135133555" sldId="330"/>
            <ac:spMk id="92" creationId="{DEC7B322-9C58-403A-FA63-C925CCC9FB3C}"/>
          </ac:spMkLst>
        </pc:spChg>
        <pc:spChg chg="mod">
          <ac:chgData name="Nomeli, Mo" userId="03501b65-0e27-4b56-8c1f-6f5a4f41fafa" providerId="ADAL" clId="{9FADF72D-A898-518F-828F-25536BDA367F}" dt="2025-08-20T16:01:04.793" v="796" actId="164"/>
          <ac:spMkLst>
            <pc:docMk/>
            <pc:sldMk cId="3135133555" sldId="330"/>
            <ac:spMk id="94" creationId="{2A5670A1-FA06-E119-94BC-FEA7EF333C35}"/>
          </ac:spMkLst>
        </pc:spChg>
        <pc:spChg chg="mod">
          <ac:chgData name="Nomeli, Mo" userId="03501b65-0e27-4b56-8c1f-6f5a4f41fafa" providerId="ADAL" clId="{9FADF72D-A898-518F-828F-25536BDA367F}" dt="2025-08-20T16:01:04.793" v="796" actId="164"/>
          <ac:spMkLst>
            <pc:docMk/>
            <pc:sldMk cId="3135133555" sldId="330"/>
            <ac:spMk id="95" creationId="{4804082C-D2DA-0A27-7981-D972F413E515}"/>
          </ac:spMkLst>
        </pc:spChg>
        <pc:spChg chg="mod">
          <ac:chgData name="Nomeli, Mo" userId="03501b65-0e27-4b56-8c1f-6f5a4f41fafa" providerId="ADAL" clId="{9FADF72D-A898-518F-828F-25536BDA367F}" dt="2025-08-20T16:01:04.793" v="796" actId="164"/>
          <ac:spMkLst>
            <pc:docMk/>
            <pc:sldMk cId="3135133555" sldId="330"/>
            <ac:spMk id="96" creationId="{0788EA4A-94F0-259F-328D-C52868FB5754}"/>
          </ac:spMkLst>
        </pc:spChg>
        <pc:spChg chg="add mod">
          <ac:chgData name="Nomeli, Mo" userId="03501b65-0e27-4b56-8c1f-6f5a4f41fafa" providerId="ADAL" clId="{9FADF72D-A898-518F-828F-25536BDA367F}" dt="2025-08-20T16:01:35.846" v="813" actId="403"/>
          <ac:spMkLst>
            <pc:docMk/>
            <pc:sldMk cId="3135133555" sldId="330"/>
            <ac:spMk id="97" creationId="{6AF222E4-4C9E-E361-08AB-DD08EE992609}"/>
          </ac:spMkLst>
        </pc:spChg>
        <pc:spChg chg="mod">
          <ac:chgData name="Nomeli, Mo" userId="03501b65-0e27-4b56-8c1f-6f5a4f41fafa" providerId="ADAL" clId="{9FADF72D-A898-518F-828F-25536BDA367F}" dt="2025-08-20T16:01:04.793" v="796" actId="164"/>
          <ac:spMkLst>
            <pc:docMk/>
            <pc:sldMk cId="3135133555" sldId="330"/>
            <ac:spMk id="98" creationId="{66D89EE9-F694-442B-81E4-23BA859754D1}"/>
          </ac:spMkLst>
        </pc:spChg>
        <pc:spChg chg="mod">
          <ac:chgData name="Nomeli, Mo" userId="03501b65-0e27-4b56-8c1f-6f5a4f41fafa" providerId="ADAL" clId="{9FADF72D-A898-518F-828F-25536BDA367F}" dt="2025-08-20T16:01:04.793" v="796" actId="164"/>
          <ac:spMkLst>
            <pc:docMk/>
            <pc:sldMk cId="3135133555" sldId="330"/>
            <ac:spMk id="100" creationId="{AC9E7FD7-F877-7F76-8B2F-084E2661571F}"/>
          </ac:spMkLst>
        </pc:spChg>
        <pc:spChg chg="mod">
          <ac:chgData name="Nomeli, Mo" userId="03501b65-0e27-4b56-8c1f-6f5a4f41fafa" providerId="ADAL" clId="{9FADF72D-A898-518F-828F-25536BDA367F}" dt="2025-08-20T16:01:04.793" v="796" actId="164"/>
          <ac:spMkLst>
            <pc:docMk/>
            <pc:sldMk cId="3135133555" sldId="330"/>
            <ac:spMk id="101" creationId="{10D2F80B-B3B2-08C7-C1B2-F093F49F9487}"/>
          </ac:spMkLst>
        </pc:spChg>
        <pc:grpChg chg="mod">
          <ac:chgData name="Nomeli, Mo" userId="03501b65-0e27-4b56-8c1f-6f5a4f41fafa" providerId="ADAL" clId="{9FADF72D-A898-518F-828F-25536BDA367F}" dt="2025-08-20T16:01:19.341" v="811" actId="1076"/>
          <ac:grpSpMkLst>
            <pc:docMk/>
            <pc:sldMk cId="3135133555" sldId="330"/>
            <ac:grpSpMk id="102" creationId="{291DC582-44A1-B0B9-6483-629769D05047}"/>
          </ac:grpSpMkLst>
        </pc:grpChg>
      </pc:sldChg>
      <pc:sldChg chg="addSp delSp modSp new mod">
        <pc:chgData name="Nomeli, Mo" userId="03501b65-0e27-4b56-8c1f-6f5a4f41fafa" providerId="ADAL" clId="{9FADF72D-A898-518F-828F-25536BDA367F}" dt="2025-08-20T16:22:12.182" v="944" actId="1076"/>
        <pc:sldMkLst>
          <pc:docMk/>
          <pc:sldMk cId="2631844908" sldId="331"/>
        </pc:sldMkLst>
        <pc:spChg chg="mod">
          <ac:chgData name="Nomeli, Mo" userId="03501b65-0e27-4b56-8c1f-6f5a4f41fafa" providerId="ADAL" clId="{9FADF72D-A898-518F-828F-25536BDA367F}" dt="2025-08-20T16:17:27.484" v="896"/>
          <ac:spMkLst>
            <pc:docMk/>
            <pc:sldMk cId="2631844908" sldId="331"/>
            <ac:spMk id="2" creationId="{D1EAE36C-983F-7D2C-C8F0-1C0482AE54C4}"/>
          </ac:spMkLst>
        </pc:spChg>
        <pc:spChg chg="mod">
          <ac:chgData name="Nomeli, Mo" userId="03501b65-0e27-4b56-8c1f-6f5a4f41fafa" providerId="ADAL" clId="{9FADF72D-A898-518F-828F-25536BDA367F}" dt="2025-08-20T16:16:36.572" v="863" actId="403"/>
          <ac:spMkLst>
            <pc:docMk/>
            <pc:sldMk cId="2631844908" sldId="331"/>
            <ac:spMk id="5" creationId="{9E16EC30-89E7-20D4-4AAC-CFAF760C0359}"/>
          </ac:spMkLst>
        </pc:spChg>
        <pc:spChg chg="mod">
          <ac:chgData name="Nomeli, Mo" userId="03501b65-0e27-4b56-8c1f-6f5a4f41fafa" providerId="ADAL" clId="{9FADF72D-A898-518F-828F-25536BDA367F}" dt="2025-08-20T16:16:36.572" v="863" actId="403"/>
          <ac:spMkLst>
            <pc:docMk/>
            <pc:sldMk cId="2631844908" sldId="331"/>
            <ac:spMk id="10" creationId="{6DFCB8DD-07F7-29F9-EE4F-82762B5F7137}"/>
          </ac:spMkLst>
        </pc:spChg>
        <pc:spChg chg="mod">
          <ac:chgData name="Nomeli, Mo" userId="03501b65-0e27-4b56-8c1f-6f5a4f41fafa" providerId="ADAL" clId="{9FADF72D-A898-518F-828F-25536BDA367F}" dt="2025-08-20T16:16:36.572" v="863" actId="403"/>
          <ac:spMkLst>
            <pc:docMk/>
            <pc:sldMk cId="2631844908" sldId="331"/>
            <ac:spMk id="15" creationId="{E50480BE-CE5D-C1A3-FD85-29973D6417F2}"/>
          </ac:spMkLst>
        </pc:spChg>
        <pc:spChg chg="mod">
          <ac:chgData name="Nomeli, Mo" userId="03501b65-0e27-4b56-8c1f-6f5a4f41fafa" providerId="ADAL" clId="{9FADF72D-A898-518F-828F-25536BDA367F}" dt="2025-08-20T16:16:36.572" v="863" actId="403"/>
          <ac:spMkLst>
            <pc:docMk/>
            <pc:sldMk cId="2631844908" sldId="331"/>
            <ac:spMk id="17" creationId="{59D0730B-0EF2-72C4-2925-C385889F091D}"/>
          </ac:spMkLst>
        </pc:spChg>
        <pc:spChg chg="mod">
          <ac:chgData name="Nomeli, Mo" userId="03501b65-0e27-4b56-8c1f-6f5a4f41fafa" providerId="ADAL" clId="{9FADF72D-A898-518F-828F-25536BDA367F}" dt="2025-08-20T16:16:36.572" v="863" actId="403"/>
          <ac:spMkLst>
            <pc:docMk/>
            <pc:sldMk cId="2631844908" sldId="331"/>
            <ac:spMk id="19" creationId="{485F7F48-CBEF-66D9-82EF-B83A62D5E188}"/>
          </ac:spMkLst>
        </pc:spChg>
        <pc:spChg chg="mod">
          <ac:chgData name="Nomeli, Mo" userId="03501b65-0e27-4b56-8c1f-6f5a4f41fafa" providerId="ADAL" clId="{9FADF72D-A898-518F-828F-25536BDA367F}" dt="2025-08-20T16:16:36.572" v="863" actId="403"/>
          <ac:spMkLst>
            <pc:docMk/>
            <pc:sldMk cId="2631844908" sldId="331"/>
            <ac:spMk id="30" creationId="{11BB0B66-75BD-04D3-ECA7-50E119F10059}"/>
          </ac:spMkLst>
        </pc:spChg>
        <pc:spChg chg="mod">
          <ac:chgData name="Nomeli, Mo" userId="03501b65-0e27-4b56-8c1f-6f5a4f41fafa" providerId="ADAL" clId="{9FADF72D-A898-518F-828F-25536BDA367F}" dt="2025-08-20T16:16:36.572" v="863" actId="403"/>
          <ac:spMkLst>
            <pc:docMk/>
            <pc:sldMk cId="2631844908" sldId="331"/>
            <ac:spMk id="41" creationId="{7FA7AB2A-97CC-E314-DB08-8298C7D09B97}"/>
          </ac:spMkLst>
        </pc:spChg>
        <pc:spChg chg="mod">
          <ac:chgData name="Nomeli, Mo" userId="03501b65-0e27-4b56-8c1f-6f5a4f41fafa" providerId="ADAL" clId="{9FADF72D-A898-518F-828F-25536BDA367F}" dt="2025-08-20T16:16:36.572" v="863" actId="403"/>
          <ac:spMkLst>
            <pc:docMk/>
            <pc:sldMk cId="2631844908" sldId="331"/>
            <ac:spMk id="45" creationId="{6593581C-C71F-F9AF-A376-36310AD17727}"/>
          </ac:spMkLst>
        </pc:spChg>
        <pc:spChg chg="mod">
          <ac:chgData name="Nomeli, Mo" userId="03501b65-0e27-4b56-8c1f-6f5a4f41fafa" providerId="ADAL" clId="{9FADF72D-A898-518F-828F-25536BDA367F}" dt="2025-08-20T16:20:55.279" v="908" actId="1076"/>
          <ac:spMkLst>
            <pc:docMk/>
            <pc:sldMk cId="2631844908" sldId="331"/>
            <ac:spMk id="49" creationId="{64447B9F-B90C-4D25-4B14-31769BE548E4}"/>
          </ac:spMkLst>
        </pc:spChg>
        <pc:spChg chg="mod">
          <ac:chgData name="Nomeli, Mo" userId="03501b65-0e27-4b56-8c1f-6f5a4f41fafa" providerId="ADAL" clId="{9FADF72D-A898-518F-828F-25536BDA367F}" dt="2025-08-20T16:21:25.788" v="912" actId="164"/>
          <ac:spMkLst>
            <pc:docMk/>
            <pc:sldMk cId="2631844908" sldId="331"/>
            <ac:spMk id="50" creationId="{7277C4EE-B797-52A8-6DE2-974D1829B004}"/>
          </ac:spMkLst>
        </pc:spChg>
        <pc:spChg chg="mod">
          <ac:chgData name="Nomeli, Mo" userId="03501b65-0e27-4b56-8c1f-6f5a4f41fafa" providerId="ADAL" clId="{9FADF72D-A898-518F-828F-25536BDA367F}" dt="2025-08-20T16:20:50.026" v="907" actId="1076"/>
          <ac:spMkLst>
            <pc:docMk/>
            <pc:sldMk cId="2631844908" sldId="331"/>
            <ac:spMk id="51" creationId="{633CB647-3632-DCE9-3FC3-9690EA744AA9}"/>
          </ac:spMkLst>
        </pc:spChg>
        <pc:spChg chg="add mod topLvl">
          <ac:chgData name="Nomeli, Mo" userId="03501b65-0e27-4b56-8c1f-6f5a4f41fafa" providerId="ADAL" clId="{9FADF72D-A898-518F-828F-25536BDA367F}" dt="2025-08-20T16:20:30.127" v="897" actId="1076"/>
          <ac:spMkLst>
            <pc:docMk/>
            <pc:sldMk cId="2631844908" sldId="331"/>
            <ac:spMk id="52" creationId="{90D382EE-3674-EB77-647E-091C04640CE1}"/>
          </ac:spMkLst>
        </pc:spChg>
        <pc:spChg chg="mod">
          <ac:chgData name="Nomeli, Mo" userId="03501b65-0e27-4b56-8c1f-6f5a4f41fafa" providerId="ADAL" clId="{9FADF72D-A898-518F-828F-25536BDA367F}" dt="2025-08-20T16:20:55.279" v="908" actId="1076"/>
          <ac:spMkLst>
            <pc:docMk/>
            <pc:sldMk cId="2631844908" sldId="331"/>
            <ac:spMk id="53" creationId="{718D25DB-835F-81C0-0597-CDDDDCDBE8DE}"/>
          </ac:spMkLst>
        </pc:spChg>
        <pc:spChg chg="mod">
          <ac:chgData name="Nomeli, Mo" userId="03501b65-0e27-4b56-8c1f-6f5a4f41fafa" providerId="ADAL" clId="{9FADF72D-A898-518F-828F-25536BDA367F}" dt="2025-08-20T16:20:33.395" v="898" actId="1076"/>
          <ac:spMkLst>
            <pc:docMk/>
            <pc:sldMk cId="2631844908" sldId="331"/>
            <ac:spMk id="54" creationId="{594B659C-4268-1F5C-4DF1-AA4F19C5FD01}"/>
          </ac:spMkLst>
        </pc:spChg>
        <pc:spChg chg="mod">
          <ac:chgData name="Nomeli, Mo" userId="03501b65-0e27-4b56-8c1f-6f5a4f41fafa" providerId="ADAL" clId="{9FADF72D-A898-518F-828F-25536BDA367F}" dt="2025-08-20T16:21:25.788" v="912" actId="164"/>
          <ac:spMkLst>
            <pc:docMk/>
            <pc:sldMk cId="2631844908" sldId="331"/>
            <ac:spMk id="55" creationId="{445C04A4-93E3-4E0A-2ECF-D4BEC8A8BCF5}"/>
          </ac:spMkLst>
        </pc:spChg>
        <pc:spChg chg="mod">
          <ac:chgData name="Nomeli, Mo" userId="03501b65-0e27-4b56-8c1f-6f5a4f41fafa" providerId="ADAL" clId="{9FADF72D-A898-518F-828F-25536BDA367F}" dt="2025-08-20T16:21:25.788" v="912" actId="164"/>
          <ac:spMkLst>
            <pc:docMk/>
            <pc:sldMk cId="2631844908" sldId="331"/>
            <ac:spMk id="56" creationId="{A6620AA9-B329-62B7-5B75-629B2BFF53F3}"/>
          </ac:spMkLst>
        </pc:spChg>
        <pc:spChg chg="mod">
          <ac:chgData name="Nomeli, Mo" userId="03501b65-0e27-4b56-8c1f-6f5a4f41fafa" providerId="ADAL" clId="{9FADF72D-A898-518F-828F-25536BDA367F}" dt="2025-08-20T16:21:59.309" v="935" actId="1038"/>
          <ac:spMkLst>
            <pc:docMk/>
            <pc:sldMk cId="2631844908" sldId="331"/>
            <ac:spMk id="57" creationId="{43154502-E00C-5760-9487-B74EFEE611C2}"/>
          </ac:spMkLst>
        </pc:spChg>
        <pc:spChg chg="mod">
          <ac:chgData name="Nomeli, Mo" userId="03501b65-0e27-4b56-8c1f-6f5a4f41fafa" providerId="ADAL" clId="{9FADF72D-A898-518F-828F-25536BDA367F}" dt="2025-08-20T16:17:09.821" v="876" actId="1035"/>
          <ac:spMkLst>
            <pc:docMk/>
            <pc:sldMk cId="2631844908" sldId="331"/>
            <ac:spMk id="58" creationId="{A1A5C3AC-BAAB-44AC-5AA2-D34A095291DA}"/>
          </ac:spMkLst>
        </pc:spChg>
        <pc:spChg chg="mod">
          <ac:chgData name="Nomeli, Mo" userId="03501b65-0e27-4b56-8c1f-6f5a4f41fafa" providerId="ADAL" clId="{9FADF72D-A898-518F-828F-25536BDA367F}" dt="2025-08-20T16:20:30.127" v="897" actId="1076"/>
          <ac:spMkLst>
            <pc:docMk/>
            <pc:sldMk cId="2631844908" sldId="331"/>
            <ac:spMk id="59" creationId="{2ADCF4A5-4966-61AE-4743-DF7E388A097B}"/>
          </ac:spMkLst>
        </pc:spChg>
        <pc:spChg chg="mod">
          <ac:chgData name="Nomeli, Mo" userId="03501b65-0e27-4b56-8c1f-6f5a4f41fafa" providerId="ADAL" clId="{9FADF72D-A898-518F-828F-25536BDA367F}" dt="2025-08-20T16:21:25.788" v="912" actId="164"/>
          <ac:spMkLst>
            <pc:docMk/>
            <pc:sldMk cId="2631844908" sldId="331"/>
            <ac:spMk id="60" creationId="{C9257284-29F1-6128-46DC-634978643614}"/>
          </ac:spMkLst>
        </pc:spChg>
        <pc:spChg chg="mod">
          <ac:chgData name="Nomeli, Mo" userId="03501b65-0e27-4b56-8c1f-6f5a4f41fafa" providerId="ADAL" clId="{9FADF72D-A898-518F-828F-25536BDA367F}" dt="2025-08-20T16:21:25.788" v="912" actId="164"/>
          <ac:spMkLst>
            <pc:docMk/>
            <pc:sldMk cId="2631844908" sldId="331"/>
            <ac:spMk id="61" creationId="{25E10190-2E4C-A177-1C77-F061EE43B6E0}"/>
          </ac:spMkLst>
        </pc:spChg>
        <pc:spChg chg="mod">
          <ac:chgData name="Nomeli, Mo" userId="03501b65-0e27-4b56-8c1f-6f5a4f41fafa" providerId="ADAL" clId="{9FADF72D-A898-518F-828F-25536BDA367F}" dt="2025-08-20T16:22:05.233" v="943" actId="1038"/>
          <ac:spMkLst>
            <pc:docMk/>
            <pc:sldMk cId="2631844908" sldId="331"/>
            <ac:spMk id="62" creationId="{DB868EA5-9234-DC31-94B1-C1B3CA351F93}"/>
          </ac:spMkLst>
        </pc:spChg>
        <pc:spChg chg="add mod topLvl">
          <ac:chgData name="Nomeli, Mo" userId="03501b65-0e27-4b56-8c1f-6f5a4f41fafa" providerId="ADAL" clId="{9FADF72D-A898-518F-828F-25536BDA367F}" dt="2025-08-20T16:21:25.788" v="912" actId="164"/>
          <ac:spMkLst>
            <pc:docMk/>
            <pc:sldMk cId="2631844908" sldId="331"/>
            <ac:spMk id="63" creationId="{F51C8C5B-53E3-671B-EE87-FAC993284648}"/>
          </ac:spMkLst>
        </pc:spChg>
        <pc:spChg chg="mod">
          <ac:chgData name="Nomeli, Mo" userId="03501b65-0e27-4b56-8c1f-6f5a4f41fafa" providerId="ADAL" clId="{9FADF72D-A898-518F-828F-25536BDA367F}" dt="2025-08-20T16:22:05.233" v="943" actId="1038"/>
          <ac:spMkLst>
            <pc:docMk/>
            <pc:sldMk cId="2631844908" sldId="331"/>
            <ac:spMk id="64" creationId="{2AF9EDA2-0A40-CF84-3829-F72781859CE6}"/>
          </ac:spMkLst>
        </pc:spChg>
        <pc:spChg chg="mod">
          <ac:chgData name="Nomeli, Mo" userId="03501b65-0e27-4b56-8c1f-6f5a4f41fafa" providerId="ADAL" clId="{9FADF72D-A898-518F-828F-25536BDA367F}" dt="2025-08-20T16:21:25.788" v="912" actId="164"/>
          <ac:spMkLst>
            <pc:docMk/>
            <pc:sldMk cId="2631844908" sldId="331"/>
            <ac:spMk id="65" creationId="{C843E4F9-600D-A964-6D13-35F566E674AA}"/>
          </ac:spMkLst>
        </pc:spChg>
        <pc:spChg chg="mod">
          <ac:chgData name="Nomeli, Mo" userId="03501b65-0e27-4b56-8c1f-6f5a4f41fafa" providerId="ADAL" clId="{9FADF72D-A898-518F-828F-25536BDA367F}" dt="2025-08-20T16:21:59.309" v="935" actId="1038"/>
          <ac:spMkLst>
            <pc:docMk/>
            <pc:sldMk cId="2631844908" sldId="331"/>
            <ac:spMk id="66" creationId="{62C47C92-3B87-0AC4-594E-E43C1C37DC56}"/>
          </ac:spMkLst>
        </pc:spChg>
        <pc:grpChg chg="mod">
          <ac:chgData name="Nomeli, Mo" userId="03501b65-0e27-4b56-8c1f-6f5a4f41fafa" providerId="ADAL" clId="{9FADF72D-A898-518F-828F-25536BDA367F}" dt="2025-08-20T16:15:04.643" v="834" actId="164"/>
          <ac:grpSpMkLst>
            <pc:docMk/>
            <pc:sldMk cId="2631844908" sldId="331"/>
            <ac:grpSpMk id="3" creationId="{B674F3DE-D7BE-E0ED-537F-29C058E58B4A}"/>
          </ac:grpSpMkLst>
        </pc:grpChg>
        <pc:grpChg chg="mod">
          <ac:chgData name="Nomeli, Mo" userId="03501b65-0e27-4b56-8c1f-6f5a4f41fafa" providerId="ADAL" clId="{9FADF72D-A898-518F-828F-25536BDA367F}" dt="2025-08-20T16:15:04.643" v="834" actId="164"/>
          <ac:grpSpMkLst>
            <pc:docMk/>
            <pc:sldMk cId="2631844908" sldId="331"/>
            <ac:grpSpMk id="22" creationId="{CA9AFE33-DB2E-25A1-CE45-1C4D7CDBDD2C}"/>
          </ac:grpSpMkLst>
        </pc:grpChg>
        <pc:grpChg chg="mod">
          <ac:chgData name="Nomeli, Mo" userId="03501b65-0e27-4b56-8c1f-6f5a4f41fafa" providerId="ADAL" clId="{9FADF72D-A898-518F-828F-25536BDA367F}" dt="2025-08-20T16:15:04.643" v="834" actId="164"/>
          <ac:grpSpMkLst>
            <pc:docMk/>
            <pc:sldMk cId="2631844908" sldId="331"/>
            <ac:grpSpMk id="28" creationId="{862EDB3D-19D0-F2FD-788D-9ECDC4CFB56C}"/>
          </ac:grpSpMkLst>
        </pc:grpChg>
        <pc:grpChg chg="mod">
          <ac:chgData name="Nomeli, Mo" userId="03501b65-0e27-4b56-8c1f-6f5a4f41fafa" providerId="ADAL" clId="{9FADF72D-A898-518F-828F-25536BDA367F}" dt="2025-08-20T16:15:04.643" v="834" actId="164"/>
          <ac:grpSpMkLst>
            <pc:docMk/>
            <pc:sldMk cId="2631844908" sldId="331"/>
            <ac:grpSpMk id="31" creationId="{75D39FEB-3135-030C-3B5B-AE9DD3B96910}"/>
          </ac:grpSpMkLst>
        </pc:grpChg>
        <pc:grpChg chg="mod">
          <ac:chgData name="Nomeli, Mo" userId="03501b65-0e27-4b56-8c1f-6f5a4f41fafa" providerId="ADAL" clId="{9FADF72D-A898-518F-828F-25536BDA367F}" dt="2025-08-20T16:15:04.643" v="834" actId="164"/>
          <ac:grpSpMkLst>
            <pc:docMk/>
            <pc:sldMk cId="2631844908" sldId="331"/>
            <ac:grpSpMk id="34" creationId="{340BE84A-1B72-7B57-51AD-9803997C92ED}"/>
          </ac:grpSpMkLst>
        </pc:grpChg>
        <pc:grpChg chg="mod">
          <ac:chgData name="Nomeli, Mo" userId="03501b65-0e27-4b56-8c1f-6f5a4f41fafa" providerId="ADAL" clId="{9FADF72D-A898-518F-828F-25536BDA367F}" dt="2025-08-20T16:15:04.643" v="834" actId="164"/>
          <ac:grpSpMkLst>
            <pc:docMk/>
            <pc:sldMk cId="2631844908" sldId="331"/>
            <ac:grpSpMk id="37" creationId="{1A889B77-BD39-18B8-48D2-EE51EF020952}"/>
          </ac:grpSpMkLst>
        </pc:grpChg>
        <pc:grpChg chg="mod">
          <ac:chgData name="Nomeli, Mo" userId="03501b65-0e27-4b56-8c1f-6f5a4f41fafa" providerId="ADAL" clId="{9FADF72D-A898-518F-828F-25536BDA367F}" dt="2025-08-20T16:15:04.643" v="834" actId="164"/>
          <ac:grpSpMkLst>
            <pc:docMk/>
            <pc:sldMk cId="2631844908" sldId="331"/>
            <ac:grpSpMk id="40" creationId="{C1DE041B-2AFA-60C4-1D8A-B07EDC1AC6EB}"/>
          </ac:grpSpMkLst>
        </pc:grpChg>
        <pc:grpChg chg="mod">
          <ac:chgData name="Nomeli, Mo" userId="03501b65-0e27-4b56-8c1f-6f5a4f41fafa" providerId="ADAL" clId="{9FADF72D-A898-518F-828F-25536BDA367F}" dt="2025-08-20T16:15:04.643" v="834" actId="164"/>
          <ac:grpSpMkLst>
            <pc:docMk/>
            <pc:sldMk cId="2631844908" sldId="331"/>
            <ac:grpSpMk id="43" creationId="{3DE03198-952B-8241-84A9-3B563295D1A1}"/>
          </ac:grpSpMkLst>
        </pc:grpChg>
        <pc:grpChg chg="mod">
          <ac:chgData name="Nomeli, Mo" userId="03501b65-0e27-4b56-8c1f-6f5a4f41fafa" providerId="ADAL" clId="{9FADF72D-A898-518F-828F-25536BDA367F}" dt="2025-08-20T16:15:04.643" v="834" actId="164"/>
          <ac:grpSpMkLst>
            <pc:docMk/>
            <pc:sldMk cId="2631844908" sldId="331"/>
            <ac:grpSpMk id="46" creationId="{78767B14-FD4F-ACDD-306D-F10D14F31B60}"/>
          </ac:grpSpMkLst>
        </pc:grpChg>
        <pc:grpChg chg="mod">
          <ac:chgData name="Nomeli, Mo" userId="03501b65-0e27-4b56-8c1f-6f5a4f41fafa" providerId="ADAL" clId="{9FADF72D-A898-518F-828F-25536BDA367F}" dt="2025-08-20T16:14:37.127" v="829" actId="1076"/>
          <ac:grpSpMkLst>
            <pc:docMk/>
            <pc:sldMk cId="2631844908" sldId="331"/>
            <ac:grpSpMk id="67" creationId="{A8F992A5-36A7-296B-F578-571C68A6B089}"/>
          </ac:grpSpMkLst>
        </pc:grpChg>
        <pc:grpChg chg="add mod">
          <ac:chgData name="Nomeli, Mo" userId="03501b65-0e27-4b56-8c1f-6f5a4f41fafa" providerId="ADAL" clId="{9FADF72D-A898-518F-828F-25536BDA367F}" dt="2025-08-20T16:20:38.219" v="906" actId="1035"/>
          <ac:grpSpMkLst>
            <pc:docMk/>
            <pc:sldMk cId="2631844908" sldId="331"/>
            <ac:grpSpMk id="68" creationId="{45B5101E-AADF-2B16-92C7-8083EEAE73A5}"/>
          </ac:grpSpMkLst>
        </pc:grpChg>
        <pc:grpChg chg="mod">
          <ac:chgData name="Nomeli, Mo" userId="03501b65-0e27-4b56-8c1f-6f5a4f41fafa" providerId="ADAL" clId="{9FADF72D-A898-518F-828F-25536BDA367F}" dt="2025-08-20T16:22:12.182" v="944" actId="1076"/>
          <ac:grpSpMkLst>
            <pc:docMk/>
            <pc:sldMk cId="2631844908" sldId="331"/>
            <ac:grpSpMk id="69" creationId="{6035A0E8-94BB-EB7E-5392-D4190DC427FD}"/>
          </ac:grpSpMkLst>
        </pc:grpChg>
      </pc:sldChg>
      <pc:sldChg chg="addSp modSp new mod">
        <pc:chgData name="Nomeli, Mo" userId="03501b65-0e27-4b56-8c1f-6f5a4f41fafa" providerId="ADAL" clId="{9FADF72D-A898-518F-828F-25536BDA367F}" dt="2025-08-20T16:57:42.256" v="1014"/>
        <pc:sldMkLst>
          <pc:docMk/>
          <pc:sldMk cId="313378048" sldId="332"/>
        </pc:sldMkLst>
        <pc:spChg chg="mod">
          <ac:chgData name="Nomeli, Mo" userId="03501b65-0e27-4b56-8c1f-6f5a4f41fafa" providerId="ADAL" clId="{9FADF72D-A898-518F-828F-25536BDA367F}" dt="2025-08-20T16:57:42.256" v="1014"/>
          <ac:spMkLst>
            <pc:docMk/>
            <pc:sldMk cId="313378048" sldId="332"/>
            <ac:spMk id="2" creationId="{3C177AD4-7140-BA71-EC59-36C6293001D4}"/>
          </ac:spMkLst>
        </pc:spChg>
        <pc:spChg chg="mod">
          <ac:chgData name="Nomeli, Mo" userId="03501b65-0e27-4b56-8c1f-6f5a4f41fafa" providerId="ADAL" clId="{9FADF72D-A898-518F-828F-25536BDA367F}" dt="2025-08-20T16:27:07.037" v="946"/>
          <ac:spMkLst>
            <pc:docMk/>
            <pc:sldMk cId="313378048" sldId="332"/>
            <ac:spMk id="4" creationId="{FB8991DA-EE79-BF43-2BAC-F4909044E52D}"/>
          </ac:spMkLst>
        </pc:spChg>
        <pc:spChg chg="mod">
          <ac:chgData name="Nomeli, Mo" userId="03501b65-0e27-4b56-8c1f-6f5a4f41fafa" providerId="ADAL" clId="{9FADF72D-A898-518F-828F-25536BDA367F}" dt="2025-08-20T16:27:07.037" v="946"/>
          <ac:spMkLst>
            <pc:docMk/>
            <pc:sldMk cId="313378048" sldId="332"/>
            <ac:spMk id="5" creationId="{4F6FE7C4-9CF2-A713-731C-942E86F65D9C}"/>
          </ac:spMkLst>
        </pc:spChg>
        <pc:spChg chg="mod">
          <ac:chgData name="Nomeli, Mo" userId="03501b65-0e27-4b56-8c1f-6f5a4f41fafa" providerId="ADAL" clId="{9FADF72D-A898-518F-828F-25536BDA367F}" dt="2025-08-20T16:27:07.037" v="946"/>
          <ac:spMkLst>
            <pc:docMk/>
            <pc:sldMk cId="313378048" sldId="332"/>
            <ac:spMk id="7" creationId="{F506A3EF-CB99-A2D7-898B-AAA97C1EBA29}"/>
          </ac:spMkLst>
        </pc:spChg>
        <pc:spChg chg="mod">
          <ac:chgData name="Nomeli, Mo" userId="03501b65-0e27-4b56-8c1f-6f5a4f41fafa" providerId="ADAL" clId="{9FADF72D-A898-518F-828F-25536BDA367F}" dt="2025-08-20T16:27:07.037" v="946"/>
          <ac:spMkLst>
            <pc:docMk/>
            <pc:sldMk cId="313378048" sldId="332"/>
            <ac:spMk id="10" creationId="{6D66F5A3-93A2-396D-6A1E-DC653864656F}"/>
          </ac:spMkLst>
        </pc:spChg>
        <pc:spChg chg="mod">
          <ac:chgData name="Nomeli, Mo" userId="03501b65-0e27-4b56-8c1f-6f5a4f41fafa" providerId="ADAL" clId="{9FADF72D-A898-518F-828F-25536BDA367F}" dt="2025-08-20T16:27:07.037" v="946"/>
          <ac:spMkLst>
            <pc:docMk/>
            <pc:sldMk cId="313378048" sldId="332"/>
            <ac:spMk id="12" creationId="{D0411FBE-041F-7308-47C9-2BF1890D84FD}"/>
          </ac:spMkLst>
        </pc:spChg>
        <pc:spChg chg="mod">
          <ac:chgData name="Nomeli, Mo" userId="03501b65-0e27-4b56-8c1f-6f5a4f41fafa" providerId="ADAL" clId="{9FADF72D-A898-518F-828F-25536BDA367F}" dt="2025-08-20T16:27:07.037" v="946"/>
          <ac:spMkLst>
            <pc:docMk/>
            <pc:sldMk cId="313378048" sldId="332"/>
            <ac:spMk id="15" creationId="{3051FFD2-1B32-06FE-3CE8-7FD47B2B6F69}"/>
          </ac:spMkLst>
        </pc:spChg>
        <pc:spChg chg="add mod">
          <ac:chgData name="Nomeli, Mo" userId="03501b65-0e27-4b56-8c1f-6f5a4f41fafa" providerId="ADAL" clId="{9FADF72D-A898-518F-828F-25536BDA367F}" dt="2025-08-20T16:29:44.747" v="995" actId="1076"/>
          <ac:spMkLst>
            <pc:docMk/>
            <pc:sldMk cId="313378048" sldId="332"/>
            <ac:spMk id="16" creationId="{8B2323AB-B9BD-E0EC-EC34-131A0B5A72BA}"/>
          </ac:spMkLst>
        </pc:spChg>
        <pc:spChg chg="mod">
          <ac:chgData name="Nomeli, Mo" userId="03501b65-0e27-4b56-8c1f-6f5a4f41fafa" providerId="ADAL" clId="{9FADF72D-A898-518F-828F-25536BDA367F}" dt="2025-08-20T16:29:44.747" v="995" actId="1076"/>
          <ac:spMkLst>
            <pc:docMk/>
            <pc:sldMk cId="313378048" sldId="332"/>
            <ac:spMk id="17" creationId="{D3A9C6F0-4E01-CEEE-EAAF-31BBC8A42306}"/>
          </ac:spMkLst>
        </pc:spChg>
        <pc:spChg chg="add mod">
          <ac:chgData name="Nomeli, Mo" userId="03501b65-0e27-4b56-8c1f-6f5a4f41fafa" providerId="ADAL" clId="{9FADF72D-A898-518F-828F-25536BDA367F}" dt="2025-08-20T16:31:03.864" v="1008" actId="1076"/>
          <ac:spMkLst>
            <pc:docMk/>
            <pc:sldMk cId="313378048" sldId="332"/>
            <ac:spMk id="18" creationId="{EDB906E2-96D4-7E26-4D29-33A00D16D2B6}"/>
          </ac:spMkLst>
        </pc:spChg>
        <pc:spChg chg="mod">
          <ac:chgData name="Nomeli, Mo" userId="03501b65-0e27-4b56-8c1f-6f5a4f41fafa" providerId="ADAL" clId="{9FADF72D-A898-518F-828F-25536BDA367F}" dt="2025-08-20T16:31:11.947" v="1009" actId="1076"/>
          <ac:spMkLst>
            <pc:docMk/>
            <pc:sldMk cId="313378048" sldId="332"/>
            <ac:spMk id="19" creationId="{0977AC11-84EA-726D-8975-FD25753CE7B1}"/>
          </ac:spMkLst>
        </pc:spChg>
        <pc:spChg chg="mod">
          <ac:chgData name="Nomeli, Mo" userId="03501b65-0e27-4b56-8c1f-6f5a4f41fafa" providerId="ADAL" clId="{9FADF72D-A898-518F-828F-25536BDA367F}" dt="2025-08-20T16:31:21.548" v="1011" actId="1076"/>
          <ac:spMkLst>
            <pc:docMk/>
            <pc:sldMk cId="313378048" sldId="332"/>
            <ac:spMk id="20" creationId="{A51E284A-EBAA-9826-E966-276B269400E3}"/>
          </ac:spMkLst>
        </pc:spChg>
        <pc:spChg chg="mod">
          <ac:chgData name="Nomeli, Mo" userId="03501b65-0e27-4b56-8c1f-6f5a4f41fafa" providerId="ADAL" clId="{9FADF72D-A898-518F-828F-25536BDA367F}" dt="2025-08-20T16:31:16.814" v="1010" actId="1076"/>
          <ac:spMkLst>
            <pc:docMk/>
            <pc:sldMk cId="313378048" sldId="332"/>
            <ac:spMk id="21" creationId="{E4E0417A-F6BD-59ED-954A-FA827903D17D}"/>
          </ac:spMkLst>
        </pc:spChg>
        <pc:spChg chg="add mod">
          <ac:chgData name="Nomeli, Mo" userId="03501b65-0e27-4b56-8c1f-6f5a4f41fafa" providerId="ADAL" clId="{9FADF72D-A898-518F-828F-25536BDA367F}" dt="2025-08-20T16:31:21.548" v="1011" actId="1076"/>
          <ac:spMkLst>
            <pc:docMk/>
            <pc:sldMk cId="313378048" sldId="332"/>
            <ac:spMk id="22" creationId="{C7AD6EBD-2082-0B25-A034-FD56FA67296A}"/>
          </ac:spMkLst>
        </pc:spChg>
        <pc:spChg chg="mod">
          <ac:chgData name="Nomeli, Mo" userId="03501b65-0e27-4b56-8c1f-6f5a4f41fafa" providerId="ADAL" clId="{9FADF72D-A898-518F-828F-25536BDA367F}" dt="2025-08-20T16:31:16.814" v="1010" actId="1076"/>
          <ac:spMkLst>
            <pc:docMk/>
            <pc:sldMk cId="313378048" sldId="332"/>
            <ac:spMk id="23" creationId="{9900DC22-32F9-B8E6-CDA2-9B3FA8F81D3B}"/>
          </ac:spMkLst>
        </pc:spChg>
        <pc:spChg chg="add mod">
          <ac:chgData name="Nomeli, Mo" userId="03501b65-0e27-4b56-8c1f-6f5a4f41fafa" providerId="ADAL" clId="{9FADF72D-A898-518F-828F-25536BDA367F}" dt="2025-08-20T16:27:18.169" v="948" actId="164"/>
          <ac:spMkLst>
            <pc:docMk/>
            <pc:sldMk cId="313378048" sldId="332"/>
            <ac:spMk id="24" creationId="{ED42967B-45C3-02C9-68E0-39CC6159F145}"/>
          </ac:spMkLst>
        </pc:spChg>
        <pc:spChg chg="mod">
          <ac:chgData name="Nomeli, Mo" userId="03501b65-0e27-4b56-8c1f-6f5a4f41fafa" providerId="ADAL" clId="{9FADF72D-A898-518F-828F-25536BDA367F}" dt="2025-08-20T16:27:18.169" v="948" actId="164"/>
          <ac:spMkLst>
            <pc:docMk/>
            <pc:sldMk cId="313378048" sldId="332"/>
            <ac:spMk id="25" creationId="{672171E5-7352-D25D-768B-6B8416306087}"/>
          </ac:spMkLst>
        </pc:spChg>
        <pc:spChg chg="mod">
          <ac:chgData name="Nomeli, Mo" userId="03501b65-0e27-4b56-8c1f-6f5a4f41fafa" providerId="ADAL" clId="{9FADF72D-A898-518F-828F-25536BDA367F}" dt="2025-08-20T16:27:18.169" v="948" actId="164"/>
          <ac:spMkLst>
            <pc:docMk/>
            <pc:sldMk cId="313378048" sldId="332"/>
            <ac:spMk id="26" creationId="{79C62CEB-9899-1310-89AC-D0D6A3F5796C}"/>
          </ac:spMkLst>
        </pc:spChg>
        <pc:grpChg chg="mod">
          <ac:chgData name="Nomeli, Mo" userId="03501b65-0e27-4b56-8c1f-6f5a4f41fafa" providerId="ADAL" clId="{9FADF72D-A898-518F-828F-25536BDA367F}" dt="2025-08-20T16:27:18.169" v="948" actId="164"/>
          <ac:grpSpMkLst>
            <pc:docMk/>
            <pc:sldMk cId="313378048" sldId="332"/>
            <ac:grpSpMk id="3" creationId="{8B0F3872-7794-9E5F-07C4-86BCD31ED817}"/>
          </ac:grpSpMkLst>
        </pc:grpChg>
        <pc:grpChg chg="mod">
          <ac:chgData name="Nomeli, Mo" userId="03501b65-0e27-4b56-8c1f-6f5a4f41fafa" providerId="ADAL" clId="{9FADF72D-A898-518F-828F-25536BDA367F}" dt="2025-08-20T16:27:18.169" v="948" actId="164"/>
          <ac:grpSpMkLst>
            <pc:docMk/>
            <pc:sldMk cId="313378048" sldId="332"/>
            <ac:grpSpMk id="8" creationId="{E0B4A8BA-D011-2A45-CE97-C30155039B5C}"/>
          </ac:grpSpMkLst>
        </pc:grpChg>
        <pc:grpChg chg="mod">
          <ac:chgData name="Nomeli, Mo" userId="03501b65-0e27-4b56-8c1f-6f5a4f41fafa" providerId="ADAL" clId="{9FADF72D-A898-518F-828F-25536BDA367F}" dt="2025-08-20T16:27:18.169" v="948" actId="164"/>
          <ac:grpSpMkLst>
            <pc:docMk/>
            <pc:sldMk cId="313378048" sldId="332"/>
            <ac:grpSpMk id="11" creationId="{9FA7EFA6-9EED-3D78-DB0C-AC4F49AA6B03}"/>
          </ac:grpSpMkLst>
        </pc:grpChg>
        <pc:grpChg chg="add mod">
          <ac:chgData name="Nomeli, Mo" userId="03501b65-0e27-4b56-8c1f-6f5a4f41fafa" providerId="ADAL" clId="{9FADF72D-A898-518F-828F-25536BDA367F}" dt="2025-08-20T16:29:47.847" v="996" actId="1076"/>
          <ac:grpSpMkLst>
            <pc:docMk/>
            <pc:sldMk cId="313378048" sldId="332"/>
            <ac:grpSpMk id="27" creationId="{5E4EF94E-55B9-A4CC-2842-C1E51D61AD0E}"/>
          </ac:grpSpMkLst>
        </pc:grpChg>
      </pc:sldChg>
      <pc:sldChg chg="addSp modSp new mod">
        <pc:chgData name="Nomeli, Mo" userId="03501b65-0e27-4b56-8c1f-6f5a4f41fafa" providerId="ADAL" clId="{9FADF72D-A898-518F-828F-25536BDA367F}" dt="2025-08-20T16:58:25.211" v="1035" actId="403"/>
        <pc:sldMkLst>
          <pc:docMk/>
          <pc:sldMk cId="1873080088" sldId="333"/>
        </pc:sldMkLst>
        <pc:spChg chg="mod">
          <ac:chgData name="Nomeli, Mo" userId="03501b65-0e27-4b56-8c1f-6f5a4f41fafa" providerId="ADAL" clId="{9FADF72D-A898-518F-828F-25536BDA367F}" dt="2025-08-20T16:57:56.685" v="1015"/>
          <ac:spMkLst>
            <pc:docMk/>
            <pc:sldMk cId="1873080088" sldId="333"/>
            <ac:spMk id="2" creationId="{F8B2445E-218A-1F7D-31A5-29C4C5ECDC4E}"/>
          </ac:spMkLst>
        </pc:spChg>
        <pc:spChg chg="mod">
          <ac:chgData name="Nomeli, Mo" userId="03501b65-0e27-4b56-8c1f-6f5a4f41fafa" providerId="ADAL" clId="{9FADF72D-A898-518F-828F-25536BDA367F}" dt="2025-08-20T16:58:25.211" v="1035" actId="403"/>
          <ac:spMkLst>
            <pc:docMk/>
            <pc:sldMk cId="1873080088" sldId="333"/>
            <ac:spMk id="5" creationId="{790C654A-B84C-BCE8-A04C-30C83C4C39B8}"/>
          </ac:spMkLst>
        </pc:spChg>
        <pc:spChg chg="mod">
          <ac:chgData name="Nomeli, Mo" userId="03501b65-0e27-4b56-8c1f-6f5a4f41fafa" providerId="ADAL" clId="{9FADF72D-A898-518F-828F-25536BDA367F}" dt="2025-08-20T16:58:25.211" v="1035" actId="403"/>
          <ac:spMkLst>
            <pc:docMk/>
            <pc:sldMk cId="1873080088" sldId="333"/>
            <ac:spMk id="7" creationId="{E4E6F50C-21F3-B134-F245-54936236F3F4}"/>
          </ac:spMkLst>
        </pc:spChg>
        <pc:spChg chg="mod">
          <ac:chgData name="Nomeli, Mo" userId="03501b65-0e27-4b56-8c1f-6f5a4f41fafa" providerId="ADAL" clId="{9FADF72D-A898-518F-828F-25536BDA367F}" dt="2025-08-20T16:58:25.211" v="1035" actId="403"/>
          <ac:spMkLst>
            <pc:docMk/>
            <pc:sldMk cId="1873080088" sldId="333"/>
            <ac:spMk id="11" creationId="{A396BF56-A57B-98F9-ECFC-CBD633A36062}"/>
          </ac:spMkLst>
        </pc:spChg>
        <pc:spChg chg="mod">
          <ac:chgData name="Nomeli, Mo" userId="03501b65-0e27-4b56-8c1f-6f5a4f41fafa" providerId="ADAL" clId="{9FADF72D-A898-518F-828F-25536BDA367F}" dt="2025-08-20T16:58:25.211" v="1035" actId="403"/>
          <ac:spMkLst>
            <pc:docMk/>
            <pc:sldMk cId="1873080088" sldId="333"/>
            <ac:spMk id="16" creationId="{B654E704-1833-3C3B-DFA2-61776B415BDD}"/>
          </ac:spMkLst>
        </pc:spChg>
        <pc:spChg chg="mod">
          <ac:chgData name="Nomeli, Mo" userId="03501b65-0e27-4b56-8c1f-6f5a4f41fafa" providerId="ADAL" clId="{9FADF72D-A898-518F-828F-25536BDA367F}" dt="2025-08-20T16:58:05.224" v="1017" actId="164"/>
          <ac:spMkLst>
            <pc:docMk/>
            <pc:sldMk cId="1873080088" sldId="333"/>
            <ac:spMk id="21" creationId="{0A4BC1EC-27F7-57CE-508D-28AEA43536A1}"/>
          </ac:spMkLst>
        </pc:spChg>
        <pc:spChg chg="add mod">
          <ac:chgData name="Nomeli, Mo" userId="03501b65-0e27-4b56-8c1f-6f5a4f41fafa" providerId="ADAL" clId="{9FADF72D-A898-518F-828F-25536BDA367F}" dt="2025-08-20T16:58:25.211" v="1035" actId="403"/>
          <ac:spMkLst>
            <pc:docMk/>
            <pc:sldMk cId="1873080088" sldId="333"/>
            <ac:spMk id="22" creationId="{FE78BE2B-37F7-C032-ED19-DC1D3681D952}"/>
          </ac:spMkLst>
        </pc:spChg>
        <pc:spChg chg="add mod">
          <ac:chgData name="Nomeli, Mo" userId="03501b65-0e27-4b56-8c1f-6f5a4f41fafa" providerId="ADAL" clId="{9FADF72D-A898-518F-828F-25536BDA367F}" dt="2025-08-20T16:58:25.211" v="1035" actId="403"/>
          <ac:spMkLst>
            <pc:docMk/>
            <pc:sldMk cId="1873080088" sldId="333"/>
            <ac:spMk id="23" creationId="{BD27565C-F16F-C275-C99F-7DF1A2D14314}"/>
          </ac:spMkLst>
        </pc:spChg>
        <pc:spChg chg="add mod">
          <ac:chgData name="Nomeli, Mo" userId="03501b65-0e27-4b56-8c1f-6f5a4f41fafa" providerId="ADAL" clId="{9FADF72D-A898-518F-828F-25536BDA367F}" dt="2025-08-20T16:58:25.211" v="1035" actId="403"/>
          <ac:spMkLst>
            <pc:docMk/>
            <pc:sldMk cId="1873080088" sldId="333"/>
            <ac:spMk id="24" creationId="{EC66F482-C04B-09E7-B891-8068219E89E1}"/>
          </ac:spMkLst>
        </pc:spChg>
        <pc:spChg chg="add mod">
          <ac:chgData name="Nomeli, Mo" userId="03501b65-0e27-4b56-8c1f-6f5a4f41fafa" providerId="ADAL" clId="{9FADF72D-A898-518F-828F-25536BDA367F}" dt="2025-08-20T16:58:25.211" v="1035" actId="403"/>
          <ac:spMkLst>
            <pc:docMk/>
            <pc:sldMk cId="1873080088" sldId="333"/>
            <ac:spMk id="26" creationId="{D353869E-D98F-9309-1593-02F49216DE51}"/>
          </ac:spMkLst>
        </pc:spChg>
        <pc:spChg chg="mod">
          <ac:chgData name="Nomeli, Mo" userId="03501b65-0e27-4b56-8c1f-6f5a4f41fafa" providerId="ADAL" clId="{9FADF72D-A898-518F-828F-25536BDA367F}" dt="2025-08-20T16:58:05.224" v="1017" actId="164"/>
          <ac:spMkLst>
            <pc:docMk/>
            <pc:sldMk cId="1873080088" sldId="333"/>
            <ac:spMk id="27" creationId="{33E911CD-A11C-9922-917E-33DD09C16550}"/>
          </ac:spMkLst>
        </pc:spChg>
        <pc:spChg chg="mod">
          <ac:chgData name="Nomeli, Mo" userId="03501b65-0e27-4b56-8c1f-6f5a4f41fafa" providerId="ADAL" clId="{9FADF72D-A898-518F-828F-25536BDA367F}" dt="2025-08-20T16:58:05.224" v="1017" actId="164"/>
          <ac:spMkLst>
            <pc:docMk/>
            <pc:sldMk cId="1873080088" sldId="333"/>
            <ac:spMk id="28" creationId="{6BC7721C-95B4-6F35-114B-C40AB3DAB759}"/>
          </ac:spMkLst>
        </pc:spChg>
        <pc:spChg chg="mod">
          <ac:chgData name="Nomeli, Mo" userId="03501b65-0e27-4b56-8c1f-6f5a4f41fafa" providerId="ADAL" clId="{9FADF72D-A898-518F-828F-25536BDA367F}" dt="2025-08-20T16:58:05.224" v="1017" actId="164"/>
          <ac:spMkLst>
            <pc:docMk/>
            <pc:sldMk cId="1873080088" sldId="333"/>
            <ac:spMk id="30" creationId="{B6B96F43-8A82-B0DE-59FD-A716B03A569F}"/>
          </ac:spMkLst>
        </pc:spChg>
        <pc:spChg chg="add mod">
          <ac:chgData name="Nomeli, Mo" userId="03501b65-0e27-4b56-8c1f-6f5a4f41fafa" providerId="ADAL" clId="{9FADF72D-A898-518F-828F-25536BDA367F}" dt="2025-08-20T16:58:25.211" v="1035" actId="403"/>
          <ac:spMkLst>
            <pc:docMk/>
            <pc:sldMk cId="1873080088" sldId="333"/>
            <ac:spMk id="31" creationId="{BB750ED7-D245-2E41-3064-8883C0E17B31}"/>
          </ac:spMkLst>
        </pc:spChg>
        <pc:spChg chg="add mod">
          <ac:chgData name="Nomeli, Mo" userId="03501b65-0e27-4b56-8c1f-6f5a4f41fafa" providerId="ADAL" clId="{9FADF72D-A898-518F-828F-25536BDA367F}" dt="2025-08-20T16:58:25.211" v="1035" actId="403"/>
          <ac:spMkLst>
            <pc:docMk/>
            <pc:sldMk cId="1873080088" sldId="333"/>
            <ac:spMk id="32" creationId="{3ABBFF83-0F09-ABCE-5B8C-2A96FD57E882}"/>
          </ac:spMkLst>
        </pc:spChg>
        <pc:grpChg chg="mod">
          <ac:chgData name="Nomeli, Mo" userId="03501b65-0e27-4b56-8c1f-6f5a4f41fafa" providerId="ADAL" clId="{9FADF72D-A898-518F-828F-25536BDA367F}" dt="2025-08-20T16:58:19.523" v="1032" actId="1076"/>
          <ac:grpSpMkLst>
            <pc:docMk/>
            <pc:sldMk cId="1873080088" sldId="333"/>
            <ac:grpSpMk id="33" creationId="{F4AA5D8F-560F-C2D0-B8EF-0E6F0428201C}"/>
          </ac:grpSpMkLst>
        </pc:grpChg>
      </pc:sldChg>
      <pc:sldChg chg="addSp modSp new mod">
        <pc:chgData name="Nomeli, Mo" userId="03501b65-0e27-4b56-8c1f-6f5a4f41fafa" providerId="ADAL" clId="{9FADF72D-A898-518F-828F-25536BDA367F}" dt="2025-08-20T17:04:54.607" v="1063" actId="1076"/>
        <pc:sldMkLst>
          <pc:docMk/>
          <pc:sldMk cId="2967591608" sldId="334"/>
        </pc:sldMkLst>
        <pc:spChg chg="mod">
          <ac:chgData name="Nomeli, Mo" userId="03501b65-0e27-4b56-8c1f-6f5a4f41fafa" providerId="ADAL" clId="{9FADF72D-A898-518F-828F-25536BDA367F}" dt="2025-08-20T17:04:06.060" v="1037"/>
          <ac:spMkLst>
            <pc:docMk/>
            <pc:sldMk cId="2967591608" sldId="334"/>
            <ac:spMk id="2" creationId="{DF00AA3E-33AE-245F-E161-75377D91A3E1}"/>
          </ac:spMkLst>
        </pc:spChg>
        <pc:spChg chg="mod">
          <ac:chgData name="Nomeli, Mo" userId="03501b65-0e27-4b56-8c1f-6f5a4f41fafa" providerId="ADAL" clId="{9FADF72D-A898-518F-828F-25536BDA367F}" dt="2025-08-20T17:04:34.794" v="1052" actId="403"/>
          <ac:spMkLst>
            <pc:docMk/>
            <pc:sldMk cId="2967591608" sldId="334"/>
            <ac:spMk id="4" creationId="{D7716084-E6BC-EC77-EA42-7B00E23C5534}"/>
          </ac:spMkLst>
        </pc:spChg>
        <pc:spChg chg="mod">
          <ac:chgData name="Nomeli, Mo" userId="03501b65-0e27-4b56-8c1f-6f5a4f41fafa" providerId="ADAL" clId="{9FADF72D-A898-518F-828F-25536BDA367F}" dt="2025-08-20T17:04:34.794" v="1052" actId="403"/>
          <ac:spMkLst>
            <pc:docMk/>
            <pc:sldMk cId="2967591608" sldId="334"/>
            <ac:spMk id="8" creationId="{8557E6E5-8B30-17DA-6563-11783E2C1313}"/>
          </ac:spMkLst>
        </pc:spChg>
        <pc:spChg chg="mod">
          <ac:chgData name="Nomeli, Mo" userId="03501b65-0e27-4b56-8c1f-6f5a4f41fafa" providerId="ADAL" clId="{9FADF72D-A898-518F-828F-25536BDA367F}" dt="2025-08-20T17:04:34.794" v="1052" actId="403"/>
          <ac:spMkLst>
            <pc:docMk/>
            <pc:sldMk cId="2967591608" sldId="334"/>
            <ac:spMk id="10" creationId="{B6E7C3C1-2D13-31F0-4A71-56DC4BACD84C}"/>
          </ac:spMkLst>
        </pc:spChg>
        <pc:spChg chg="mod">
          <ac:chgData name="Nomeli, Mo" userId="03501b65-0e27-4b56-8c1f-6f5a4f41fafa" providerId="ADAL" clId="{9FADF72D-A898-518F-828F-25536BDA367F}" dt="2025-08-20T17:04:34.794" v="1052" actId="403"/>
          <ac:spMkLst>
            <pc:docMk/>
            <pc:sldMk cId="2967591608" sldId="334"/>
            <ac:spMk id="11" creationId="{5DEB6F45-6CFE-CF0C-0EF8-EA7D3B14B4CE}"/>
          </ac:spMkLst>
        </pc:spChg>
        <pc:spChg chg="mod">
          <ac:chgData name="Nomeli, Mo" userId="03501b65-0e27-4b56-8c1f-6f5a4f41fafa" providerId="ADAL" clId="{9FADF72D-A898-518F-828F-25536BDA367F}" dt="2025-08-20T17:04:23.327" v="1040" actId="164"/>
          <ac:spMkLst>
            <pc:docMk/>
            <pc:sldMk cId="2967591608" sldId="334"/>
            <ac:spMk id="12" creationId="{7C3AA6DE-456F-1E46-A476-335C6EA1FC07}"/>
          </ac:spMkLst>
        </pc:spChg>
        <pc:spChg chg="mod">
          <ac:chgData name="Nomeli, Mo" userId="03501b65-0e27-4b56-8c1f-6f5a4f41fafa" providerId="ADAL" clId="{9FADF72D-A898-518F-828F-25536BDA367F}" dt="2025-08-20T17:04:23.327" v="1040" actId="164"/>
          <ac:spMkLst>
            <pc:docMk/>
            <pc:sldMk cId="2967591608" sldId="334"/>
            <ac:spMk id="13" creationId="{B0372882-451A-F99B-575D-EE07047266E4}"/>
          </ac:spMkLst>
        </pc:spChg>
        <pc:spChg chg="add mod">
          <ac:chgData name="Nomeli, Mo" userId="03501b65-0e27-4b56-8c1f-6f5a4f41fafa" providerId="ADAL" clId="{9FADF72D-A898-518F-828F-25536BDA367F}" dt="2025-08-20T17:04:34.794" v="1052" actId="403"/>
          <ac:spMkLst>
            <pc:docMk/>
            <pc:sldMk cId="2967591608" sldId="334"/>
            <ac:spMk id="14" creationId="{F7FF4A48-A8CE-4289-163D-00056F29F673}"/>
          </ac:spMkLst>
        </pc:spChg>
        <pc:spChg chg="mod">
          <ac:chgData name="Nomeli, Mo" userId="03501b65-0e27-4b56-8c1f-6f5a4f41fafa" providerId="ADAL" clId="{9FADF72D-A898-518F-828F-25536BDA367F}" dt="2025-08-20T17:04:40.228" v="1055" actId="20577"/>
          <ac:spMkLst>
            <pc:docMk/>
            <pc:sldMk cId="2967591608" sldId="334"/>
            <ac:spMk id="15" creationId="{A6258F75-F935-481E-D79B-3DA521337DC7}"/>
          </ac:spMkLst>
        </pc:spChg>
        <pc:spChg chg="add mod">
          <ac:chgData name="Nomeli, Mo" userId="03501b65-0e27-4b56-8c1f-6f5a4f41fafa" providerId="ADAL" clId="{9FADF72D-A898-518F-828F-25536BDA367F}" dt="2025-08-20T17:04:42.820" v="1058" actId="20577"/>
          <ac:spMkLst>
            <pc:docMk/>
            <pc:sldMk cId="2967591608" sldId="334"/>
            <ac:spMk id="16" creationId="{01EB58AB-F011-4123-5B28-B81C4CE5DA69}"/>
          </ac:spMkLst>
        </pc:spChg>
        <pc:spChg chg="add mod">
          <ac:chgData name="Nomeli, Mo" userId="03501b65-0e27-4b56-8c1f-6f5a4f41fafa" providerId="ADAL" clId="{9FADF72D-A898-518F-828F-25536BDA367F}" dt="2025-08-20T17:04:44.886" v="1061" actId="20577"/>
          <ac:spMkLst>
            <pc:docMk/>
            <pc:sldMk cId="2967591608" sldId="334"/>
            <ac:spMk id="17" creationId="{AC480B9F-2CB2-951F-57B9-F2A052647AEA}"/>
          </ac:spMkLst>
        </pc:spChg>
        <pc:spChg chg="mod">
          <ac:chgData name="Nomeli, Mo" userId="03501b65-0e27-4b56-8c1f-6f5a4f41fafa" providerId="ADAL" clId="{9FADF72D-A898-518F-828F-25536BDA367F}" dt="2025-08-20T17:04:51.308" v="1062" actId="1076"/>
          <ac:spMkLst>
            <pc:docMk/>
            <pc:sldMk cId="2967591608" sldId="334"/>
            <ac:spMk id="18" creationId="{796DC962-1078-35F8-5448-33995CDAD53C}"/>
          </ac:spMkLst>
        </pc:spChg>
        <pc:spChg chg="add mod">
          <ac:chgData name="Nomeli, Mo" userId="03501b65-0e27-4b56-8c1f-6f5a4f41fafa" providerId="ADAL" clId="{9FADF72D-A898-518F-828F-25536BDA367F}" dt="2025-08-20T17:04:54.607" v="1063" actId="1076"/>
          <ac:spMkLst>
            <pc:docMk/>
            <pc:sldMk cId="2967591608" sldId="334"/>
            <ac:spMk id="19" creationId="{C4988AD3-1C29-F76D-A673-94285AE178D1}"/>
          </ac:spMkLst>
        </pc:spChg>
        <pc:spChg chg="add mod">
          <ac:chgData name="Nomeli, Mo" userId="03501b65-0e27-4b56-8c1f-6f5a4f41fafa" providerId="ADAL" clId="{9FADF72D-A898-518F-828F-25536BDA367F}" dt="2025-08-20T17:04:34.794" v="1052" actId="403"/>
          <ac:spMkLst>
            <pc:docMk/>
            <pc:sldMk cId="2967591608" sldId="334"/>
            <ac:spMk id="21" creationId="{2B63745D-AD4E-85BC-0600-432C40ACC7CB}"/>
          </ac:spMkLst>
        </pc:spChg>
        <pc:spChg chg="add mod">
          <ac:chgData name="Nomeli, Mo" userId="03501b65-0e27-4b56-8c1f-6f5a4f41fafa" providerId="ADAL" clId="{9FADF72D-A898-518F-828F-25536BDA367F}" dt="2025-08-20T17:04:34.794" v="1052" actId="403"/>
          <ac:spMkLst>
            <pc:docMk/>
            <pc:sldMk cId="2967591608" sldId="334"/>
            <ac:spMk id="22" creationId="{F7C6F907-78F2-5EE8-0CCB-511CB45D8141}"/>
          </ac:spMkLst>
        </pc:spChg>
        <pc:spChg chg="mod">
          <ac:chgData name="Nomeli, Mo" userId="03501b65-0e27-4b56-8c1f-6f5a4f41fafa" providerId="ADAL" clId="{9FADF72D-A898-518F-828F-25536BDA367F}" dt="2025-08-20T17:04:23.327" v="1040" actId="164"/>
          <ac:spMkLst>
            <pc:docMk/>
            <pc:sldMk cId="2967591608" sldId="334"/>
            <ac:spMk id="23" creationId="{1096FFA6-DFB9-05D1-F90C-F7909007B4CA}"/>
          </ac:spMkLst>
        </pc:spChg>
        <pc:grpChg chg="mod">
          <ac:chgData name="Nomeli, Mo" userId="03501b65-0e27-4b56-8c1f-6f5a4f41fafa" providerId="ADAL" clId="{9FADF72D-A898-518F-828F-25536BDA367F}" dt="2025-08-20T17:04:31.374" v="1050" actId="1076"/>
          <ac:grpSpMkLst>
            <pc:docMk/>
            <pc:sldMk cId="2967591608" sldId="334"/>
            <ac:grpSpMk id="24" creationId="{117B5643-EB87-8F9C-06B5-E1BC1A63F46D}"/>
          </ac:grpSpMkLst>
        </pc:grpChg>
      </pc:sldChg>
      <pc:sldChg chg="addSp modSp new mod">
        <pc:chgData name="Nomeli, Mo" userId="03501b65-0e27-4b56-8c1f-6f5a4f41fafa" providerId="ADAL" clId="{9FADF72D-A898-518F-828F-25536BDA367F}" dt="2025-08-20T23:16:56.252" v="1088" actId="20577"/>
        <pc:sldMkLst>
          <pc:docMk/>
          <pc:sldMk cId="1542610386" sldId="335"/>
        </pc:sldMkLst>
        <pc:spChg chg="mod">
          <ac:chgData name="Nomeli, Mo" userId="03501b65-0e27-4b56-8c1f-6f5a4f41fafa" providerId="ADAL" clId="{9FADF72D-A898-518F-828F-25536BDA367F}" dt="2025-08-20T17:06:00.665" v="1065"/>
          <ac:spMkLst>
            <pc:docMk/>
            <pc:sldMk cId="1542610386" sldId="335"/>
            <ac:spMk id="2" creationId="{3C14C53A-EA40-0765-0149-81E8AF12ABDD}"/>
          </ac:spMkLst>
        </pc:spChg>
        <pc:spChg chg="mod">
          <ac:chgData name="Nomeli, Mo" userId="03501b65-0e27-4b56-8c1f-6f5a4f41fafa" providerId="ADAL" clId="{9FADF72D-A898-518F-828F-25536BDA367F}" dt="2025-08-20T23:16:51.344" v="1086" actId="403"/>
          <ac:spMkLst>
            <pc:docMk/>
            <pc:sldMk cId="1542610386" sldId="335"/>
            <ac:spMk id="8" creationId="{53635522-0E22-00D2-8DE7-2B891B4239B0}"/>
          </ac:spMkLst>
        </pc:spChg>
        <pc:spChg chg="mod">
          <ac:chgData name="Nomeli, Mo" userId="03501b65-0e27-4b56-8c1f-6f5a4f41fafa" providerId="ADAL" clId="{9FADF72D-A898-518F-828F-25536BDA367F}" dt="2025-08-20T23:16:51.344" v="1086" actId="403"/>
          <ac:spMkLst>
            <pc:docMk/>
            <pc:sldMk cId="1542610386" sldId="335"/>
            <ac:spMk id="14" creationId="{C7DFC752-EEDE-A050-C4AE-21B86DA770AC}"/>
          </ac:spMkLst>
        </pc:spChg>
        <pc:spChg chg="mod">
          <ac:chgData name="Nomeli, Mo" userId="03501b65-0e27-4b56-8c1f-6f5a4f41fafa" providerId="ADAL" clId="{9FADF72D-A898-518F-828F-25536BDA367F}" dt="2025-08-20T23:16:51.344" v="1086" actId="403"/>
          <ac:spMkLst>
            <pc:docMk/>
            <pc:sldMk cId="1542610386" sldId="335"/>
            <ac:spMk id="17" creationId="{DC2C4B01-3241-DCC0-42D9-8D6070E40ADD}"/>
          </ac:spMkLst>
        </pc:spChg>
        <pc:spChg chg="mod">
          <ac:chgData name="Nomeli, Mo" userId="03501b65-0e27-4b56-8c1f-6f5a4f41fafa" providerId="ADAL" clId="{9FADF72D-A898-518F-828F-25536BDA367F}" dt="2025-08-20T23:16:51.344" v="1086" actId="403"/>
          <ac:spMkLst>
            <pc:docMk/>
            <pc:sldMk cId="1542610386" sldId="335"/>
            <ac:spMk id="19" creationId="{81D2EE9C-8BC8-B730-CBAB-C51862A2B57B}"/>
          </ac:spMkLst>
        </pc:spChg>
        <pc:spChg chg="mod">
          <ac:chgData name="Nomeli, Mo" userId="03501b65-0e27-4b56-8c1f-6f5a4f41fafa" providerId="ADAL" clId="{9FADF72D-A898-518F-828F-25536BDA367F}" dt="2025-08-20T17:08:14.293" v="1071" actId="164"/>
          <ac:spMkLst>
            <pc:docMk/>
            <pc:sldMk cId="1542610386" sldId="335"/>
            <ac:spMk id="24" creationId="{1088BE1A-C9EB-F227-B641-2B1901114D03}"/>
          </ac:spMkLst>
        </pc:spChg>
        <pc:spChg chg="add mod">
          <ac:chgData name="Nomeli, Mo" userId="03501b65-0e27-4b56-8c1f-6f5a4f41fafa" providerId="ADAL" clId="{9FADF72D-A898-518F-828F-25536BDA367F}" dt="2025-08-20T23:16:51.344" v="1086" actId="403"/>
          <ac:spMkLst>
            <pc:docMk/>
            <pc:sldMk cId="1542610386" sldId="335"/>
            <ac:spMk id="25" creationId="{C5F29C87-0ADA-9342-62A5-0482BCA75392}"/>
          </ac:spMkLst>
        </pc:spChg>
        <pc:spChg chg="add mod">
          <ac:chgData name="Nomeli, Mo" userId="03501b65-0e27-4b56-8c1f-6f5a4f41fafa" providerId="ADAL" clId="{9FADF72D-A898-518F-828F-25536BDA367F}" dt="2025-08-20T23:16:51.344" v="1086" actId="403"/>
          <ac:spMkLst>
            <pc:docMk/>
            <pc:sldMk cId="1542610386" sldId="335"/>
            <ac:spMk id="26" creationId="{B1F7FD8F-B8BD-8BF2-F8D6-5B9E3F96FA64}"/>
          </ac:spMkLst>
        </pc:spChg>
        <pc:spChg chg="mod">
          <ac:chgData name="Nomeli, Mo" userId="03501b65-0e27-4b56-8c1f-6f5a4f41fafa" providerId="ADAL" clId="{9FADF72D-A898-518F-828F-25536BDA367F}" dt="2025-08-20T23:16:46.038" v="1085" actId="20577"/>
          <ac:spMkLst>
            <pc:docMk/>
            <pc:sldMk cId="1542610386" sldId="335"/>
            <ac:spMk id="29" creationId="{5355A04B-79C8-9A04-70A3-9E8AA5DA3BD0}"/>
          </ac:spMkLst>
        </pc:spChg>
        <pc:spChg chg="mod">
          <ac:chgData name="Nomeli, Mo" userId="03501b65-0e27-4b56-8c1f-6f5a4f41fafa" providerId="ADAL" clId="{9FADF72D-A898-518F-828F-25536BDA367F}" dt="2025-08-20T17:08:14.293" v="1071" actId="164"/>
          <ac:spMkLst>
            <pc:docMk/>
            <pc:sldMk cId="1542610386" sldId="335"/>
            <ac:spMk id="33" creationId="{F7CB7272-EDE2-C031-D929-A2FC1EB6BB07}"/>
          </ac:spMkLst>
        </pc:spChg>
        <pc:spChg chg="mod">
          <ac:chgData name="Nomeli, Mo" userId="03501b65-0e27-4b56-8c1f-6f5a4f41fafa" providerId="ADAL" clId="{9FADF72D-A898-518F-828F-25536BDA367F}" dt="2025-08-20T23:16:56.252" v="1088" actId="20577"/>
          <ac:spMkLst>
            <pc:docMk/>
            <pc:sldMk cId="1542610386" sldId="335"/>
            <ac:spMk id="36" creationId="{81C90C83-83AD-8AAA-A66C-6A11DCB677A7}"/>
          </ac:spMkLst>
        </pc:spChg>
        <pc:spChg chg="mod">
          <ac:chgData name="Nomeli, Mo" userId="03501b65-0e27-4b56-8c1f-6f5a4f41fafa" providerId="ADAL" clId="{9FADF72D-A898-518F-828F-25536BDA367F}" dt="2025-08-20T17:08:14.293" v="1071" actId="164"/>
          <ac:spMkLst>
            <pc:docMk/>
            <pc:sldMk cId="1542610386" sldId="335"/>
            <ac:spMk id="38" creationId="{32B3DB31-23BD-8C47-4CFF-5D07EB37DF3E}"/>
          </ac:spMkLst>
        </pc:spChg>
        <pc:spChg chg="add mod">
          <ac:chgData name="Nomeli, Mo" userId="03501b65-0e27-4b56-8c1f-6f5a4f41fafa" providerId="ADAL" clId="{9FADF72D-A898-518F-828F-25536BDA367F}" dt="2025-08-20T23:16:51.344" v="1086" actId="403"/>
          <ac:spMkLst>
            <pc:docMk/>
            <pc:sldMk cId="1542610386" sldId="335"/>
            <ac:spMk id="39" creationId="{BE9EAE02-D2EA-5D28-1E53-22D454ECF663}"/>
          </ac:spMkLst>
        </pc:spChg>
        <pc:spChg chg="add mod">
          <ac:chgData name="Nomeli, Mo" userId="03501b65-0e27-4b56-8c1f-6f5a4f41fafa" providerId="ADAL" clId="{9FADF72D-A898-518F-828F-25536BDA367F}" dt="2025-08-20T23:16:51.344" v="1086" actId="403"/>
          <ac:spMkLst>
            <pc:docMk/>
            <pc:sldMk cId="1542610386" sldId="335"/>
            <ac:spMk id="40" creationId="{B0205863-6257-03EB-167E-43C76D436F91}"/>
          </ac:spMkLst>
        </pc:spChg>
        <pc:spChg chg="add mod">
          <ac:chgData name="Nomeli, Mo" userId="03501b65-0e27-4b56-8c1f-6f5a4f41fafa" providerId="ADAL" clId="{9FADF72D-A898-518F-828F-25536BDA367F}" dt="2025-08-20T23:16:51.344" v="1086" actId="403"/>
          <ac:spMkLst>
            <pc:docMk/>
            <pc:sldMk cId="1542610386" sldId="335"/>
            <ac:spMk id="41" creationId="{72E1F13C-BA5A-917B-224F-A0F3539FC185}"/>
          </ac:spMkLst>
        </pc:spChg>
        <pc:spChg chg="add mod">
          <ac:chgData name="Nomeli, Mo" userId="03501b65-0e27-4b56-8c1f-6f5a4f41fafa" providerId="ADAL" clId="{9FADF72D-A898-518F-828F-25536BDA367F}" dt="2025-08-20T23:16:51.344" v="1086" actId="403"/>
          <ac:spMkLst>
            <pc:docMk/>
            <pc:sldMk cId="1542610386" sldId="335"/>
            <ac:spMk id="42" creationId="{88806976-E907-3835-E467-F129FB573AE4}"/>
          </ac:spMkLst>
        </pc:spChg>
        <pc:spChg chg="mod">
          <ac:chgData name="Nomeli, Mo" userId="03501b65-0e27-4b56-8c1f-6f5a4f41fafa" providerId="ADAL" clId="{9FADF72D-A898-518F-828F-25536BDA367F}" dt="2025-08-20T17:08:14.293" v="1071" actId="164"/>
          <ac:spMkLst>
            <pc:docMk/>
            <pc:sldMk cId="1542610386" sldId="335"/>
            <ac:spMk id="43" creationId="{64686A2B-D56C-81D7-BA5F-FC5532F9BF16}"/>
          </ac:spMkLst>
        </pc:spChg>
        <pc:grpChg chg="mod">
          <ac:chgData name="Nomeli, Mo" userId="03501b65-0e27-4b56-8c1f-6f5a4f41fafa" providerId="ADAL" clId="{9FADF72D-A898-518F-828F-25536BDA367F}" dt="2025-08-20T23:16:34.886" v="1081" actId="14100"/>
          <ac:grpSpMkLst>
            <pc:docMk/>
            <pc:sldMk cId="1542610386" sldId="335"/>
            <ac:grpSpMk id="45" creationId="{C4812EF6-5FE6-A1B3-A530-0538734FBFD3}"/>
          </ac:grpSpMkLst>
        </pc:grpChg>
      </pc:sldChg>
      <pc:sldChg chg="add">
        <pc:chgData name="Nomeli, Mo" userId="03501b65-0e27-4b56-8c1f-6f5a4f41fafa" providerId="ADAL" clId="{9FADF72D-A898-518F-828F-25536BDA367F}" dt="2025-08-21T20:54:02.773" v="1108"/>
        <pc:sldMkLst>
          <pc:docMk/>
          <pc:sldMk cId="607829728" sldId="2147483618"/>
        </pc:sldMkLst>
      </pc:sldChg>
      <pc:sldChg chg="del">
        <pc:chgData name="Nomeli, Mo" userId="03501b65-0e27-4b56-8c1f-6f5a4f41fafa" providerId="ADAL" clId="{9FADF72D-A898-518F-828F-25536BDA367F}" dt="2025-08-21T20:53:55.806" v="1107" actId="2696"/>
        <pc:sldMkLst>
          <pc:docMk/>
          <pc:sldMk cId="2120389602" sldId="2147483618"/>
        </pc:sldMkLst>
      </pc:sldChg>
      <pc:sldChg chg="del">
        <pc:chgData name="Nomeli, Mo" userId="03501b65-0e27-4b56-8c1f-6f5a4f41fafa" providerId="ADAL" clId="{9FADF72D-A898-518F-828F-25536BDA367F}" dt="2025-08-21T20:53:55.806" v="1107" actId="2696"/>
        <pc:sldMkLst>
          <pc:docMk/>
          <pc:sldMk cId="1007815546" sldId="2147483619"/>
        </pc:sldMkLst>
      </pc:sldChg>
      <pc:sldChg chg="add">
        <pc:chgData name="Nomeli, Mo" userId="03501b65-0e27-4b56-8c1f-6f5a4f41fafa" providerId="ADAL" clId="{9FADF72D-A898-518F-828F-25536BDA367F}" dt="2025-08-21T20:54:02.773" v="1108"/>
        <pc:sldMkLst>
          <pc:docMk/>
          <pc:sldMk cId="3423962991" sldId="2147483619"/>
        </pc:sldMkLst>
      </pc:sldChg>
      <pc:sldChg chg="del">
        <pc:chgData name="Nomeli, Mo" userId="03501b65-0e27-4b56-8c1f-6f5a4f41fafa" providerId="ADAL" clId="{9FADF72D-A898-518F-828F-25536BDA367F}" dt="2025-08-21T20:53:55.806" v="1107" actId="2696"/>
        <pc:sldMkLst>
          <pc:docMk/>
          <pc:sldMk cId="2090434684" sldId="2147483620"/>
        </pc:sldMkLst>
      </pc:sldChg>
      <pc:sldChg chg="add">
        <pc:chgData name="Nomeli, Mo" userId="03501b65-0e27-4b56-8c1f-6f5a4f41fafa" providerId="ADAL" clId="{9FADF72D-A898-518F-828F-25536BDA367F}" dt="2025-08-21T20:54:02.773" v="1108"/>
        <pc:sldMkLst>
          <pc:docMk/>
          <pc:sldMk cId="3379674986" sldId="2147483620"/>
        </pc:sldMkLst>
      </pc:sldChg>
      <pc:sldChg chg="add">
        <pc:chgData name="Nomeli, Mo" userId="03501b65-0e27-4b56-8c1f-6f5a4f41fafa" providerId="ADAL" clId="{9FADF72D-A898-518F-828F-25536BDA367F}" dt="2025-08-21T20:54:02.773" v="1108"/>
        <pc:sldMkLst>
          <pc:docMk/>
          <pc:sldMk cId="216393422" sldId="2147483621"/>
        </pc:sldMkLst>
      </pc:sldChg>
      <pc:sldChg chg="del">
        <pc:chgData name="Nomeli, Mo" userId="03501b65-0e27-4b56-8c1f-6f5a4f41fafa" providerId="ADAL" clId="{9FADF72D-A898-518F-828F-25536BDA367F}" dt="2025-08-21T20:53:55.806" v="1107" actId="2696"/>
        <pc:sldMkLst>
          <pc:docMk/>
          <pc:sldMk cId="2114773944" sldId="2147483621"/>
        </pc:sldMkLst>
      </pc:sldChg>
      <pc:sldChg chg="modSp mod">
        <pc:chgData name="Nomeli, Mo" userId="03501b65-0e27-4b56-8c1f-6f5a4f41fafa" providerId="ADAL" clId="{9FADF72D-A898-518F-828F-25536BDA367F}" dt="2025-08-19T19:15:05.630" v="0" actId="404"/>
        <pc:sldMkLst>
          <pc:docMk/>
          <pc:sldMk cId="2570728674" sldId="2147483635"/>
        </pc:sldMkLst>
        <pc:spChg chg="mod">
          <ac:chgData name="Nomeli, Mo" userId="03501b65-0e27-4b56-8c1f-6f5a4f41fafa" providerId="ADAL" clId="{9FADF72D-A898-518F-828F-25536BDA367F}" dt="2025-08-19T19:15:05.630" v="0" actId="404"/>
          <ac:spMkLst>
            <pc:docMk/>
            <pc:sldMk cId="2570728674" sldId="2147483635"/>
            <ac:spMk id="5" creationId="{05418C64-6016-D28E-CE66-B043DB5954C9}"/>
          </ac:spMkLst>
        </pc:spChg>
      </pc:sldChg>
      <pc:sldChg chg="mod modShow">
        <pc:chgData name="Nomeli, Mo" userId="03501b65-0e27-4b56-8c1f-6f5a4f41fafa" providerId="ADAL" clId="{9FADF72D-A898-518F-828F-25536BDA367F}" dt="2025-08-21T20:29:00.259" v="1090" actId="729"/>
        <pc:sldMkLst>
          <pc:docMk/>
          <pc:sldMk cId="1076811304" sldId="2147483640"/>
        </pc:sldMkLst>
      </pc:sldChg>
      <pc:sldChg chg="mod modShow">
        <pc:chgData name="Nomeli, Mo" userId="03501b65-0e27-4b56-8c1f-6f5a4f41fafa" providerId="ADAL" clId="{9FADF72D-A898-518F-828F-25536BDA367F}" dt="2025-08-21T20:29:12.911" v="1091" actId="729"/>
        <pc:sldMkLst>
          <pc:docMk/>
          <pc:sldMk cId="844582635" sldId="2147483641"/>
        </pc:sldMkLst>
      </pc:sldChg>
      <pc:sldChg chg="del">
        <pc:chgData name="Nomeli, Mo" userId="03501b65-0e27-4b56-8c1f-6f5a4f41fafa" providerId="ADAL" clId="{9FADF72D-A898-518F-828F-25536BDA367F}" dt="2025-08-21T20:31:30.384" v="1092" actId="2696"/>
        <pc:sldMkLst>
          <pc:docMk/>
          <pc:sldMk cId="2360893946" sldId="2147483642"/>
        </pc:sldMkLst>
      </pc:sldChg>
      <pc:sldChg chg="add ord">
        <pc:chgData name="Nomeli, Mo" userId="03501b65-0e27-4b56-8c1f-6f5a4f41fafa" providerId="ADAL" clId="{9FADF72D-A898-518F-828F-25536BDA367F}" dt="2025-08-21T20:31:51.756" v="1094" actId="20578"/>
        <pc:sldMkLst>
          <pc:docMk/>
          <pc:sldMk cId="2522765499" sldId="2147483642"/>
        </pc:sldMkLst>
      </pc:sldChg>
      <pc:sldChg chg="add ord">
        <pc:chgData name="Nomeli, Mo" userId="03501b65-0e27-4b56-8c1f-6f5a4f41fafa" providerId="ADAL" clId="{9FADF72D-A898-518F-828F-25536BDA367F}" dt="2025-08-21T20:56:31.857" v="1113" actId="20578"/>
        <pc:sldMkLst>
          <pc:docMk/>
          <pc:sldMk cId="1956728508" sldId="2147483643"/>
        </pc:sldMkLst>
      </pc:sldChg>
      <pc:sldChg chg="del">
        <pc:chgData name="Nomeli, Mo" userId="03501b65-0e27-4b56-8c1f-6f5a4f41fafa" providerId="ADAL" clId="{9FADF72D-A898-518F-828F-25536BDA367F}" dt="2025-08-21T20:31:30.384" v="1092" actId="2696"/>
        <pc:sldMkLst>
          <pc:docMk/>
          <pc:sldMk cId="2684141960" sldId="2147483643"/>
        </pc:sldMkLst>
      </pc:sldChg>
      <pc:sldChg chg="mod modShow">
        <pc:chgData name="Nomeli, Mo" userId="03501b65-0e27-4b56-8c1f-6f5a4f41fafa" providerId="ADAL" clId="{9FADF72D-A898-518F-828F-25536BDA367F}" dt="2025-08-21T20:33:29.027" v="1096" actId="729"/>
        <pc:sldMkLst>
          <pc:docMk/>
          <pc:sldMk cId="1828713913" sldId="2147483644"/>
        </pc:sldMkLst>
      </pc:sldChg>
      <pc:sldChg chg="del">
        <pc:chgData name="Nomeli, Mo" userId="03501b65-0e27-4b56-8c1f-6f5a4f41fafa" providerId="ADAL" clId="{9FADF72D-A898-518F-828F-25536BDA367F}" dt="2025-08-21T20:53:10.232" v="1105" actId="2696"/>
        <pc:sldMkLst>
          <pc:docMk/>
          <pc:sldMk cId="1318925039" sldId="2147483646"/>
        </pc:sldMkLst>
      </pc:sldChg>
      <pc:sldChg chg="add">
        <pc:chgData name="Nomeli, Mo" userId="03501b65-0e27-4b56-8c1f-6f5a4f41fafa" providerId="ADAL" clId="{9FADF72D-A898-518F-828F-25536BDA367F}" dt="2025-08-21T20:53:22.398" v="1106"/>
        <pc:sldMkLst>
          <pc:docMk/>
          <pc:sldMk cId="3256347216" sldId="2147483646"/>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_7FFFFFFE_C217EA50.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_120_3DAD049A.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_122_BA528485.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_122_BA5284851.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spc="120" normalizeH="0" baseline="0">
                <a:solidFill>
                  <a:schemeClr val="tx1"/>
                </a:solidFill>
                <a:latin typeface="+mn-lt"/>
                <a:ea typeface="+mn-ea"/>
                <a:cs typeface="+mn-cs"/>
              </a:defRPr>
            </a:pPr>
            <a:r>
              <a:rPr lang="en-US"/>
              <a:t>Impact of Adopting AI</a:t>
            </a:r>
          </a:p>
        </c:rich>
      </c:tx>
      <c:overlay val="0"/>
      <c:spPr>
        <a:noFill/>
        <a:ln>
          <a:noFill/>
        </a:ln>
        <a:effectLst/>
      </c:spPr>
      <c:txPr>
        <a:bodyPr rot="0" spcFirstLastPara="1" vertOverflow="ellipsis" vert="horz" wrap="square" anchor="ctr" anchorCtr="1"/>
        <a:lstStyle/>
        <a:p>
          <a:pPr>
            <a:defRPr sz="2128" b="1" i="0" u="none" strike="noStrike" kern="1200" cap="all" spc="120" normalizeH="0" baseline="0">
              <a:solidFill>
                <a:schemeClr val="tx1"/>
              </a:solidFill>
              <a:latin typeface="+mn-lt"/>
              <a:ea typeface="+mn-ea"/>
              <a:cs typeface="+mn-cs"/>
            </a:defRPr>
          </a:pPr>
          <a:endParaRPr lang="en-US"/>
        </a:p>
      </c:txPr>
    </c:title>
    <c:autoTitleDeleted val="0"/>
    <c:plotArea>
      <c:layout/>
      <c:barChart>
        <c:barDir val="bar"/>
        <c:grouping val="stacked"/>
        <c:varyColors val="0"/>
        <c:ser>
          <c:idx val="0"/>
          <c:order val="0"/>
          <c:tx>
            <c:strRef>
              <c:f>Sheet1!$B$1</c:f>
              <c:strCache>
                <c:ptCount val="1"/>
                <c:pt idx="0">
                  <c:v>Costs Decreas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11</c:f>
              <c:strCache>
                <c:ptCount val="10"/>
                <c:pt idx="0">
                  <c:v>Marketing and Sales</c:v>
                </c:pt>
                <c:pt idx="1">
                  <c:v>Risk, Legal, and Compliance</c:v>
                </c:pt>
                <c:pt idx="2">
                  <c:v>Human Resources</c:v>
                </c:pt>
                <c:pt idx="3">
                  <c:v>Product or Service Development</c:v>
                </c:pt>
                <c:pt idx="4">
                  <c:v>Supply Chain and Inventory Management</c:v>
                </c:pt>
                <c:pt idx="5">
                  <c:v>Service Operations</c:v>
                </c:pt>
                <c:pt idx="6">
                  <c:v>IT</c:v>
                </c:pt>
                <c:pt idx="7">
                  <c:v>Software Engineering</c:v>
                </c:pt>
                <c:pt idx="8">
                  <c:v>Strategy and Corporate Finance</c:v>
                </c:pt>
                <c:pt idx="9">
                  <c:v>Knowledge Management and Other Internal Functions</c:v>
                </c:pt>
              </c:strCache>
            </c:strRef>
          </c:cat>
          <c:val>
            <c:numRef>
              <c:f>Sheet1!$B$2:$B$11</c:f>
              <c:numCache>
                <c:formatCode>0%</c:formatCode>
                <c:ptCount val="10"/>
                <c:pt idx="0">
                  <c:v>0.47</c:v>
                </c:pt>
                <c:pt idx="1">
                  <c:v>0.51</c:v>
                </c:pt>
                <c:pt idx="2">
                  <c:v>0.56000000000000005</c:v>
                </c:pt>
                <c:pt idx="3">
                  <c:v>0.43</c:v>
                </c:pt>
                <c:pt idx="4">
                  <c:v>0.61</c:v>
                </c:pt>
                <c:pt idx="5">
                  <c:v>0.57999999999999996</c:v>
                </c:pt>
                <c:pt idx="6">
                  <c:v>0.44</c:v>
                </c:pt>
                <c:pt idx="7">
                  <c:v>0.52</c:v>
                </c:pt>
                <c:pt idx="8">
                  <c:v>0.56000000000000005</c:v>
                </c:pt>
                <c:pt idx="9">
                  <c:v>0.44</c:v>
                </c:pt>
              </c:numCache>
            </c:numRef>
          </c:val>
          <c:extLst>
            <c:ext xmlns:c16="http://schemas.microsoft.com/office/drawing/2014/chart" uri="{C3380CC4-5D6E-409C-BE32-E72D297353CC}">
              <c16:uniqueId val="{00000000-DA84-9A4A-9721-6648A0558626}"/>
            </c:ext>
          </c:extLst>
        </c:ser>
        <c:ser>
          <c:idx val="1"/>
          <c:order val="1"/>
          <c:tx>
            <c:strRef>
              <c:f>Sheet1!$C$1</c:f>
              <c:strCache>
                <c:ptCount val="1"/>
                <c:pt idx="0">
                  <c:v>Revenue Increase</c:v>
                </c:pt>
              </c:strCache>
            </c:strRef>
          </c:tx>
          <c:spPr>
            <a:solidFill>
              <a:schemeClr val="accent6">
                <a:lumMod val="25000"/>
              </a:schemeClr>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11</c:f>
              <c:strCache>
                <c:ptCount val="10"/>
                <c:pt idx="0">
                  <c:v>Marketing and Sales</c:v>
                </c:pt>
                <c:pt idx="1">
                  <c:v>Risk, Legal, and Compliance</c:v>
                </c:pt>
                <c:pt idx="2">
                  <c:v>Human Resources</c:v>
                </c:pt>
                <c:pt idx="3">
                  <c:v>Product or Service Development</c:v>
                </c:pt>
                <c:pt idx="4">
                  <c:v>Supply Chain and Inventory Management</c:v>
                </c:pt>
                <c:pt idx="5">
                  <c:v>Service Operations</c:v>
                </c:pt>
                <c:pt idx="6">
                  <c:v>IT</c:v>
                </c:pt>
                <c:pt idx="7">
                  <c:v>Software Engineering</c:v>
                </c:pt>
                <c:pt idx="8">
                  <c:v>Strategy and Corporate Finance</c:v>
                </c:pt>
                <c:pt idx="9">
                  <c:v>Knowledge Management and Other Internal Functions</c:v>
                </c:pt>
              </c:strCache>
            </c:strRef>
          </c:cat>
          <c:val>
            <c:numRef>
              <c:f>Sheet1!$C$2:$C$11</c:f>
              <c:numCache>
                <c:formatCode>0%</c:formatCode>
                <c:ptCount val="10"/>
                <c:pt idx="0">
                  <c:v>0.66</c:v>
                </c:pt>
                <c:pt idx="1">
                  <c:v>0</c:v>
                </c:pt>
                <c:pt idx="2">
                  <c:v>0</c:v>
                </c:pt>
                <c:pt idx="3">
                  <c:v>0.51</c:v>
                </c:pt>
                <c:pt idx="4">
                  <c:v>0.67</c:v>
                </c:pt>
                <c:pt idx="5">
                  <c:v>0.63</c:v>
                </c:pt>
                <c:pt idx="6">
                  <c:v>0</c:v>
                </c:pt>
                <c:pt idx="7">
                  <c:v>0.56999999999999995</c:v>
                </c:pt>
                <c:pt idx="8">
                  <c:v>0.7</c:v>
                </c:pt>
                <c:pt idx="9">
                  <c:v>0</c:v>
                </c:pt>
              </c:numCache>
            </c:numRef>
          </c:val>
          <c:extLst>
            <c:ext xmlns:c16="http://schemas.microsoft.com/office/drawing/2014/chart" uri="{C3380CC4-5D6E-409C-BE32-E72D297353CC}">
              <c16:uniqueId val="{00000001-DA84-9A4A-9721-6648A0558626}"/>
            </c:ext>
          </c:extLst>
        </c:ser>
        <c:dLbls>
          <c:dLblPos val="ctr"/>
          <c:showLegendKey val="0"/>
          <c:showVal val="1"/>
          <c:showCatName val="0"/>
          <c:showSerName val="0"/>
          <c:showPercent val="0"/>
          <c:showBubbleSize val="0"/>
        </c:dLbls>
        <c:gapWidth val="79"/>
        <c:overlap val="100"/>
        <c:axId val="1312315968"/>
        <c:axId val="1312317696"/>
      </c:barChart>
      <c:catAx>
        <c:axId val="1312315968"/>
        <c:scaling>
          <c:orientation val="minMax"/>
        </c:scaling>
        <c:delete val="0"/>
        <c:axPos val="l"/>
        <c:majorGridlines>
          <c:spPr>
            <a:ln w="9525" cap="flat" cmpd="sng" algn="ctr">
              <a:solidFill>
                <a:schemeClr val="bg1">
                  <a:lumMod val="9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64" b="0" i="0" u="none" strike="noStrike" kern="1200" cap="all" spc="120" normalizeH="0" baseline="0">
                <a:solidFill>
                  <a:schemeClr val="tx1"/>
                </a:solidFill>
                <a:latin typeface="+mn-lt"/>
                <a:ea typeface="+mn-ea"/>
                <a:cs typeface="+mn-cs"/>
              </a:defRPr>
            </a:pPr>
            <a:endParaRPr lang="en-US"/>
          </a:p>
        </c:txPr>
        <c:crossAx val="1312317696"/>
        <c:crosses val="autoZero"/>
        <c:auto val="1"/>
        <c:lblAlgn val="ctr"/>
        <c:lblOffset val="100"/>
        <c:noMultiLvlLbl val="0"/>
      </c:catAx>
      <c:valAx>
        <c:axId val="1312317696"/>
        <c:scaling>
          <c:orientation val="minMax"/>
        </c:scaling>
        <c:delete val="1"/>
        <c:axPos val="b"/>
        <c:numFmt formatCode="0%" sourceLinked="1"/>
        <c:majorTickMark val="none"/>
        <c:minorTickMark val="none"/>
        <c:tickLblPos val="nextTo"/>
        <c:crossAx val="131231596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tx1"/>
          </a:solidFill>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a:t>Pillars</a:t>
            </a:r>
            <a:r>
              <a:rPr lang="en-US" baseline="0"/>
              <a:t> of Agentic AI</a:t>
            </a:r>
            <a:endParaRPr lang="en-US"/>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B53A-AB4E-AAEF-CF930579A6D5}"/>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B53A-AB4E-AAEF-CF930579A6D5}"/>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B53A-AB4E-AAEF-CF930579A6D5}"/>
              </c:ext>
            </c:extLst>
          </c:dPt>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showLegendKey val="0"/>
            <c:showVal val="0"/>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3"/>
                <c:pt idx="0">
                  <c:v>Tools</c:v>
                </c:pt>
                <c:pt idx="1">
                  <c:v>Action</c:v>
                </c:pt>
                <c:pt idx="2">
                  <c:v>Reasoning</c:v>
                </c:pt>
              </c:strCache>
            </c:strRef>
          </c:cat>
          <c:val>
            <c:numRef>
              <c:f>Sheet1!$B$2:$B$4</c:f>
              <c:numCache>
                <c:formatCode>General</c:formatCode>
                <c:ptCount val="3"/>
                <c:pt idx="0">
                  <c:v>33.333329999999997</c:v>
                </c:pt>
                <c:pt idx="1">
                  <c:v>33.333329999999997</c:v>
                </c:pt>
                <c:pt idx="2">
                  <c:v>33.333329999999997</c:v>
                </c:pt>
              </c:numCache>
            </c:numRef>
          </c:val>
          <c:extLst>
            <c:ext xmlns:c16="http://schemas.microsoft.com/office/drawing/2014/chart" uri="{C3380CC4-5D6E-409C-BE32-E72D297353CC}">
              <c16:uniqueId val="{00000000-F059-774E-B5AD-095DD452B30D}"/>
            </c:ext>
          </c:extLst>
        </c:ser>
        <c:dLbls>
          <c:showLegendKey val="0"/>
          <c:showVal val="0"/>
          <c:showCatName val="1"/>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solidFill>
                <a:latin typeface="+mn-lt"/>
                <a:ea typeface="+mn-ea"/>
                <a:cs typeface="+mn-cs"/>
              </a:defRPr>
            </a:pPr>
            <a:r>
              <a:rPr lang="en-US" sz="3600">
                <a:solidFill>
                  <a:schemeClr val="tx1"/>
                </a:solidFill>
              </a:rPr>
              <a:t>Pillars</a:t>
            </a:r>
            <a:r>
              <a:rPr lang="en-US" sz="3600" baseline="0">
                <a:solidFill>
                  <a:schemeClr val="tx1"/>
                </a:solidFill>
              </a:rPr>
              <a:t> of Agentic AI</a:t>
            </a:r>
            <a:endParaRPr lang="en-US" sz="3600">
              <a:solidFill>
                <a:schemeClr val="tx1"/>
              </a:solidFill>
            </a:endParaRP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solidFill>
              <a:latin typeface="+mn-lt"/>
              <a:ea typeface="+mn-ea"/>
              <a:cs typeface="+mn-cs"/>
            </a:defRPr>
          </a:pPr>
          <a:endParaRPr lang="en-US"/>
        </a:p>
      </c:txPr>
    </c:title>
    <c:autoTitleDeleted val="0"/>
    <c:plotArea>
      <c:layout/>
      <c:pieChart>
        <c:varyColors val="1"/>
        <c:ser>
          <c:idx val="0"/>
          <c:order val="0"/>
          <c:tx>
            <c:strRef>
              <c:f>Sheet1!$B$1</c:f>
              <c:strCache>
                <c:ptCount val="1"/>
                <c:pt idx="0">
                  <c:v>Sales</c:v>
                </c:pt>
              </c:strCache>
            </c:strRef>
          </c:tx>
          <c:dPt>
            <c:idx val="0"/>
            <c:bubble3D val="0"/>
            <c:explosion val="19"/>
            <c:spPr>
              <a:solidFill>
                <a:schemeClr val="accent1"/>
              </a:solidFill>
              <a:ln w="19050">
                <a:solidFill>
                  <a:schemeClr val="lt1"/>
                </a:solidFill>
              </a:ln>
              <a:effectLst/>
            </c:spPr>
            <c:extLst>
              <c:ext xmlns:c16="http://schemas.microsoft.com/office/drawing/2014/chart" uri="{C3380CC4-5D6E-409C-BE32-E72D297353CC}">
                <c16:uniqueId val="{00000003-A7A4-AB4D-AB7D-70AC7529C27E}"/>
              </c:ext>
            </c:extLst>
          </c:dPt>
          <c:dPt>
            <c:idx val="1"/>
            <c:bubble3D val="0"/>
            <c:spPr>
              <a:solidFill>
                <a:schemeClr val="tx2">
                  <a:alpha val="54117"/>
                </a:schemeClr>
              </a:solidFill>
              <a:ln w="19050">
                <a:solidFill>
                  <a:schemeClr val="lt1"/>
                </a:solidFill>
              </a:ln>
              <a:effectLst/>
            </c:spPr>
            <c:extLst>
              <c:ext xmlns:c16="http://schemas.microsoft.com/office/drawing/2014/chart" uri="{C3380CC4-5D6E-409C-BE32-E72D297353CC}">
                <c16:uniqueId val="{00000001-A7A4-AB4D-AB7D-70AC7529C27E}"/>
              </c:ext>
            </c:extLst>
          </c:dPt>
          <c:dPt>
            <c:idx val="2"/>
            <c:bubble3D val="0"/>
            <c:spPr>
              <a:solidFill>
                <a:schemeClr val="accent3">
                  <a:lumMod val="75000"/>
                  <a:alpha val="38656"/>
                </a:schemeClr>
              </a:solidFill>
              <a:ln w="19050">
                <a:solidFill>
                  <a:schemeClr val="lt1"/>
                </a:solidFill>
              </a:ln>
              <a:effectLst/>
            </c:spPr>
            <c:extLst>
              <c:ext xmlns:c16="http://schemas.microsoft.com/office/drawing/2014/chart" uri="{C3380CC4-5D6E-409C-BE32-E72D297353CC}">
                <c16:uniqueId val="{00000002-A7A4-AB4D-AB7D-70AC7529C27E}"/>
              </c:ext>
            </c:extLst>
          </c:dPt>
          <c:dLbls>
            <c:dLbl>
              <c:idx val="0"/>
              <c:layout>
                <c:manualLayout>
                  <c:x val="-0.13835925196850393"/>
                  <c:y val="0.1156780809745275"/>
                </c:manualLayout>
              </c:layou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7A4-AB4D-AB7D-70AC7529C27E}"/>
                </c:ext>
              </c:extLst>
            </c:dLbl>
            <c:dLbl>
              <c:idx val="1"/>
              <c:layout>
                <c:manualLayout>
                  <c:x val="-7.8180364173222614E-4"/>
                  <c:y val="-0.17295434467554474"/>
                </c:manualLayout>
              </c:layou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7A4-AB4D-AB7D-70AC7529C27E}"/>
                </c:ext>
              </c:extLst>
            </c:dLbl>
            <c:dLbl>
              <c:idx val="2"/>
              <c:layout>
                <c:manualLayout>
                  <c:x val="0.18888459645669292"/>
                  <c:y val="0.11977964322221683"/>
                </c:manualLayout>
              </c:layou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2-A7A4-AB4D-AB7D-70AC7529C27E}"/>
                </c:ext>
              </c:extLst>
            </c:dLbl>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showLegendKey val="0"/>
            <c:showVal val="0"/>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3"/>
                <c:pt idx="0">
                  <c:v>Tools</c:v>
                </c:pt>
                <c:pt idx="1">
                  <c:v>Action</c:v>
                </c:pt>
                <c:pt idx="2">
                  <c:v>Reasoning</c:v>
                </c:pt>
              </c:strCache>
            </c:strRef>
          </c:cat>
          <c:val>
            <c:numRef>
              <c:f>Sheet1!$B$2:$B$4</c:f>
              <c:numCache>
                <c:formatCode>General</c:formatCode>
                <c:ptCount val="3"/>
                <c:pt idx="0">
                  <c:v>33.333329999999997</c:v>
                </c:pt>
                <c:pt idx="1">
                  <c:v>33.333329999999997</c:v>
                </c:pt>
                <c:pt idx="2">
                  <c:v>33.333329999999997</c:v>
                </c:pt>
              </c:numCache>
            </c:numRef>
          </c:val>
          <c:extLst>
            <c:ext xmlns:c16="http://schemas.microsoft.com/office/drawing/2014/chart" uri="{C3380CC4-5D6E-409C-BE32-E72D297353CC}">
              <c16:uniqueId val="{00000000-F059-774E-B5AD-095DD452B30D}"/>
            </c:ext>
          </c:extLst>
        </c:ser>
        <c:dLbls>
          <c:showLegendKey val="0"/>
          <c:showVal val="0"/>
          <c:showCatName val="1"/>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solidFill>
                <a:latin typeface="+mn-lt"/>
                <a:ea typeface="+mn-ea"/>
                <a:cs typeface="+mn-cs"/>
              </a:defRPr>
            </a:pPr>
            <a:r>
              <a:rPr lang="en-US" sz="3600">
                <a:solidFill>
                  <a:schemeClr val="tx1"/>
                </a:solidFill>
              </a:rPr>
              <a:t>Pillars</a:t>
            </a:r>
            <a:r>
              <a:rPr lang="en-US" sz="3600" baseline="0">
                <a:solidFill>
                  <a:schemeClr val="tx1"/>
                </a:solidFill>
              </a:rPr>
              <a:t> of Agentic AI</a:t>
            </a:r>
            <a:endParaRPr lang="en-US" sz="3600">
              <a:solidFill>
                <a:schemeClr val="tx1"/>
              </a:solidFill>
            </a:endParaRP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solidFill>
              <a:latin typeface="+mn-lt"/>
              <a:ea typeface="+mn-ea"/>
              <a:cs typeface="+mn-cs"/>
            </a:defRPr>
          </a:pPr>
          <a:endParaRPr lang="en-US"/>
        </a:p>
      </c:txPr>
    </c:title>
    <c:autoTitleDeleted val="0"/>
    <c:plotArea>
      <c:layout/>
      <c:pie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8A65-134A-A4C2-93B7A06AB4FC}"/>
              </c:ext>
            </c:extLst>
          </c:dPt>
          <c:dPt>
            <c:idx val="1"/>
            <c:bubble3D val="0"/>
            <c:spPr>
              <a:solidFill>
                <a:schemeClr val="tx2">
                  <a:alpha val="54117"/>
                </a:schemeClr>
              </a:solidFill>
              <a:ln w="19050">
                <a:solidFill>
                  <a:schemeClr val="lt1"/>
                </a:solidFill>
              </a:ln>
              <a:effectLst/>
            </c:spPr>
            <c:extLst>
              <c:ext xmlns:c16="http://schemas.microsoft.com/office/drawing/2014/chart" uri="{C3380CC4-5D6E-409C-BE32-E72D297353CC}">
                <c16:uniqueId val="{00000003-8A65-134A-A4C2-93B7A06AB4FC}"/>
              </c:ext>
            </c:extLst>
          </c:dPt>
          <c:dPt>
            <c:idx val="2"/>
            <c:bubble3D val="0"/>
            <c:spPr>
              <a:solidFill>
                <a:schemeClr val="accent3">
                  <a:lumMod val="75000"/>
                  <a:alpha val="38656"/>
                </a:schemeClr>
              </a:solidFill>
              <a:ln w="19050">
                <a:solidFill>
                  <a:schemeClr val="lt1"/>
                </a:solidFill>
              </a:ln>
              <a:effectLst/>
            </c:spPr>
            <c:extLst>
              <c:ext xmlns:c16="http://schemas.microsoft.com/office/drawing/2014/chart" uri="{C3380CC4-5D6E-409C-BE32-E72D297353CC}">
                <c16:uniqueId val="{00000005-8A65-134A-A4C2-93B7A06AB4FC}"/>
              </c:ext>
            </c:extLst>
          </c:dPt>
          <c:dLbls>
            <c:dLbl>
              <c:idx val="0"/>
              <c:layout>
                <c:manualLayout>
                  <c:x val="-0.13835925196850393"/>
                  <c:y val="0.1156780809745275"/>
                </c:manualLayout>
              </c:layou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A65-134A-A4C2-93B7A06AB4FC}"/>
                </c:ext>
              </c:extLst>
            </c:dLbl>
            <c:dLbl>
              <c:idx val="1"/>
              <c:layout>
                <c:manualLayout>
                  <c:x val="-7.8180364173222614E-4"/>
                  <c:y val="-0.17295434467554474"/>
                </c:manualLayout>
              </c:layou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A65-134A-A4C2-93B7A06AB4FC}"/>
                </c:ext>
              </c:extLst>
            </c:dLbl>
            <c:dLbl>
              <c:idx val="2"/>
              <c:layout>
                <c:manualLayout>
                  <c:x val="0.18888459645669292"/>
                  <c:y val="0.11977964322221683"/>
                </c:manualLayout>
              </c:layou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5-8A65-134A-A4C2-93B7A06AB4FC}"/>
                </c:ext>
              </c:extLst>
            </c:dLbl>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showLegendKey val="0"/>
            <c:showVal val="0"/>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3"/>
                <c:pt idx="0">
                  <c:v>Tools</c:v>
                </c:pt>
                <c:pt idx="1">
                  <c:v>Action</c:v>
                </c:pt>
                <c:pt idx="2">
                  <c:v>Reasoning</c:v>
                </c:pt>
              </c:strCache>
            </c:strRef>
          </c:cat>
          <c:val>
            <c:numRef>
              <c:f>Sheet1!$B$2:$B$4</c:f>
              <c:numCache>
                <c:formatCode>General</c:formatCode>
                <c:ptCount val="3"/>
                <c:pt idx="0">
                  <c:v>33.333329999999997</c:v>
                </c:pt>
                <c:pt idx="1">
                  <c:v>33.333329999999997</c:v>
                </c:pt>
                <c:pt idx="2">
                  <c:v>33.333329999999997</c:v>
                </c:pt>
              </c:numCache>
            </c:numRef>
          </c:val>
          <c:extLst>
            <c:ext xmlns:c16="http://schemas.microsoft.com/office/drawing/2014/chart" uri="{C3380CC4-5D6E-409C-BE32-E72D297353CC}">
              <c16:uniqueId val="{00000006-8A65-134A-A4C2-93B7A06AB4FC}"/>
            </c:ext>
          </c:extLst>
        </c:ser>
        <c:dLbls>
          <c:showLegendKey val="0"/>
          <c:showVal val="0"/>
          <c:showCatName val="1"/>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modernComment_122_BA528485.xml><?xml version="1.0" encoding="utf-8"?>
<p188:cmLst xmlns:a="http://schemas.openxmlformats.org/drawingml/2006/main" xmlns:r="http://schemas.openxmlformats.org/officeDocument/2006/relationships" xmlns:p188="http://schemas.microsoft.com/office/powerpoint/2018/8/main">
  <p188:cm id="{77019F01-D023-7841-8A49-F9807E2C93CC}" authorId="{4CDD18CB-7263-D83D-3C03-6D38F0EEC10B}" created="2025-08-14T18:19:27.003">
    <pc:sldMkLst xmlns:pc="http://schemas.microsoft.com/office/powerpoint/2013/main/command">
      <pc:docMk/>
      <pc:sldMk cId="3125970053" sldId="290"/>
    </pc:sldMkLst>
    <p188:txBody>
      <a:bodyPr/>
      <a:lstStyle/>
      <a:p>
        <a:r>
          <a:rPr lang="en-US"/>
          <a:t>align with day 2 sched
</a:t>
        </a:r>
      </a:p>
    </p188:txBody>
  </p188:cm>
</p188:cmLst>
</file>

<file path=ppt/diagrams/_rels/data1.xml.rels><?xml version="1.0" encoding="UTF-8" standalone="yes"?>
<Relationships xmlns="http://schemas.openxmlformats.org/package/2006/relationships"><Relationship Id="rId8" Type="http://schemas.openxmlformats.org/officeDocument/2006/relationships/image" Target="../media/image26.sv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image" Target="../media/image20.svg"/><Relationship Id="rId1" Type="http://schemas.openxmlformats.org/officeDocument/2006/relationships/image" Target="../media/image19.png"/><Relationship Id="rId6" Type="http://schemas.openxmlformats.org/officeDocument/2006/relationships/image" Target="../media/image24.svg"/><Relationship Id="rId5" Type="http://schemas.openxmlformats.org/officeDocument/2006/relationships/image" Target="../media/image23.png"/><Relationship Id="rId10" Type="http://schemas.openxmlformats.org/officeDocument/2006/relationships/image" Target="../media/image28.svg"/><Relationship Id="rId4" Type="http://schemas.openxmlformats.org/officeDocument/2006/relationships/image" Target="../media/image22.svg"/><Relationship Id="rId9" Type="http://schemas.openxmlformats.org/officeDocument/2006/relationships/image" Target="../media/image27.png"/></Relationships>
</file>

<file path=ppt/diagrams/_rels/data2.xml.rels><?xml version="1.0" encoding="UTF-8" standalone="yes"?>
<Relationships xmlns="http://schemas.openxmlformats.org/package/2006/relationships"><Relationship Id="rId8" Type="http://schemas.openxmlformats.org/officeDocument/2006/relationships/image" Target="../media/image61.svg"/><Relationship Id="rId3" Type="http://schemas.openxmlformats.org/officeDocument/2006/relationships/image" Target="../media/image23.png"/><Relationship Id="rId7" Type="http://schemas.openxmlformats.org/officeDocument/2006/relationships/image" Target="../media/image60.png"/><Relationship Id="rId2" Type="http://schemas.openxmlformats.org/officeDocument/2006/relationships/image" Target="../media/image26.svg"/><Relationship Id="rId1" Type="http://schemas.openxmlformats.org/officeDocument/2006/relationships/image" Target="../media/image25.png"/><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24.svg"/></Relationships>
</file>

<file path=ppt/diagrams/_rels/drawing1.xml.rels><?xml version="1.0" encoding="UTF-8" standalone="yes"?>
<Relationships xmlns="http://schemas.openxmlformats.org/package/2006/relationships"><Relationship Id="rId8" Type="http://schemas.openxmlformats.org/officeDocument/2006/relationships/image" Target="../media/image26.sv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image" Target="../media/image20.svg"/><Relationship Id="rId1" Type="http://schemas.openxmlformats.org/officeDocument/2006/relationships/image" Target="../media/image19.png"/><Relationship Id="rId6" Type="http://schemas.openxmlformats.org/officeDocument/2006/relationships/image" Target="../media/image24.svg"/><Relationship Id="rId5" Type="http://schemas.openxmlformats.org/officeDocument/2006/relationships/image" Target="../media/image23.png"/><Relationship Id="rId10" Type="http://schemas.openxmlformats.org/officeDocument/2006/relationships/image" Target="../media/image28.svg"/><Relationship Id="rId4" Type="http://schemas.openxmlformats.org/officeDocument/2006/relationships/image" Target="../media/image22.svg"/><Relationship Id="rId9" Type="http://schemas.openxmlformats.org/officeDocument/2006/relationships/image" Target="../media/image27.png"/></Relationships>
</file>

<file path=ppt/diagrams/_rels/drawing2.xml.rels><?xml version="1.0" encoding="UTF-8" standalone="yes"?>
<Relationships xmlns="http://schemas.openxmlformats.org/package/2006/relationships"><Relationship Id="rId8" Type="http://schemas.openxmlformats.org/officeDocument/2006/relationships/image" Target="../media/image61.svg"/><Relationship Id="rId3" Type="http://schemas.openxmlformats.org/officeDocument/2006/relationships/image" Target="../media/image23.png"/><Relationship Id="rId7" Type="http://schemas.openxmlformats.org/officeDocument/2006/relationships/image" Target="../media/image60.png"/><Relationship Id="rId2" Type="http://schemas.openxmlformats.org/officeDocument/2006/relationships/image" Target="../media/image26.svg"/><Relationship Id="rId1" Type="http://schemas.openxmlformats.org/officeDocument/2006/relationships/image" Target="../media/image25.png"/><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24.svg"/></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E03DA84-27C9-4DE7-A212-72C0C13A6A5F}"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6DEBDF3A-638B-4CED-B0E7-8143D4CC5992}">
      <dgm:prSet/>
      <dgm:spPr/>
      <dgm:t>
        <a:bodyPr/>
        <a:lstStyle/>
        <a:p>
          <a:r>
            <a:rPr lang="en-US" b="1" i="0"/>
            <a:t>Agentic refers to the ability to “act” or “perform actions.”</a:t>
          </a:r>
          <a:endParaRPr lang="en-US"/>
        </a:p>
      </dgm:t>
    </dgm:pt>
    <dgm:pt modelId="{529F04DD-15F3-417D-8311-41BF35CEC78A}" type="parTrans" cxnId="{FD99ACEB-9A3D-48C5-90BA-1F870B01AB0E}">
      <dgm:prSet/>
      <dgm:spPr/>
      <dgm:t>
        <a:bodyPr/>
        <a:lstStyle/>
        <a:p>
          <a:endParaRPr lang="en-US"/>
        </a:p>
      </dgm:t>
    </dgm:pt>
    <dgm:pt modelId="{5D0888A5-9948-4C7E-8294-702089DA5D36}" type="sibTrans" cxnId="{FD99ACEB-9A3D-48C5-90BA-1F870B01AB0E}">
      <dgm:prSet/>
      <dgm:spPr/>
      <dgm:t>
        <a:bodyPr/>
        <a:lstStyle/>
        <a:p>
          <a:endParaRPr lang="en-US"/>
        </a:p>
      </dgm:t>
    </dgm:pt>
    <dgm:pt modelId="{EB5AA381-1915-4597-8E47-1256527DC74B}">
      <dgm:prSet/>
      <dgm:spPr/>
      <dgm:t>
        <a:bodyPr/>
        <a:lstStyle/>
        <a:p>
          <a:r>
            <a:rPr lang="en-US" b="1" i="0"/>
            <a:t>Generative AI primarily functions by responding to inquiries or producing outputs.</a:t>
          </a:r>
          <a:endParaRPr lang="en-US"/>
        </a:p>
      </dgm:t>
    </dgm:pt>
    <dgm:pt modelId="{7945EA17-81AC-41F4-9C4C-A022F1F656CD}" type="parTrans" cxnId="{4ED24C50-3FFC-41EA-94DA-6CBB03C1673C}">
      <dgm:prSet/>
      <dgm:spPr/>
      <dgm:t>
        <a:bodyPr/>
        <a:lstStyle/>
        <a:p>
          <a:endParaRPr lang="en-US"/>
        </a:p>
      </dgm:t>
    </dgm:pt>
    <dgm:pt modelId="{1618FCB8-0A3C-457A-8E32-EF3642DBE255}" type="sibTrans" cxnId="{4ED24C50-3FFC-41EA-94DA-6CBB03C1673C}">
      <dgm:prSet/>
      <dgm:spPr/>
      <dgm:t>
        <a:bodyPr/>
        <a:lstStyle/>
        <a:p>
          <a:endParaRPr lang="en-US"/>
        </a:p>
      </dgm:t>
    </dgm:pt>
    <dgm:pt modelId="{87B4B0E0-758F-493B-8CD0-1F207EA40D5E}">
      <dgm:prSet/>
      <dgm:spPr/>
      <dgm:t>
        <a:bodyPr/>
        <a:lstStyle/>
        <a:p>
          <a:r>
            <a:rPr lang="en-US" b="1" i="0"/>
            <a:t>We anticipate that agentic systems will operate autonomously towards specified goals and workflows, seeking human input when necessary.</a:t>
          </a:r>
          <a:endParaRPr lang="en-US"/>
        </a:p>
      </dgm:t>
    </dgm:pt>
    <dgm:pt modelId="{F662FB73-6EEC-465F-AD9A-A624C6E8D4D3}" type="parTrans" cxnId="{027FE958-36B5-4807-9598-B59A00ABE889}">
      <dgm:prSet/>
      <dgm:spPr/>
      <dgm:t>
        <a:bodyPr/>
        <a:lstStyle/>
        <a:p>
          <a:endParaRPr lang="en-US"/>
        </a:p>
      </dgm:t>
    </dgm:pt>
    <dgm:pt modelId="{C0C2B15E-C48D-4398-A8B7-FAB1D5991866}" type="sibTrans" cxnId="{027FE958-36B5-4807-9598-B59A00ABE889}">
      <dgm:prSet/>
      <dgm:spPr/>
      <dgm:t>
        <a:bodyPr/>
        <a:lstStyle/>
        <a:p>
          <a:endParaRPr lang="en-US"/>
        </a:p>
      </dgm:t>
    </dgm:pt>
    <dgm:pt modelId="{414B0796-BE3A-4270-9C24-CC7C14AEF75F}">
      <dgm:prSet/>
      <dgm:spPr/>
      <dgm:t>
        <a:bodyPr/>
        <a:lstStyle/>
        <a:p>
          <a:r>
            <a:rPr lang="en-US" b="1" i="0"/>
            <a:t>Agentic AI should be capable of establishing objectives, outlining plans, taking initiative, sustaining ongoing goals, and adjusting strategies based on real-world feedback.</a:t>
          </a:r>
          <a:endParaRPr lang="en-US"/>
        </a:p>
      </dgm:t>
    </dgm:pt>
    <dgm:pt modelId="{65B0C05C-17BA-4BF2-9341-62C38E5FACFB}" type="parTrans" cxnId="{A6232CD4-80DB-48D2-97CE-D18ED9D94D21}">
      <dgm:prSet/>
      <dgm:spPr/>
      <dgm:t>
        <a:bodyPr/>
        <a:lstStyle/>
        <a:p>
          <a:endParaRPr lang="en-US"/>
        </a:p>
      </dgm:t>
    </dgm:pt>
    <dgm:pt modelId="{9B25758B-4CF2-4825-B12E-6DC2F9197FD3}" type="sibTrans" cxnId="{A6232CD4-80DB-48D2-97CE-D18ED9D94D21}">
      <dgm:prSet/>
      <dgm:spPr/>
      <dgm:t>
        <a:bodyPr/>
        <a:lstStyle/>
        <a:p>
          <a:endParaRPr lang="en-US"/>
        </a:p>
      </dgm:t>
    </dgm:pt>
    <dgm:pt modelId="{A9710A45-EE2C-48C0-88BF-031543986D6B}">
      <dgm:prSet/>
      <dgm:spPr/>
      <dgm:t>
        <a:bodyPr/>
        <a:lstStyle/>
        <a:p>
          <a:r>
            <a:rPr lang="en-US" b="1" i="0"/>
            <a:t>These systems ought to be designed with inherent intelligence, enabling them to take action, engage with applications, manipulate data, manage systems, and utilize insights and memories throughout the goal completion process.</a:t>
          </a:r>
          <a:endParaRPr lang="en-US"/>
        </a:p>
      </dgm:t>
    </dgm:pt>
    <dgm:pt modelId="{F8A7903E-6723-4D26-A2A5-B5B4127AF8CB}" type="parTrans" cxnId="{5E078B12-463B-476F-83DE-2052694C9BC0}">
      <dgm:prSet/>
      <dgm:spPr/>
      <dgm:t>
        <a:bodyPr/>
        <a:lstStyle/>
        <a:p>
          <a:endParaRPr lang="en-US"/>
        </a:p>
      </dgm:t>
    </dgm:pt>
    <dgm:pt modelId="{F832472B-7208-44D6-8D16-B03EADA69E12}" type="sibTrans" cxnId="{5E078B12-463B-476F-83DE-2052694C9BC0}">
      <dgm:prSet/>
      <dgm:spPr/>
      <dgm:t>
        <a:bodyPr/>
        <a:lstStyle/>
        <a:p>
          <a:endParaRPr lang="en-US"/>
        </a:p>
      </dgm:t>
    </dgm:pt>
    <dgm:pt modelId="{42C6F6BA-B306-4E6F-853D-D3405E655703}" type="pres">
      <dgm:prSet presAssocID="{6E03DA84-27C9-4DE7-A212-72C0C13A6A5F}" presName="root" presStyleCnt="0">
        <dgm:presLayoutVars>
          <dgm:dir/>
          <dgm:resizeHandles val="exact"/>
        </dgm:presLayoutVars>
      </dgm:prSet>
      <dgm:spPr/>
    </dgm:pt>
    <dgm:pt modelId="{6C423012-4CFA-4D60-828A-D5903E2AEE17}" type="pres">
      <dgm:prSet presAssocID="{6DEBDF3A-638B-4CED-B0E7-8143D4CC5992}" presName="compNode" presStyleCnt="0"/>
      <dgm:spPr/>
    </dgm:pt>
    <dgm:pt modelId="{77D14FBD-456B-42DA-940C-AD93B35E5203}" type="pres">
      <dgm:prSet presAssocID="{6DEBDF3A-638B-4CED-B0E7-8143D4CC5992}" presName="bgRect" presStyleLbl="bgShp" presStyleIdx="0" presStyleCnt="5"/>
      <dgm:spPr/>
    </dgm:pt>
    <dgm:pt modelId="{34344199-315B-45B4-A5FC-8DB7A57E8949}" type="pres">
      <dgm:prSet presAssocID="{6DEBDF3A-638B-4CED-B0E7-8143D4CC5992}"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Balloon Animal"/>
        </a:ext>
      </dgm:extLst>
    </dgm:pt>
    <dgm:pt modelId="{41E0F617-8B81-457D-9D70-B6F32CA9C497}" type="pres">
      <dgm:prSet presAssocID="{6DEBDF3A-638B-4CED-B0E7-8143D4CC5992}" presName="spaceRect" presStyleCnt="0"/>
      <dgm:spPr/>
    </dgm:pt>
    <dgm:pt modelId="{BF566DD1-4A25-465E-9F5C-7D08B622E098}" type="pres">
      <dgm:prSet presAssocID="{6DEBDF3A-638B-4CED-B0E7-8143D4CC5992}" presName="parTx" presStyleLbl="revTx" presStyleIdx="0" presStyleCnt="5">
        <dgm:presLayoutVars>
          <dgm:chMax val="0"/>
          <dgm:chPref val="0"/>
        </dgm:presLayoutVars>
      </dgm:prSet>
      <dgm:spPr/>
    </dgm:pt>
    <dgm:pt modelId="{D092A831-B5BF-440E-859B-1C39FC13678E}" type="pres">
      <dgm:prSet presAssocID="{5D0888A5-9948-4C7E-8294-702089DA5D36}" presName="sibTrans" presStyleCnt="0"/>
      <dgm:spPr/>
    </dgm:pt>
    <dgm:pt modelId="{4FC03956-5333-44A0-BC54-E9CFD615F2CA}" type="pres">
      <dgm:prSet presAssocID="{EB5AA381-1915-4597-8E47-1256527DC74B}" presName="compNode" presStyleCnt="0"/>
      <dgm:spPr/>
    </dgm:pt>
    <dgm:pt modelId="{B3C458E6-D23D-493A-A6DC-8D773EBF8177}" type="pres">
      <dgm:prSet presAssocID="{EB5AA381-1915-4597-8E47-1256527DC74B}" presName="bgRect" presStyleLbl="bgShp" presStyleIdx="1" presStyleCnt="5"/>
      <dgm:spPr/>
    </dgm:pt>
    <dgm:pt modelId="{CA33C2C6-4226-4029-9D18-E336CD04FD06}" type="pres">
      <dgm:prSet presAssocID="{EB5AA381-1915-4597-8E47-1256527DC74B}" presName="iconRect" presStyleLbl="node1" presStyleIdx="1"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Head with Gears"/>
        </a:ext>
      </dgm:extLst>
    </dgm:pt>
    <dgm:pt modelId="{7C7069DE-B72B-4575-96C4-0DA9F6FCC6F0}" type="pres">
      <dgm:prSet presAssocID="{EB5AA381-1915-4597-8E47-1256527DC74B}" presName="spaceRect" presStyleCnt="0"/>
      <dgm:spPr/>
    </dgm:pt>
    <dgm:pt modelId="{74469BDB-3DDB-4BBB-ADDB-B5DAD1473EF2}" type="pres">
      <dgm:prSet presAssocID="{EB5AA381-1915-4597-8E47-1256527DC74B}" presName="parTx" presStyleLbl="revTx" presStyleIdx="1" presStyleCnt="5">
        <dgm:presLayoutVars>
          <dgm:chMax val="0"/>
          <dgm:chPref val="0"/>
        </dgm:presLayoutVars>
      </dgm:prSet>
      <dgm:spPr/>
    </dgm:pt>
    <dgm:pt modelId="{5395030F-99DF-4F7A-9894-7AE5990C06A3}" type="pres">
      <dgm:prSet presAssocID="{1618FCB8-0A3C-457A-8E32-EF3642DBE255}" presName="sibTrans" presStyleCnt="0"/>
      <dgm:spPr/>
    </dgm:pt>
    <dgm:pt modelId="{64013F4C-4E85-447C-A54E-F1CFF3828958}" type="pres">
      <dgm:prSet presAssocID="{87B4B0E0-758F-493B-8CD0-1F207EA40D5E}" presName="compNode" presStyleCnt="0"/>
      <dgm:spPr/>
    </dgm:pt>
    <dgm:pt modelId="{93797FE2-D52E-40F3-B080-ABE291683298}" type="pres">
      <dgm:prSet presAssocID="{87B4B0E0-758F-493B-8CD0-1F207EA40D5E}" presName="bgRect" presStyleLbl="bgShp" presStyleIdx="2" presStyleCnt="5"/>
      <dgm:spPr/>
    </dgm:pt>
    <dgm:pt modelId="{3F3477F2-A2BB-4B62-BE35-99AA5AA19A44}" type="pres">
      <dgm:prSet presAssocID="{87B4B0E0-758F-493B-8CD0-1F207EA40D5E}" presName="iconRect" presStyleLbl="nod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Arrow Circle"/>
        </a:ext>
      </dgm:extLst>
    </dgm:pt>
    <dgm:pt modelId="{81164B37-44A3-42B1-AF55-1A9326873DFA}" type="pres">
      <dgm:prSet presAssocID="{87B4B0E0-758F-493B-8CD0-1F207EA40D5E}" presName="spaceRect" presStyleCnt="0"/>
      <dgm:spPr/>
    </dgm:pt>
    <dgm:pt modelId="{24B7421F-A7C0-4400-B7FE-8F9E790EEF6B}" type="pres">
      <dgm:prSet presAssocID="{87B4B0E0-758F-493B-8CD0-1F207EA40D5E}" presName="parTx" presStyleLbl="revTx" presStyleIdx="2" presStyleCnt="5">
        <dgm:presLayoutVars>
          <dgm:chMax val="0"/>
          <dgm:chPref val="0"/>
        </dgm:presLayoutVars>
      </dgm:prSet>
      <dgm:spPr/>
    </dgm:pt>
    <dgm:pt modelId="{72D96488-5B45-4EB3-999E-51350971CEBD}" type="pres">
      <dgm:prSet presAssocID="{C0C2B15E-C48D-4398-A8B7-FAB1D5991866}" presName="sibTrans" presStyleCnt="0"/>
      <dgm:spPr/>
    </dgm:pt>
    <dgm:pt modelId="{2EA4C61B-3A0C-4FDC-A72E-6C2DCA5455C3}" type="pres">
      <dgm:prSet presAssocID="{414B0796-BE3A-4270-9C24-CC7C14AEF75F}" presName="compNode" presStyleCnt="0"/>
      <dgm:spPr/>
    </dgm:pt>
    <dgm:pt modelId="{01A8D9F9-9D36-4E38-B97A-476526A22AFD}" type="pres">
      <dgm:prSet presAssocID="{414B0796-BE3A-4270-9C24-CC7C14AEF75F}" presName="bgRect" presStyleLbl="bgShp" presStyleIdx="3" presStyleCnt="5"/>
      <dgm:spPr/>
    </dgm:pt>
    <dgm:pt modelId="{A7F9248E-CFFC-4A33-A812-5CDF57F0C827}" type="pres">
      <dgm:prSet presAssocID="{414B0796-BE3A-4270-9C24-CC7C14AEF75F}" presName="iconRect" presStyleLbl="node1" presStyleIdx="3" presStyleCnt="5"/>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Playbook"/>
        </a:ext>
      </dgm:extLst>
    </dgm:pt>
    <dgm:pt modelId="{4EAD8215-9899-4331-BDD0-F64BA5F2295B}" type="pres">
      <dgm:prSet presAssocID="{414B0796-BE3A-4270-9C24-CC7C14AEF75F}" presName="spaceRect" presStyleCnt="0"/>
      <dgm:spPr/>
    </dgm:pt>
    <dgm:pt modelId="{DDCFCCF2-8B84-4882-BBBE-6DDC376E93F2}" type="pres">
      <dgm:prSet presAssocID="{414B0796-BE3A-4270-9C24-CC7C14AEF75F}" presName="parTx" presStyleLbl="revTx" presStyleIdx="3" presStyleCnt="5">
        <dgm:presLayoutVars>
          <dgm:chMax val="0"/>
          <dgm:chPref val="0"/>
        </dgm:presLayoutVars>
      </dgm:prSet>
      <dgm:spPr/>
    </dgm:pt>
    <dgm:pt modelId="{35BDDA95-715F-409C-A7C6-3A66CE23D42D}" type="pres">
      <dgm:prSet presAssocID="{9B25758B-4CF2-4825-B12E-6DC2F9197FD3}" presName="sibTrans" presStyleCnt="0"/>
      <dgm:spPr/>
    </dgm:pt>
    <dgm:pt modelId="{7AFA344F-7069-424A-8440-B0C385E4E9A7}" type="pres">
      <dgm:prSet presAssocID="{A9710A45-EE2C-48C0-88BF-031543986D6B}" presName="compNode" presStyleCnt="0"/>
      <dgm:spPr/>
    </dgm:pt>
    <dgm:pt modelId="{672B9CA5-6A90-48C0-AE2E-B55CD3C12762}" type="pres">
      <dgm:prSet presAssocID="{A9710A45-EE2C-48C0-88BF-031543986D6B}" presName="bgRect" presStyleLbl="bgShp" presStyleIdx="4" presStyleCnt="5"/>
      <dgm:spPr/>
    </dgm:pt>
    <dgm:pt modelId="{E56AF567-FF97-4E2E-B5DF-59FD950EB8F9}" type="pres">
      <dgm:prSet presAssocID="{A9710A45-EE2C-48C0-88BF-031543986D6B}" presName="iconRect" presStyleLbl="node1" presStyleIdx="4" presStyleCnt="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Gears"/>
        </a:ext>
      </dgm:extLst>
    </dgm:pt>
    <dgm:pt modelId="{72ACA6D9-0942-4951-A5B3-5673593D9B80}" type="pres">
      <dgm:prSet presAssocID="{A9710A45-EE2C-48C0-88BF-031543986D6B}" presName="spaceRect" presStyleCnt="0"/>
      <dgm:spPr/>
    </dgm:pt>
    <dgm:pt modelId="{4548B2EE-0EA9-4570-A7BD-04D55491B90C}" type="pres">
      <dgm:prSet presAssocID="{A9710A45-EE2C-48C0-88BF-031543986D6B}" presName="parTx" presStyleLbl="revTx" presStyleIdx="4" presStyleCnt="5">
        <dgm:presLayoutVars>
          <dgm:chMax val="0"/>
          <dgm:chPref val="0"/>
        </dgm:presLayoutVars>
      </dgm:prSet>
      <dgm:spPr/>
    </dgm:pt>
  </dgm:ptLst>
  <dgm:cxnLst>
    <dgm:cxn modelId="{DEA44512-D78E-417C-88B3-738E70DA6240}" type="presOf" srcId="{A9710A45-EE2C-48C0-88BF-031543986D6B}" destId="{4548B2EE-0EA9-4570-A7BD-04D55491B90C}" srcOrd="0" destOrd="0" presId="urn:microsoft.com/office/officeart/2018/2/layout/IconVerticalSolidList"/>
    <dgm:cxn modelId="{5E078B12-463B-476F-83DE-2052694C9BC0}" srcId="{6E03DA84-27C9-4DE7-A212-72C0C13A6A5F}" destId="{A9710A45-EE2C-48C0-88BF-031543986D6B}" srcOrd="4" destOrd="0" parTransId="{F8A7903E-6723-4D26-A2A5-B5B4127AF8CB}" sibTransId="{F832472B-7208-44D6-8D16-B03EADA69E12}"/>
    <dgm:cxn modelId="{CB98A83A-26DC-41B2-B04A-8B2EB00A9AB9}" type="presOf" srcId="{414B0796-BE3A-4270-9C24-CC7C14AEF75F}" destId="{DDCFCCF2-8B84-4882-BBBE-6DDC376E93F2}" srcOrd="0" destOrd="0" presId="urn:microsoft.com/office/officeart/2018/2/layout/IconVerticalSolidList"/>
    <dgm:cxn modelId="{D5359365-5459-4BC3-8F89-A1D563C65CD6}" type="presOf" srcId="{EB5AA381-1915-4597-8E47-1256527DC74B}" destId="{74469BDB-3DDB-4BBB-ADDB-B5DAD1473EF2}" srcOrd="0" destOrd="0" presId="urn:microsoft.com/office/officeart/2018/2/layout/IconVerticalSolidList"/>
    <dgm:cxn modelId="{0B67C76D-C9B9-4799-8681-DCCDF9F82F67}" type="presOf" srcId="{6DEBDF3A-638B-4CED-B0E7-8143D4CC5992}" destId="{BF566DD1-4A25-465E-9F5C-7D08B622E098}" srcOrd="0" destOrd="0" presId="urn:microsoft.com/office/officeart/2018/2/layout/IconVerticalSolidList"/>
    <dgm:cxn modelId="{4ED24C50-3FFC-41EA-94DA-6CBB03C1673C}" srcId="{6E03DA84-27C9-4DE7-A212-72C0C13A6A5F}" destId="{EB5AA381-1915-4597-8E47-1256527DC74B}" srcOrd="1" destOrd="0" parTransId="{7945EA17-81AC-41F4-9C4C-A022F1F656CD}" sibTransId="{1618FCB8-0A3C-457A-8E32-EF3642DBE255}"/>
    <dgm:cxn modelId="{027FE958-36B5-4807-9598-B59A00ABE889}" srcId="{6E03DA84-27C9-4DE7-A212-72C0C13A6A5F}" destId="{87B4B0E0-758F-493B-8CD0-1F207EA40D5E}" srcOrd="2" destOrd="0" parTransId="{F662FB73-6EEC-465F-AD9A-A624C6E8D4D3}" sibTransId="{C0C2B15E-C48D-4398-A8B7-FAB1D5991866}"/>
    <dgm:cxn modelId="{F841C6B5-82E0-43E4-98B1-3784B9352EE4}" type="presOf" srcId="{87B4B0E0-758F-493B-8CD0-1F207EA40D5E}" destId="{24B7421F-A7C0-4400-B7FE-8F9E790EEF6B}" srcOrd="0" destOrd="0" presId="urn:microsoft.com/office/officeart/2018/2/layout/IconVerticalSolidList"/>
    <dgm:cxn modelId="{11C96FC2-0561-4DA9-8E88-0CFCB0CE3E5D}" type="presOf" srcId="{6E03DA84-27C9-4DE7-A212-72C0C13A6A5F}" destId="{42C6F6BA-B306-4E6F-853D-D3405E655703}" srcOrd="0" destOrd="0" presId="urn:microsoft.com/office/officeart/2018/2/layout/IconVerticalSolidList"/>
    <dgm:cxn modelId="{A6232CD4-80DB-48D2-97CE-D18ED9D94D21}" srcId="{6E03DA84-27C9-4DE7-A212-72C0C13A6A5F}" destId="{414B0796-BE3A-4270-9C24-CC7C14AEF75F}" srcOrd="3" destOrd="0" parTransId="{65B0C05C-17BA-4BF2-9341-62C38E5FACFB}" sibTransId="{9B25758B-4CF2-4825-B12E-6DC2F9197FD3}"/>
    <dgm:cxn modelId="{FD99ACEB-9A3D-48C5-90BA-1F870B01AB0E}" srcId="{6E03DA84-27C9-4DE7-A212-72C0C13A6A5F}" destId="{6DEBDF3A-638B-4CED-B0E7-8143D4CC5992}" srcOrd="0" destOrd="0" parTransId="{529F04DD-15F3-417D-8311-41BF35CEC78A}" sibTransId="{5D0888A5-9948-4C7E-8294-702089DA5D36}"/>
    <dgm:cxn modelId="{5F8AE1E5-F963-414A-8A1F-EC775429A4EF}" type="presParOf" srcId="{42C6F6BA-B306-4E6F-853D-D3405E655703}" destId="{6C423012-4CFA-4D60-828A-D5903E2AEE17}" srcOrd="0" destOrd="0" presId="urn:microsoft.com/office/officeart/2018/2/layout/IconVerticalSolidList"/>
    <dgm:cxn modelId="{4ABFB435-A321-4A62-A18B-C7D60C1DA3DC}" type="presParOf" srcId="{6C423012-4CFA-4D60-828A-D5903E2AEE17}" destId="{77D14FBD-456B-42DA-940C-AD93B35E5203}" srcOrd="0" destOrd="0" presId="urn:microsoft.com/office/officeart/2018/2/layout/IconVerticalSolidList"/>
    <dgm:cxn modelId="{CCC50610-C543-4373-8266-4E8B273D8C9A}" type="presParOf" srcId="{6C423012-4CFA-4D60-828A-D5903E2AEE17}" destId="{34344199-315B-45B4-A5FC-8DB7A57E8949}" srcOrd="1" destOrd="0" presId="urn:microsoft.com/office/officeart/2018/2/layout/IconVerticalSolidList"/>
    <dgm:cxn modelId="{F741850C-EFBE-49EB-A597-F9D69A4ABE89}" type="presParOf" srcId="{6C423012-4CFA-4D60-828A-D5903E2AEE17}" destId="{41E0F617-8B81-457D-9D70-B6F32CA9C497}" srcOrd="2" destOrd="0" presId="urn:microsoft.com/office/officeart/2018/2/layout/IconVerticalSolidList"/>
    <dgm:cxn modelId="{1B3A6F68-F548-4E06-BEEB-981BC0E6755F}" type="presParOf" srcId="{6C423012-4CFA-4D60-828A-D5903E2AEE17}" destId="{BF566DD1-4A25-465E-9F5C-7D08B622E098}" srcOrd="3" destOrd="0" presId="urn:microsoft.com/office/officeart/2018/2/layout/IconVerticalSolidList"/>
    <dgm:cxn modelId="{B888A77F-3229-4920-B62A-EB1C63A40670}" type="presParOf" srcId="{42C6F6BA-B306-4E6F-853D-D3405E655703}" destId="{D092A831-B5BF-440E-859B-1C39FC13678E}" srcOrd="1" destOrd="0" presId="urn:microsoft.com/office/officeart/2018/2/layout/IconVerticalSolidList"/>
    <dgm:cxn modelId="{234BF432-F8CD-4A54-AE37-07AD050D9D15}" type="presParOf" srcId="{42C6F6BA-B306-4E6F-853D-D3405E655703}" destId="{4FC03956-5333-44A0-BC54-E9CFD615F2CA}" srcOrd="2" destOrd="0" presId="urn:microsoft.com/office/officeart/2018/2/layout/IconVerticalSolidList"/>
    <dgm:cxn modelId="{C6FBE138-74EF-4DD4-9BA8-ED4B12F4292E}" type="presParOf" srcId="{4FC03956-5333-44A0-BC54-E9CFD615F2CA}" destId="{B3C458E6-D23D-493A-A6DC-8D773EBF8177}" srcOrd="0" destOrd="0" presId="urn:microsoft.com/office/officeart/2018/2/layout/IconVerticalSolidList"/>
    <dgm:cxn modelId="{DC8B4441-4345-401C-9A12-D76ADF2395F9}" type="presParOf" srcId="{4FC03956-5333-44A0-BC54-E9CFD615F2CA}" destId="{CA33C2C6-4226-4029-9D18-E336CD04FD06}" srcOrd="1" destOrd="0" presId="urn:microsoft.com/office/officeart/2018/2/layout/IconVerticalSolidList"/>
    <dgm:cxn modelId="{9F478B28-2796-4A16-8500-3C847E77F3DC}" type="presParOf" srcId="{4FC03956-5333-44A0-BC54-E9CFD615F2CA}" destId="{7C7069DE-B72B-4575-96C4-0DA9F6FCC6F0}" srcOrd="2" destOrd="0" presId="urn:microsoft.com/office/officeart/2018/2/layout/IconVerticalSolidList"/>
    <dgm:cxn modelId="{3D1AFCB9-07EC-4EC0-A38E-7AA26B0CA5A8}" type="presParOf" srcId="{4FC03956-5333-44A0-BC54-E9CFD615F2CA}" destId="{74469BDB-3DDB-4BBB-ADDB-B5DAD1473EF2}" srcOrd="3" destOrd="0" presId="urn:microsoft.com/office/officeart/2018/2/layout/IconVerticalSolidList"/>
    <dgm:cxn modelId="{2BC1588B-7B41-4B1D-8BE0-F7AAA10828F8}" type="presParOf" srcId="{42C6F6BA-B306-4E6F-853D-D3405E655703}" destId="{5395030F-99DF-4F7A-9894-7AE5990C06A3}" srcOrd="3" destOrd="0" presId="urn:microsoft.com/office/officeart/2018/2/layout/IconVerticalSolidList"/>
    <dgm:cxn modelId="{D8AEC803-5804-4E3A-9A8B-A2911A7E02A6}" type="presParOf" srcId="{42C6F6BA-B306-4E6F-853D-D3405E655703}" destId="{64013F4C-4E85-447C-A54E-F1CFF3828958}" srcOrd="4" destOrd="0" presId="urn:microsoft.com/office/officeart/2018/2/layout/IconVerticalSolidList"/>
    <dgm:cxn modelId="{90202B40-23CC-4E0D-B50A-45605B6362BE}" type="presParOf" srcId="{64013F4C-4E85-447C-A54E-F1CFF3828958}" destId="{93797FE2-D52E-40F3-B080-ABE291683298}" srcOrd="0" destOrd="0" presId="urn:microsoft.com/office/officeart/2018/2/layout/IconVerticalSolidList"/>
    <dgm:cxn modelId="{D17D6176-F0FD-4529-8A47-3CC48E755C55}" type="presParOf" srcId="{64013F4C-4E85-447C-A54E-F1CFF3828958}" destId="{3F3477F2-A2BB-4B62-BE35-99AA5AA19A44}" srcOrd="1" destOrd="0" presId="urn:microsoft.com/office/officeart/2018/2/layout/IconVerticalSolidList"/>
    <dgm:cxn modelId="{77A64509-63BB-42BA-BC72-71E6FEA6C5FA}" type="presParOf" srcId="{64013F4C-4E85-447C-A54E-F1CFF3828958}" destId="{81164B37-44A3-42B1-AF55-1A9326873DFA}" srcOrd="2" destOrd="0" presId="urn:microsoft.com/office/officeart/2018/2/layout/IconVerticalSolidList"/>
    <dgm:cxn modelId="{6D761294-7805-4A38-9C1F-0469A9740429}" type="presParOf" srcId="{64013F4C-4E85-447C-A54E-F1CFF3828958}" destId="{24B7421F-A7C0-4400-B7FE-8F9E790EEF6B}" srcOrd="3" destOrd="0" presId="urn:microsoft.com/office/officeart/2018/2/layout/IconVerticalSolidList"/>
    <dgm:cxn modelId="{DC034771-F632-4C0B-A08E-77F0955A5760}" type="presParOf" srcId="{42C6F6BA-B306-4E6F-853D-D3405E655703}" destId="{72D96488-5B45-4EB3-999E-51350971CEBD}" srcOrd="5" destOrd="0" presId="urn:microsoft.com/office/officeart/2018/2/layout/IconVerticalSolidList"/>
    <dgm:cxn modelId="{8582C3D1-49C2-46DC-8272-0F36FE6CDBD6}" type="presParOf" srcId="{42C6F6BA-B306-4E6F-853D-D3405E655703}" destId="{2EA4C61B-3A0C-4FDC-A72E-6C2DCA5455C3}" srcOrd="6" destOrd="0" presId="urn:microsoft.com/office/officeart/2018/2/layout/IconVerticalSolidList"/>
    <dgm:cxn modelId="{00BA2CB2-EFE7-480E-91D0-EE94A7AE0160}" type="presParOf" srcId="{2EA4C61B-3A0C-4FDC-A72E-6C2DCA5455C3}" destId="{01A8D9F9-9D36-4E38-B97A-476526A22AFD}" srcOrd="0" destOrd="0" presId="urn:microsoft.com/office/officeart/2018/2/layout/IconVerticalSolidList"/>
    <dgm:cxn modelId="{DC42826E-2675-408C-B00A-3E943DF7251E}" type="presParOf" srcId="{2EA4C61B-3A0C-4FDC-A72E-6C2DCA5455C3}" destId="{A7F9248E-CFFC-4A33-A812-5CDF57F0C827}" srcOrd="1" destOrd="0" presId="urn:microsoft.com/office/officeart/2018/2/layout/IconVerticalSolidList"/>
    <dgm:cxn modelId="{B7AE7705-08CA-43C3-9DA6-F4C7792A0D5E}" type="presParOf" srcId="{2EA4C61B-3A0C-4FDC-A72E-6C2DCA5455C3}" destId="{4EAD8215-9899-4331-BDD0-F64BA5F2295B}" srcOrd="2" destOrd="0" presId="urn:microsoft.com/office/officeart/2018/2/layout/IconVerticalSolidList"/>
    <dgm:cxn modelId="{A5E855E5-574D-4769-986A-2296848780DC}" type="presParOf" srcId="{2EA4C61B-3A0C-4FDC-A72E-6C2DCA5455C3}" destId="{DDCFCCF2-8B84-4882-BBBE-6DDC376E93F2}" srcOrd="3" destOrd="0" presId="urn:microsoft.com/office/officeart/2018/2/layout/IconVerticalSolidList"/>
    <dgm:cxn modelId="{83EA65A8-5E02-467E-9359-1E1778CB9567}" type="presParOf" srcId="{42C6F6BA-B306-4E6F-853D-D3405E655703}" destId="{35BDDA95-715F-409C-A7C6-3A66CE23D42D}" srcOrd="7" destOrd="0" presId="urn:microsoft.com/office/officeart/2018/2/layout/IconVerticalSolidList"/>
    <dgm:cxn modelId="{D322F263-4FBD-476A-9858-C8924FF65638}" type="presParOf" srcId="{42C6F6BA-B306-4E6F-853D-D3405E655703}" destId="{7AFA344F-7069-424A-8440-B0C385E4E9A7}" srcOrd="8" destOrd="0" presId="urn:microsoft.com/office/officeart/2018/2/layout/IconVerticalSolidList"/>
    <dgm:cxn modelId="{9441130B-14CB-4AFB-8F1F-656F37D3927B}" type="presParOf" srcId="{7AFA344F-7069-424A-8440-B0C385E4E9A7}" destId="{672B9CA5-6A90-48C0-AE2E-B55CD3C12762}" srcOrd="0" destOrd="0" presId="urn:microsoft.com/office/officeart/2018/2/layout/IconVerticalSolidList"/>
    <dgm:cxn modelId="{FC3EDF16-8002-42D2-8996-18EA52580CD7}" type="presParOf" srcId="{7AFA344F-7069-424A-8440-B0C385E4E9A7}" destId="{E56AF567-FF97-4E2E-B5DF-59FD950EB8F9}" srcOrd="1" destOrd="0" presId="urn:microsoft.com/office/officeart/2018/2/layout/IconVerticalSolidList"/>
    <dgm:cxn modelId="{823EF56A-3917-48F1-97FD-870E960C84B6}" type="presParOf" srcId="{7AFA344F-7069-424A-8440-B0C385E4E9A7}" destId="{72ACA6D9-0942-4951-A5B3-5673593D9B80}" srcOrd="2" destOrd="0" presId="urn:microsoft.com/office/officeart/2018/2/layout/IconVerticalSolidList"/>
    <dgm:cxn modelId="{AE37CCAF-39DB-46A4-A87E-43DCD8729F89}" type="presParOf" srcId="{7AFA344F-7069-424A-8440-B0C385E4E9A7}" destId="{4548B2EE-0EA9-4570-A7BD-04D55491B90C}"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3EBA3F4-9761-471A-9CE1-305FA19DF2A5}"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D77D81E5-B48A-4DBD-9446-B80156196962}">
      <dgm:prSet/>
      <dgm:spPr/>
      <dgm:t>
        <a:bodyPr/>
        <a:lstStyle/>
        <a:p>
          <a:r>
            <a:rPr lang="en-US" b="0" i="0"/>
            <a:t>We will discover how to enable Agents with tools, what context, and what action space they can operate in.</a:t>
          </a:r>
          <a:br>
            <a:rPr lang="en-US" b="0" i="0"/>
          </a:br>
          <a:endParaRPr lang="en-US"/>
        </a:p>
      </dgm:t>
    </dgm:pt>
    <dgm:pt modelId="{28CC1CE3-4A08-4772-94A8-5984C53C97B3}" type="parTrans" cxnId="{8E7243C7-93B8-4E9A-8773-B78CC6614AB2}">
      <dgm:prSet/>
      <dgm:spPr/>
      <dgm:t>
        <a:bodyPr/>
        <a:lstStyle/>
        <a:p>
          <a:endParaRPr lang="en-US"/>
        </a:p>
      </dgm:t>
    </dgm:pt>
    <dgm:pt modelId="{E00E02BC-923F-454E-8FA4-2C6FE8F9F1C8}" type="sibTrans" cxnId="{8E7243C7-93B8-4E9A-8773-B78CC6614AB2}">
      <dgm:prSet/>
      <dgm:spPr/>
      <dgm:t>
        <a:bodyPr/>
        <a:lstStyle/>
        <a:p>
          <a:endParaRPr lang="en-US"/>
        </a:p>
      </dgm:t>
    </dgm:pt>
    <dgm:pt modelId="{79579A71-B1C3-4EFF-9B2E-1DA0D0475609}">
      <dgm:prSet/>
      <dgm:spPr/>
      <dgm:t>
        <a:bodyPr/>
        <a:lstStyle/>
        <a:p>
          <a:r>
            <a:rPr lang="en-US" b="0" i="0"/>
            <a:t>Actions will include task-oriented completion, exploration, communication and more.</a:t>
          </a:r>
          <a:br>
            <a:rPr lang="en-US" b="0" i="0"/>
          </a:br>
          <a:endParaRPr lang="en-US"/>
        </a:p>
      </dgm:t>
    </dgm:pt>
    <dgm:pt modelId="{507BD973-7F57-46DE-9F7D-A0BFBF67BB7F}" type="parTrans" cxnId="{74DF980F-6563-43B2-971B-E48F59567447}">
      <dgm:prSet/>
      <dgm:spPr/>
      <dgm:t>
        <a:bodyPr/>
        <a:lstStyle/>
        <a:p>
          <a:endParaRPr lang="en-US"/>
        </a:p>
      </dgm:t>
    </dgm:pt>
    <dgm:pt modelId="{E80C0BCF-EF77-4E07-B6DB-80965C39BC6E}" type="sibTrans" cxnId="{74DF980F-6563-43B2-971B-E48F59567447}">
      <dgm:prSet/>
      <dgm:spPr/>
      <dgm:t>
        <a:bodyPr/>
        <a:lstStyle/>
        <a:p>
          <a:endParaRPr lang="en-US"/>
        </a:p>
      </dgm:t>
    </dgm:pt>
    <dgm:pt modelId="{716EBA16-AA7D-4F5A-88A3-020B0B70A4DC}">
      <dgm:prSet/>
      <dgm:spPr/>
      <dgm:t>
        <a:bodyPr/>
        <a:lstStyle/>
        <a:p>
          <a:r>
            <a:rPr lang="en-US" b="0" i="0"/>
            <a:t>Agent’s action space can include predefined actions, environment driven actions and memory or internalized hypothetical actions.</a:t>
          </a:r>
          <a:br>
            <a:rPr lang="en-US" b="0" i="0"/>
          </a:br>
          <a:endParaRPr lang="en-US"/>
        </a:p>
      </dgm:t>
    </dgm:pt>
    <dgm:pt modelId="{C7161414-2984-4478-BE26-79408A2FEF60}" type="parTrans" cxnId="{8D0C9D16-1F50-4228-9570-A4CFD9B7254A}">
      <dgm:prSet/>
      <dgm:spPr/>
      <dgm:t>
        <a:bodyPr/>
        <a:lstStyle/>
        <a:p>
          <a:endParaRPr lang="en-US"/>
        </a:p>
      </dgm:t>
    </dgm:pt>
    <dgm:pt modelId="{26523542-4C85-4494-8F0F-9770C9524703}" type="sibTrans" cxnId="{8D0C9D16-1F50-4228-9570-A4CFD9B7254A}">
      <dgm:prSet/>
      <dgm:spPr/>
      <dgm:t>
        <a:bodyPr/>
        <a:lstStyle/>
        <a:p>
          <a:endParaRPr lang="en-US"/>
        </a:p>
      </dgm:t>
    </dgm:pt>
    <dgm:pt modelId="{F1F48578-CCA4-489E-A415-A3BD549D68D1}">
      <dgm:prSet/>
      <dgm:spPr/>
      <dgm:t>
        <a:bodyPr/>
        <a:lstStyle/>
        <a:p>
          <a:r>
            <a:rPr lang="en-US" b="0" i="0"/>
            <a:t>We will determine how to define the Action Target, Action Space, Action Impact, and generate new sets of actions.</a:t>
          </a:r>
          <a:endParaRPr lang="en-US"/>
        </a:p>
      </dgm:t>
    </dgm:pt>
    <dgm:pt modelId="{CBA84C73-9BA1-4B73-A8D2-C9BCF17E027F}" type="parTrans" cxnId="{1044212D-FB70-49E1-A7AD-BD8A3D074D0C}">
      <dgm:prSet/>
      <dgm:spPr/>
      <dgm:t>
        <a:bodyPr/>
        <a:lstStyle/>
        <a:p>
          <a:endParaRPr lang="en-US"/>
        </a:p>
      </dgm:t>
    </dgm:pt>
    <dgm:pt modelId="{995D952F-DDBB-472A-971F-AA1DF4BFDF66}" type="sibTrans" cxnId="{1044212D-FB70-49E1-A7AD-BD8A3D074D0C}">
      <dgm:prSet/>
      <dgm:spPr/>
      <dgm:t>
        <a:bodyPr/>
        <a:lstStyle/>
        <a:p>
          <a:endParaRPr lang="en-US"/>
        </a:p>
      </dgm:t>
    </dgm:pt>
    <dgm:pt modelId="{1843A95B-6414-4CE2-A465-967AD82EF0DB}" type="pres">
      <dgm:prSet presAssocID="{A3EBA3F4-9761-471A-9CE1-305FA19DF2A5}" presName="root" presStyleCnt="0">
        <dgm:presLayoutVars>
          <dgm:dir/>
          <dgm:resizeHandles val="exact"/>
        </dgm:presLayoutVars>
      </dgm:prSet>
      <dgm:spPr/>
    </dgm:pt>
    <dgm:pt modelId="{A328656D-50FF-4431-8277-03C6E14D9DD2}" type="pres">
      <dgm:prSet presAssocID="{D77D81E5-B48A-4DBD-9446-B80156196962}" presName="compNode" presStyleCnt="0"/>
      <dgm:spPr/>
    </dgm:pt>
    <dgm:pt modelId="{E1157126-208A-46E3-A62A-E22F5DBD18A7}" type="pres">
      <dgm:prSet presAssocID="{D77D81E5-B48A-4DBD-9446-B80156196962}" presName="bgRect" presStyleLbl="bgShp" presStyleIdx="0" presStyleCnt="4"/>
      <dgm:spPr/>
    </dgm:pt>
    <dgm:pt modelId="{A24CC252-AC31-49D8-84F2-D9F7FE3883FD}" type="pres">
      <dgm:prSet presAssocID="{D77D81E5-B48A-4DBD-9446-B80156196962}"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Playbook"/>
        </a:ext>
      </dgm:extLst>
    </dgm:pt>
    <dgm:pt modelId="{FD59D47B-2D1B-4063-AA0D-869CD9450E39}" type="pres">
      <dgm:prSet presAssocID="{D77D81E5-B48A-4DBD-9446-B80156196962}" presName="spaceRect" presStyleCnt="0"/>
      <dgm:spPr/>
    </dgm:pt>
    <dgm:pt modelId="{D97D987C-B916-432C-B51A-E326E841FCB8}" type="pres">
      <dgm:prSet presAssocID="{D77D81E5-B48A-4DBD-9446-B80156196962}" presName="parTx" presStyleLbl="revTx" presStyleIdx="0" presStyleCnt="4">
        <dgm:presLayoutVars>
          <dgm:chMax val="0"/>
          <dgm:chPref val="0"/>
        </dgm:presLayoutVars>
      </dgm:prSet>
      <dgm:spPr/>
    </dgm:pt>
    <dgm:pt modelId="{05BFA9D6-0B68-46BB-98CC-DE35DB3137CE}" type="pres">
      <dgm:prSet presAssocID="{E00E02BC-923F-454E-8FA4-2C6FE8F9F1C8}" presName="sibTrans" presStyleCnt="0"/>
      <dgm:spPr/>
    </dgm:pt>
    <dgm:pt modelId="{5A7AB5A6-8C64-4F46-BF8A-61E8649B2D04}" type="pres">
      <dgm:prSet presAssocID="{79579A71-B1C3-4EFF-9B2E-1DA0D0475609}" presName="compNode" presStyleCnt="0"/>
      <dgm:spPr/>
    </dgm:pt>
    <dgm:pt modelId="{2D4F5701-56BE-4F5B-890A-D10F73C816BB}" type="pres">
      <dgm:prSet presAssocID="{79579A71-B1C3-4EFF-9B2E-1DA0D0475609}" presName="bgRect" presStyleLbl="bgShp" presStyleIdx="1" presStyleCnt="4"/>
      <dgm:spPr/>
    </dgm:pt>
    <dgm:pt modelId="{1FE46D75-1900-4400-A462-90823CE86B88}" type="pres">
      <dgm:prSet presAssocID="{79579A71-B1C3-4EFF-9B2E-1DA0D0475609}"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Arrow Circle"/>
        </a:ext>
      </dgm:extLst>
    </dgm:pt>
    <dgm:pt modelId="{7D17D4B5-DAB5-4CD7-8AC3-52C088DFAE1E}" type="pres">
      <dgm:prSet presAssocID="{79579A71-B1C3-4EFF-9B2E-1DA0D0475609}" presName="spaceRect" presStyleCnt="0"/>
      <dgm:spPr/>
    </dgm:pt>
    <dgm:pt modelId="{2CFBC54E-F179-4F16-B67D-929FF3519BA4}" type="pres">
      <dgm:prSet presAssocID="{79579A71-B1C3-4EFF-9B2E-1DA0D0475609}" presName="parTx" presStyleLbl="revTx" presStyleIdx="1" presStyleCnt="4">
        <dgm:presLayoutVars>
          <dgm:chMax val="0"/>
          <dgm:chPref val="0"/>
        </dgm:presLayoutVars>
      </dgm:prSet>
      <dgm:spPr/>
    </dgm:pt>
    <dgm:pt modelId="{2F5C51DF-FE8B-414C-B974-F42385408367}" type="pres">
      <dgm:prSet presAssocID="{E80C0BCF-EF77-4E07-B6DB-80965C39BC6E}" presName="sibTrans" presStyleCnt="0"/>
      <dgm:spPr/>
    </dgm:pt>
    <dgm:pt modelId="{194CF241-3D6C-462F-AFA2-C3A99C48E841}" type="pres">
      <dgm:prSet presAssocID="{716EBA16-AA7D-4F5A-88A3-020B0B70A4DC}" presName="compNode" presStyleCnt="0"/>
      <dgm:spPr/>
    </dgm:pt>
    <dgm:pt modelId="{140C25AD-9614-48DE-9CEE-99B7E305B5FF}" type="pres">
      <dgm:prSet presAssocID="{716EBA16-AA7D-4F5A-88A3-020B0B70A4DC}" presName="bgRect" presStyleLbl="bgShp" presStyleIdx="2" presStyleCnt="4"/>
      <dgm:spPr/>
    </dgm:pt>
    <dgm:pt modelId="{533D09A6-B55E-41BB-89CF-31CA78EE91EB}" type="pres">
      <dgm:prSet presAssocID="{716EBA16-AA7D-4F5A-88A3-020B0B70A4DC}"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Head with Gears"/>
        </a:ext>
      </dgm:extLst>
    </dgm:pt>
    <dgm:pt modelId="{0F97A180-A286-4891-8170-50D5AB536C30}" type="pres">
      <dgm:prSet presAssocID="{716EBA16-AA7D-4F5A-88A3-020B0B70A4DC}" presName="spaceRect" presStyleCnt="0"/>
      <dgm:spPr/>
    </dgm:pt>
    <dgm:pt modelId="{7EB9A093-083E-4BB4-836B-B5C770FB414F}" type="pres">
      <dgm:prSet presAssocID="{716EBA16-AA7D-4F5A-88A3-020B0B70A4DC}" presName="parTx" presStyleLbl="revTx" presStyleIdx="2" presStyleCnt="4">
        <dgm:presLayoutVars>
          <dgm:chMax val="0"/>
          <dgm:chPref val="0"/>
        </dgm:presLayoutVars>
      </dgm:prSet>
      <dgm:spPr/>
    </dgm:pt>
    <dgm:pt modelId="{17DE04C3-BC95-4B6A-A3A1-9CCB5D4ABD22}" type="pres">
      <dgm:prSet presAssocID="{26523542-4C85-4494-8F0F-9770C9524703}" presName="sibTrans" presStyleCnt="0"/>
      <dgm:spPr/>
    </dgm:pt>
    <dgm:pt modelId="{3277A931-C56C-4F17-883C-B46F97B9EE39}" type="pres">
      <dgm:prSet presAssocID="{F1F48578-CCA4-489E-A415-A3BD549D68D1}" presName="compNode" presStyleCnt="0"/>
      <dgm:spPr/>
    </dgm:pt>
    <dgm:pt modelId="{296B4879-7911-4BA5-AF36-4467FBD1E100}" type="pres">
      <dgm:prSet presAssocID="{F1F48578-CCA4-489E-A415-A3BD549D68D1}" presName="bgRect" presStyleLbl="bgShp" presStyleIdx="3" presStyleCnt="4"/>
      <dgm:spPr/>
    </dgm:pt>
    <dgm:pt modelId="{07DAEB0F-94EB-45CA-8F3E-686C11B8AAFB}" type="pres">
      <dgm:prSet presAssocID="{F1F48578-CCA4-489E-A415-A3BD549D68D1}"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Clapper board"/>
        </a:ext>
      </dgm:extLst>
    </dgm:pt>
    <dgm:pt modelId="{7074D570-3A30-4A22-8C4D-EF1CC9367492}" type="pres">
      <dgm:prSet presAssocID="{F1F48578-CCA4-489E-A415-A3BD549D68D1}" presName="spaceRect" presStyleCnt="0"/>
      <dgm:spPr/>
    </dgm:pt>
    <dgm:pt modelId="{7634CD6C-49CC-4F91-96A8-3933876B1F0B}" type="pres">
      <dgm:prSet presAssocID="{F1F48578-CCA4-489E-A415-A3BD549D68D1}" presName="parTx" presStyleLbl="revTx" presStyleIdx="3" presStyleCnt="4">
        <dgm:presLayoutVars>
          <dgm:chMax val="0"/>
          <dgm:chPref val="0"/>
        </dgm:presLayoutVars>
      </dgm:prSet>
      <dgm:spPr/>
    </dgm:pt>
  </dgm:ptLst>
  <dgm:cxnLst>
    <dgm:cxn modelId="{74DF980F-6563-43B2-971B-E48F59567447}" srcId="{A3EBA3F4-9761-471A-9CE1-305FA19DF2A5}" destId="{79579A71-B1C3-4EFF-9B2E-1DA0D0475609}" srcOrd="1" destOrd="0" parTransId="{507BD973-7F57-46DE-9F7D-A0BFBF67BB7F}" sibTransId="{E80C0BCF-EF77-4E07-B6DB-80965C39BC6E}"/>
    <dgm:cxn modelId="{8D0C9D16-1F50-4228-9570-A4CFD9B7254A}" srcId="{A3EBA3F4-9761-471A-9CE1-305FA19DF2A5}" destId="{716EBA16-AA7D-4F5A-88A3-020B0B70A4DC}" srcOrd="2" destOrd="0" parTransId="{C7161414-2984-4478-BE26-79408A2FEF60}" sibTransId="{26523542-4C85-4494-8F0F-9770C9524703}"/>
    <dgm:cxn modelId="{1044212D-FB70-49E1-A7AD-BD8A3D074D0C}" srcId="{A3EBA3F4-9761-471A-9CE1-305FA19DF2A5}" destId="{F1F48578-CCA4-489E-A415-A3BD549D68D1}" srcOrd="3" destOrd="0" parTransId="{CBA84C73-9BA1-4B73-A8D2-C9BCF17E027F}" sibTransId="{995D952F-DDBB-472A-971F-AA1DF4BFDF66}"/>
    <dgm:cxn modelId="{DA0CCD36-98BF-4D39-940F-173A3AAFCBE5}" type="presOf" srcId="{A3EBA3F4-9761-471A-9CE1-305FA19DF2A5}" destId="{1843A95B-6414-4CE2-A465-967AD82EF0DB}" srcOrd="0" destOrd="0" presId="urn:microsoft.com/office/officeart/2018/2/layout/IconVerticalSolidList"/>
    <dgm:cxn modelId="{DCC03A98-9179-4B9C-9E29-EB63EFB3EADD}" type="presOf" srcId="{79579A71-B1C3-4EFF-9B2E-1DA0D0475609}" destId="{2CFBC54E-F179-4F16-B67D-929FF3519BA4}" srcOrd="0" destOrd="0" presId="urn:microsoft.com/office/officeart/2018/2/layout/IconVerticalSolidList"/>
    <dgm:cxn modelId="{8C5258A4-7429-4211-9474-7F371BD93B42}" type="presOf" srcId="{F1F48578-CCA4-489E-A415-A3BD549D68D1}" destId="{7634CD6C-49CC-4F91-96A8-3933876B1F0B}" srcOrd="0" destOrd="0" presId="urn:microsoft.com/office/officeart/2018/2/layout/IconVerticalSolidList"/>
    <dgm:cxn modelId="{8E7243C7-93B8-4E9A-8773-B78CC6614AB2}" srcId="{A3EBA3F4-9761-471A-9CE1-305FA19DF2A5}" destId="{D77D81E5-B48A-4DBD-9446-B80156196962}" srcOrd="0" destOrd="0" parTransId="{28CC1CE3-4A08-4772-94A8-5984C53C97B3}" sibTransId="{E00E02BC-923F-454E-8FA4-2C6FE8F9F1C8}"/>
    <dgm:cxn modelId="{EED249D0-EF7F-48EF-8B7C-ABABB380E9D3}" type="presOf" srcId="{716EBA16-AA7D-4F5A-88A3-020B0B70A4DC}" destId="{7EB9A093-083E-4BB4-836B-B5C770FB414F}" srcOrd="0" destOrd="0" presId="urn:microsoft.com/office/officeart/2018/2/layout/IconVerticalSolidList"/>
    <dgm:cxn modelId="{EE6D1DED-EE6F-41FB-B4AA-EE4F840D3822}" type="presOf" srcId="{D77D81E5-B48A-4DBD-9446-B80156196962}" destId="{D97D987C-B916-432C-B51A-E326E841FCB8}" srcOrd="0" destOrd="0" presId="urn:microsoft.com/office/officeart/2018/2/layout/IconVerticalSolidList"/>
    <dgm:cxn modelId="{630E97BD-D2BB-4758-93B2-13C42939C9B6}" type="presParOf" srcId="{1843A95B-6414-4CE2-A465-967AD82EF0DB}" destId="{A328656D-50FF-4431-8277-03C6E14D9DD2}" srcOrd="0" destOrd="0" presId="urn:microsoft.com/office/officeart/2018/2/layout/IconVerticalSolidList"/>
    <dgm:cxn modelId="{9CF84FDB-2033-4A2F-818E-641F232396C2}" type="presParOf" srcId="{A328656D-50FF-4431-8277-03C6E14D9DD2}" destId="{E1157126-208A-46E3-A62A-E22F5DBD18A7}" srcOrd="0" destOrd="0" presId="urn:microsoft.com/office/officeart/2018/2/layout/IconVerticalSolidList"/>
    <dgm:cxn modelId="{8A03A4EE-A8AE-4D6B-AC45-B40ED4977C13}" type="presParOf" srcId="{A328656D-50FF-4431-8277-03C6E14D9DD2}" destId="{A24CC252-AC31-49D8-84F2-D9F7FE3883FD}" srcOrd="1" destOrd="0" presId="urn:microsoft.com/office/officeart/2018/2/layout/IconVerticalSolidList"/>
    <dgm:cxn modelId="{A6D80FA1-90E2-4771-B783-071C5801FA00}" type="presParOf" srcId="{A328656D-50FF-4431-8277-03C6E14D9DD2}" destId="{FD59D47B-2D1B-4063-AA0D-869CD9450E39}" srcOrd="2" destOrd="0" presId="urn:microsoft.com/office/officeart/2018/2/layout/IconVerticalSolidList"/>
    <dgm:cxn modelId="{340B3E6E-E401-4FA0-83DE-73D0B24B2EAE}" type="presParOf" srcId="{A328656D-50FF-4431-8277-03C6E14D9DD2}" destId="{D97D987C-B916-432C-B51A-E326E841FCB8}" srcOrd="3" destOrd="0" presId="urn:microsoft.com/office/officeart/2018/2/layout/IconVerticalSolidList"/>
    <dgm:cxn modelId="{6C652C05-5AEE-4725-AC28-FB9B70D05AD3}" type="presParOf" srcId="{1843A95B-6414-4CE2-A465-967AD82EF0DB}" destId="{05BFA9D6-0B68-46BB-98CC-DE35DB3137CE}" srcOrd="1" destOrd="0" presId="urn:microsoft.com/office/officeart/2018/2/layout/IconVerticalSolidList"/>
    <dgm:cxn modelId="{982086A2-DE5C-4E1D-892B-025C22BC277C}" type="presParOf" srcId="{1843A95B-6414-4CE2-A465-967AD82EF0DB}" destId="{5A7AB5A6-8C64-4F46-BF8A-61E8649B2D04}" srcOrd="2" destOrd="0" presId="urn:microsoft.com/office/officeart/2018/2/layout/IconVerticalSolidList"/>
    <dgm:cxn modelId="{F2D4781A-1F3A-445A-B734-9AD2267D4666}" type="presParOf" srcId="{5A7AB5A6-8C64-4F46-BF8A-61E8649B2D04}" destId="{2D4F5701-56BE-4F5B-890A-D10F73C816BB}" srcOrd="0" destOrd="0" presId="urn:microsoft.com/office/officeart/2018/2/layout/IconVerticalSolidList"/>
    <dgm:cxn modelId="{BD31F857-5EEE-4A04-AC71-C0E713E7DCC9}" type="presParOf" srcId="{5A7AB5A6-8C64-4F46-BF8A-61E8649B2D04}" destId="{1FE46D75-1900-4400-A462-90823CE86B88}" srcOrd="1" destOrd="0" presId="urn:microsoft.com/office/officeart/2018/2/layout/IconVerticalSolidList"/>
    <dgm:cxn modelId="{C7964D09-F95E-475C-ABCD-23A296CBBE1B}" type="presParOf" srcId="{5A7AB5A6-8C64-4F46-BF8A-61E8649B2D04}" destId="{7D17D4B5-DAB5-4CD7-8AC3-52C088DFAE1E}" srcOrd="2" destOrd="0" presId="urn:microsoft.com/office/officeart/2018/2/layout/IconVerticalSolidList"/>
    <dgm:cxn modelId="{AF22243A-9485-4E8C-920B-8123B14D696F}" type="presParOf" srcId="{5A7AB5A6-8C64-4F46-BF8A-61E8649B2D04}" destId="{2CFBC54E-F179-4F16-B67D-929FF3519BA4}" srcOrd="3" destOrd="0" presId="urn:microsoft.com/office/officeart/2018/2/layout/IconVerticalSolidList"/>
    <dgm:cxn modelId="{890A6D5C-682F-4D9D-99A8-706360CD5814}" type="presParOf" srcId="{1843A95B-6414-4CE2-A465-967AD82EF0DB}" destId="{2F5C51DF-FE8B-414C-B974-F42385408367}" srcOrd="3" destOrd="0" presId="urn:microsoft.com/office/officeart/2018/2/layout/IconVerticalSolidList"/>
    <dgm:cxn modelId="{D1B70572-CF3B-4859-8137-FB1F153B8AE8}" type="presParOf" srcId="{1843A95B-6414-4CE2-A465-967AD82EF0DB}" destId="{194CF241-3D6C-462F-AFA2-C3A99C48E841}" srcOrd="4" destOrd="0" presId="urn:microsoft.com/office/officeart/2018/2/layout/IconVerticalSolidList"/>
    <dgm:cxn modelId="{AE6B0BEC-A629-4173-98A5-0A129436FBCE}" type="presParOf" srcId="{194CF241-3D6C-462F-AFA2-C3A99C48E841}" destId="{140C25AD-9614-48DE-9CEE-99B7E305B5FF}" srcOrd="0" destOrd="0" presId="urn:microsoft.com/office/officeart/2018/2/layout/IconVerticalSolidList"/>
    <dgm:cxn modelId="{0B5CA58D-A67F-4C11-88ED-8580A11F5CAE}" type="presParOf" srcId="{194CF241-3D6C-462F-AFA2-C3A99C48E841}" destId="{533D09A6-B55E-41BB-89CF-31CA78EE91EB}" srcOrd="1" destOrd="0" presId="urn:microsoft.com/office/officeart/2018/2/layout/IconVerticalSolidList"/>
    <dgm:cxn modelId="{88BE5CC2-91A8-420A-A728-DB649BB34587}" type="presParOf" srcId="{194CF241-3D6C-462F-AFA2-C3A99C48E841}" destId="{0F97A180-A286-4891-8170-50D5AB536C30}" srcOrd="2" destOrd="0" presId="urn:microsoft.com/office/officeart/2018/2/layout/IconVerticalSolidList"/>
    <dgm:cxn modelId="{44F4B4BE-86A6-4230-9505-46A0F4A4DD42}" type="presParOf" srcId="{194CF241-3D6C-462F-AFA2-C3A99C48E841}" destId="{7EB9A093-083E-4BB4-836B-B5C770FB414F}" srcOrd="3" destOrd="0" presId="urn:microsoft.com/office/officeart/2018/2/layout/IconVerticalSolidList"/>
    <dgm:cxn modelId="{AB320176-C724-4FF1-9AF6-81A4B040BF0C}" type="presParOf" srcId="{1843A95B-6414-4CE2-A465-967AD82EF0DB}" destId="{17DE04C3-BC95-4B6A-A3A1-9CCB5D4ABD22}" srcOrd="5" destOrd="0" presId="urn:microsoft.com/office/officeart/2018/2/layout/IconVerticalSolidList"/>
    <dgm:cxn modelId="{B0C38D6D-D718-420A-A49C-C9CD59861902}" type="presParOf" srcId="{1843A95B-6414-4CE2-A465-967AD82EF0DB}" destId="{3277A931-C56C-4F17-883C-B46F97B9EE39}" srcOrd="6" destOrd="0" presId="urn:microsoft.com/office/officeart/2018/2/layout/IconVerticalSolidList"/>
    <dgm:cxn modelId="{0D02E4F2-607B-423A-B0B1-4844A9187852}" type="presParOf" srcId="{3277A931-C56C-4F17-883C-B46F97B9EE39}" destId="{296B4879-7911-4BA5-AF36-4467FBD1E100}" srcOrd="0" destOrd="0" presId="urn:microsoft.com/office/officeart/2018/2/layout/IconVerticalSolidList"/>
    <dgm:cxn modelId="{40147528-1E66-477B-98C2-84C6CB730404}" type="presParOf" srcId="{3277A931-C56C-4F17-883C-B46F97B9EE39}" destId="{07DAEB0F-94EB-45CA-8F3E-686C11B8AAFB}" srcOrd="1" destOrd="0" presId="urn:microsoft.com/office/officeart/2018/2/layout/IconVerticalSolidList"/>
    <dgm:cxn modelId="{EDB8F306-6A6F-49AE-A333-8B01C4CE5261}" type="presParOf" srcId="{3277A931-C56C-4F17-883C-B46F97B9EE39}" destId="{7074D570-3A30-4A22-8C4D-EF1CC9367492}" srcOrd="2" destOrd="0" presId="urn:microsoft.com/office/officeart/2018/2/layout/IconVerticalSolidList"/>
    <dgm:cxn modelId="{69F8F6B7-C997-4E97-93B7-256C285FF9BC}" type="presParOf" srcId="{3277A931-C56C-4F17-883C-B46F97B9EE39}" destId="{7634CD6C-49CC-4F91-96A8-3933876B1F0B}"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7D14FBD-456B-42DA-940C-AD93B35E5203}">
      <dsp:nvSpPr>
        <dsp:cNvPr id="0" name=""/>
        <dsp:cNvSpPr/>
      </dsp:nvSpPr>
      <dsp:spPr>
        <a:xfrm>
          <a:off x="0" y="3859"/>
          <a:ext cx="11430000" cy="822096"/>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4344199-315B-45B4-A5FC-8DB7A57E8949}">
      <dsp:nvSpPr>
        <dsp:cNvPr id="0" name=""/>
        <dsp:cNvSpPr/>
      </dsp:nvSpPr>
      <dsp:spPr>
        <a:xfrm>
          <a:off x="248684" y="188831"/>
          <a:ext cx="452153" cy="452153"/>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BF566DD1-4A25-465E-9F5C-7D08B622E098}">
      <dsp:nvSpPr>
        <dsp:cNvPr id="0" name=""/>
        <dsp:cNvSpPr/>
      </dsp:nvSpPr>
      <dsp:spPr>
        <a:xfrm>
          <a:off x="949521" y="3859"/>
          <a:ext cx="10480478" cy="8220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7005" tIns="87005" rIns="87005" bIns="87005" numCol="1" spcCol="1270" anchor="ctr" anchorCtr="0">
          <a:noAutofit/>
        </a:bodyPr>
        <a:lstStyle/>
        <a:p>
          <a:pPr marL="0" lvl="0" indent="0" algn="l" defTabSz="711200">
            <a:lnSpc>
              <a:spcPct val="90000"/>
            </a:lnSpc>
            <a:spcBef>
              <a:spcPct val="0"/>
            </a:spcBef>
            <a:spcAft>
              <a:spcPct val="35000"/>
            </a:spcAft>
            <a:buNone/>
          </a:pPr>
          <a:r>
            <a:rPr lang="en-US" sz="1600" b="1" i="0" kern="1200"/>
            <a:t>Agentic refers to the ability to “act” or “perform actions.”</a:t>
          </a:r>
          <a:endParaRPr lang="en-US" sz="1600" kern="1200"/>
        </a:p>
      </dsp:txBody>
      <dsp:txXfrm>
        <a:off x="949521" y="3859"/>
        <a:ext cx="10480478" cy="822096"/>
      </dsp:txXfrm>
    </dsp:sp>
    <dsp:sp modelId="{B3C458E6-D23D-493A-A6DC-8D773EBF8177}">
      <dsp:nvSpPr>
        <dsp:cNvPr id="0" name=""/>
        <dsp:cNvSpPr/>
      </dsp:nvSpPr>
      <dsp:spPr>
        <a:xfrm>
          <a:off x="0" y="1031480"/>
          <a:ext cx="11430000" cy="822096"/>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A33C2C6-4226-4029-9D18-E336CD04FD06}">
      <dsp:nvSpPr>
        <dsp:cNvPr id="0" name=""/>
        <dsp:cNvSpPr/>
      </dsp:nvSpPr>
      <dsp:spPr>
        <a:xfrm>
          <a:off x="248684" y="1216452"/>
          <a:ext cx="452153" cy="452153"/>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74469BDB-3DDB-4BBB-ADDB-B5DAD1473EF2}">
      <dsp:nvSpPr>
        <dsp:cNvPr id="0" name=""/>
        <dsp:cNvSpPr/>
      </dsp:nvSpPr>
      <dsp:spPr>
        <a:xfrm>
          <a:off x="949521" y="1031480"/>
          <a:ext cx="10480478" cy="8220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7005" tIns="87005" rIns="87005" bIns="87005" numCol="1" spcCol="1270" anchor="ctr" anchorCtr="0">
          <a:noAutofit/>
        </a:bodyPr>
        <a:lstStyle/>
        <a:p>
          <a:pPr marL="0" lvl="0" indent="0" algn="l" defTabSz="711200">
            <a:lnSpc>
              <a:spcPct val="90000"/>
            </a:lnSpc>
            <a:spcBef>
              <a:spcPct val="0"/>
            </a:spcBef>
            <a:spcAft>
              <a:spcPct val="35000"/>
            </a:spcAft>
            <a:buNone/>
          </a:pPr>
          <a:r>
            <a:rPr lang="en-US" sz="1600" b="1" i="0" kern="1200"/>
            <a:t>Generative AI primarily functions by responding to inquiries or producing outputs.</a:t>
          </a:r>
          <a:endParaRPr lang="en-US" sz="1600" kern="1200"/>
        </a:p>
      </dsp:txBody>
      <dsp:txXfrm>
        <a:off x="949521" y="1031480"/>
        <a:ext cx="10480478" cy="822096"/>
      </dsp:txXfrm>
    </dsp:sp>
    <dsp:sp modelId="{93797FE2-D52E-40F3-B080-ABE291683298}">
      <dsp:nvSpPr>
        <dsp:cNvPr id="0" name=""/>
        <dsp:cNvSpPr/>
      </dsp:nvSpPr>
      <dsp:spPr>
        <a:xfrm>
          <a:off x="0" y="2059101"/>
          <a:ext cx="11430000" cy="822096"/>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F3477F2-A2BB-4B62-BE35-99AA5AA19A44}">
      <dsp:nvSpPr>
        <dsp:cNvPr id="0" name=""/>
        <dsp:cNvSpPr/>
      </dsp:nvSpPr>
      <dsp:spPr>
        <a:xfrm>
          <a:off x="248684" y="2244073"/>
          <a:ext cx="452153" cy="452153"/>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24B7421F-A7C0-4400-B7FE-8F9E790EEF6B}">
      <dsp:nvSpPr>
        <dsp:cNvPr id="0" name=""/>
        <dsp:cNvSpPr/>
      </dsp:nvSpPr>
      <dsp:spPr>
        <a:xfrm>
          <a:off x="949521" y="2059101"/>
          <a:ext cx="10480478" cy="8220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7005" tIns="87005" rIns="87005" bIns="87005" numCol="1" spcCol="1270" anchor="ctr" anchorCtr="0">
          <a:noAutofit/>
        </a:bodyPr>
        <a:lstStyle/>
        <a:p>
          <a:pPr marL="0" lvl="0" indent="0" algn="l" defTabSz="711200">
            <a:lnSpc>
              <a:spcPct val="90000"/>
            </a:lnSpc>
            <a:spcBef>
              <a:spcPct val="0"/>
            </a:spcBef>
            <a:spcAft>
              <a:spcPct val="35000"/>
            </a:spcAft>
            <a:buNone/>
          </a:pPr>
          <a:r>
            <a:rPr lang="en-US" sz="1600" b="1" i="0" kern="1200"/>
            <a:t>We anticipate that agentic systems will operate autonomously towards specified goals and workflows, seeking human input when necessary.</a:t>
          </a:r>
          <a:endParaRPr lang="en-US" sz="1600" kern="1200"/>
        </a:p>
      </dsp:txBody>
      <dsp:txXfrm>
        <a:off x="949521" y="2059101"/>
        <a:ext cx="10480478" cy="822096"/>
      </dsp:txXfrm>
    </dsp:sp>
    <dsp:sp modelId="{01A8D9F9-9D36-4E38-B97A-476526A22AFD}">
      <dsp:nvSpPr>
        <dsp:cNvPr id="0" name=""/>
        <dsp:cNvSpPr/>
      </dsp:nvSpPr>
      <dsp:spPr>
        <a:xfrm>
          <a:off x="0" y="3086722"/>
          <a:ext cx="11430000" cy="822096"/>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7F9248E-CFFC-4A33-A812-5CDF57F0C827}">
      <dsp:nvSpPr>
        <dsp:cNvPr id="0" name=""/>
        <dsp:cNvSpPr/>
      </dsp:nvSpPr>
      <dsp:spPr>
        <a:xfrm>
          <a:off x="248684" y="3271694"/>
          <a:ext cx="452153" cy="452153"/>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DDCFCCF2-8B84-4882-BBBE-6DDC376E93F2}">
      <dsp:nvSpPr>
        <dsp:cNvPr id="0" name=""/>
        <dsp:cNvSpPr/>
      </dsp:nvSpPr>
      <dsp:spPr>
        <a:xfrm>
          <a:off x="949521" y="3086722"/>
          <a:ext cx="10480478" cy="8220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7005" tIns="87005" rIns="87005" bIns="87005" numCol="1" spcCol="1270" anchor="ctr" anchorCtr="0">
          <a:noAutofit/>
        </a:bodyPr>
        <a:lstStyle/>
        <a:p>
          <a:pPr marL="0" lvl="0" indent="0" algn="l" defTabSz="711200">
            <a:lnSpc>
              <a:spcPct val="90000"/>
            </a:lnSpc>
            <a:spcBef>
              <a:spcPct val="0"/>
            </a:spcBef>
            <a:spcAft>
              <a:spcPct val="35000"/>
            </a:spcAft>
            <a:buNone/>
          </a:pPr>
          <a:r>
            <a:rPr lang="en-US" sz="1600" b="1" i="0" kern="1200"/>
            <a:t>Agentic AI should be capable of establishing objectives, outlining plans, taking initiative, sustaining ongoing goals, and adjusting strategies based on real-world feedback.</a:t>
          </a:r>
          <a:endParaRPr lang="en-US" sz="1600" kern="1200"/>
        </a:p>
      </dsp:txBody>
      <dsp:txXfrm>
        <a:off x="949521" y="3086722"/>
        <a:ext cx="10480478" cy="822096"/>
      </dsp:txXfrm>
    </dsp:sp>
    <dsp:sp modelId="{672B9CA5-6A90-48C0-AE2E-B55CD3C12762}">
      <dsp:nvSpPr>
        <dsp:cNvPr id="0" name=""/>
        <dsp:cNvSpPr/>
      </dsp:nvSpPr>
      <dsp:spPr>
        <a:xfrm>
          <a:off x="0" y="4114343"/>
          <a:ext cx="11430000" cy="822096"/>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56AF567-FF97-4E2E-B5DF-59FD950EB8F9}">
      <dsp:nvSpPr>
        <dsp:cNvPr id="0" name=""/>
        <dsp:cNvSpPr/>
      </dsp:nvSpPr>
      <dsp:spPr>
        <a:xfrm>
          <a:off x="248684" y="4299315"/>
          <a:ext cx="452153" cy="452153"/>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4548B2EE-0EA9-4570-A7BD-04D55491B90C}">
      <dsp:nvSpPr>
        <dsp:cNvPr id="0" name=""/>
        <dsp:cNvSpPr/>
      </dsp:nvSpPr>
      <dsp:spPr>
        <a:xfrm>
          <a:off x="949521" y="4114343"/>
          <a:ext cx="10480478" cy="8220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7005" tIns="87005" rIns="87005" bIns="87005" numCol="1" spcCol="1270" anchor="ctr" anchorCtr="0">
          <a:noAutofit/>
        </a:bodyPr>
        <a:lstStyle/>
        <a:p>
          <a:pPr marL="0" lvl="0" indent="0" algn="l" defTabSz="711200">
            <a:lnSpc>
              <a:spcPct val="90000"/>
            </a:lnSpc>
            <a:spcBef>
              <a:spcPct val="0"/>
            </a:spcBef>
            <a:spcAft>
              <a:spcPct val="35000"/>
            </a:spcAft>
            <a:buNone/>
          </a:pPr>
          <a:r>
            <a:rPr lang="en-US" sz="1600" b="1" i="0" kern="1200"/>
            <a:t>These systems ought to be designed with inherent intelligence, enabling them to take action, engage with applications, manipulate data, manage systems, and utilize insights and memories throughout the goal completion process.</a:t>
          </a:r>
          <a:endParaRPr lang="en-US" sz="1600" kern="1200"/>
        </a:p>
      </dsp:txBody>
      <dsp:txXfrm>
        <a:off x="949521" y="4114343"/>
        <a:ext cx="10480478" cy="82209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1157126-208A-46E3-A62A-E22F5DBD18A7}">
      <dsp:nvSpPr>
        <dsp:cNvPr id="0" name=""/>
        <dsp:cNvSpPr/>
      </dsp:nvSpPr>
      <dsp:spPr>
        <a:xfrm>
          <a:off x="0" y="2050"/>
          <a:ext cx="11430000" cy="1039199"/>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24CC252-AC31-49D8-84F2-D9F7FE3883FD}">
      <dsp:nvSpPr>
        <dsp:cNvPr id="0" name=""/>
        <dsp:cNvSpPr/>
      </dsp:nvSpPr>
      <dsp:spPr>
        <a:xfrm>
          <a:off x="314357" y="235870"/>
          <a:ext cx="571559" cy="571559"/>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D97D987C-B916-432C-B51A-E326E841FCB8}">
      <dsp:nvSpPr>
        <dsp:cNvPr id="0" name=""/>
        <dsp:cNvSpPr/>
      </dsp:nvSpPr>
      <dsp:spPr>
        <a:xfrm>
          <a:off x="1200275" y="2050"/>
          <a:ext cx="10229724" cy="10391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9982" tIns="109982" rIns="109982" bIns="109982" numCol="1" spcCol="1270" anchor="ctr" anchorCtr="0">
          <a:noAutofit/>
        </a:bodyPr>
        <a:lstStyle/>
        <a:p>
          <a:pPr marL="0" lvl="0" indent="0" algn="l" defTabSz="889000">
            <a:lnSpc>
              <a:spcPct val="90000"/>
            </a:lnSpc>
            <a:spcBef>
              <a:spcPct val="0"/>
            </a:spcBef>
            <a:spcAft>
              <a:spcPct val="35000"/>
            </a:spcAft>
            <a:buNone/>
          </a:pPr>
          <a:r>
            <a:rPr lang="en-US" sz="2000" b="0" i="0" kern="1200"/>
            <a:t>We will discover how to enable Agents with tools, what context, and what action space they can operate in.</a:t>
          </a:r>
          <a:br>
            <a:rPr lang="en-US" sz="2000" b="0" i="0" kern="1200"/>
          </a:br>
          <a:endParaRPr lang="en-US" sz="2000" kern="1200"/>
        </a:p>
      </dsp:txBody>
      <dsp:txXfrm>
        <a:off x="1200275" y="2050"/>
        <a:ext cx="10229724" cy="1039199"/>
      </dsp:txXfrm>
    </dsp:sp>
    <dsp:sp modelId="{2D4F5701-56BE-4F5B-890A-D10F73C816BB}">
      <dsp:nvSpPr>
        <dsp:cNvPr id="0" name=""/>
        <dsp:cNvSpPr/>
      </dsp:nvSpPr>
      <dsp:spPr>
        <a:xfrm>
          <a:off x="0" y="1301050"/>
          <a:ext cx="11430000" cy="1039199"/>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FE46D75-1900-4400-A462-90823CE86B88}">
      <dsp:nvSpPr>
        <dsp:cNvPr id="0" name=""/>
        <dsp:cNvSpPr/>
      </dsp:nvSpPr>
      <dsp:spPr>
        <a:xfrm>
          <a:off x="314357" y="1534870"/>
          <a:ext cx="571559" cy="571559"/>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2CFBC54E-F179-4F16-B67D-929FF3519BA4}">
      <dsp:nvSpPr>
        <dsp:cNvPr id="0" name=""/>
        <dsp:cNvSpPr/>
      </dsp:nvSpPr>
      <dsp:spPr>
        <a:xfrm>
          <a:off x="1200275" y="1301050"/>
          <a:ext cx="10229724" cy="10391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9982" tIns="109982" rIns="109982" bIns="109982" numCol="1" spcCol="1270" anchor="ctr" anchorCtr="0">
          <a:noAutofit/>
        </a:bodyPr>
        <a:lstStyle/>
        <a:p>
          <a:pPr marL="0" lvl="0" indent="0" algn="l" defTabSz="889000">
            <a:lnSpc>
              <a:spcPct val="90000"/>
            </a:lnSpc>
            <a:spcBef>
              <a:spcPct val="0"/>
            </a:spcBef>
            <a:spcAft>
              <a:spcPct val="35000"/>
            </a:spcAft>
            <a:buNone/>
          </a:pPr>
          <a:r>
            <a:rPr lang="en-US" sz="2000" b="0" i="0" kern="1200"/>
            <a:t>Actions will include task-oriented completion, exploration, communication and more.</a:t>
          </a:r>
          <a:br>
            <a:rPr lang="en-US" sz="2000" b="0" i="0" kern="1200"/>
          </a:br>
          <a:endParaRPr lang="en-US" sz="2000" kern="1200"/>
        </a:p>
      </dsp:txBody>
      <dsp:txXfrm>
        <a:off x="1200275" y="1301050"/>
        <a:ext cx="10229724" cy="1039199"/>
      </dsp:txXfrm>
    </dsp:sp>
    <dsp:sp modelId="{140C25AD-9614-48DE-9CEE-99B7E305B5FF}">
      <dsp:nvSpPr>
        <dsp:cNvPr id="0" name=""/>
        <dsp:cNvSpPr/>
      </dsp:nvSpPr>
      <dsp:spPr>
        <a:xfrm>
          <a:off x="0" y="2600049"/>
          <a:ext cx="11430000" cy="1039199"/>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33D09A6-B55E-41BB-89CF-31CA78EE91EB}">
      <dsp:nvSpPr>
        <dsp:cNvPr id="0" name=""/>
        <dsp:cNvSpPr/>
      </dsp:nvSpPr>
      <dsp:spPr>
        <a:xfrm>
          <a:off x="314357" y="2833869"/>
          <a:ext cx="571559" cy="571559"/>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7EB9A093-083E-4BB4-836B-B5C770FB414F}">
      <dsp:nvSpPr>
        <dsp:cNvPr id="0" name=""/>
        <dsp:cNvSpPr/>
      </dsp:nvSpPr>
      <dsp:spPr>
        <a:xfrm>
          <a:off x="1200275" y="2600049"/>
          <a:ext cx="10229724" cy="10391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9982" tIns="109982" rIns="109982" bIns="109982" numCol="1" spcCol="1270" anchor="ctr" anchorCtr="0">
          <a:noAutofit/>
        </a:bodyPr>
        <a:lstStyle/>
        <a:p>
          <a:pPr marL="0" lvl="0" indent="0" algn="l" defTabSz="889000">
            <a:lnSpc>
              <a:spcPct val="90000"/>
            </a:lnSpc>
            <a:spcBef>
              <a:spcPct val="0"/>
            </a:spcBef>
            <a:spcAft>
              <a:spcPct val="35000"/>
            </a:spcAft>
            <a:buNone/>
          </a:pPr>
          <a:r>
            <a:rPr lang="en-US" sz="2000" b="0" i="0" kern="1200"/>
            <a:t>Agent’s action space can include predefined actions, environment driven actions and memory or internalized hypothetical actions.</a:t>
          </a:r>
          <a:br>
            <a:rPr lang="en-US" sz="2000" b="0" i="0" kern="1200"/>
          </a:br>
          <a:endParaRPr lang="en-US" sz="2000" kern="1200"/>
        </a:p>
      </dsp:txBody>
      <dsp:txXfrm>
        <a:off x="1200275" y="2600049"/>
        <a:ext cx="10229724" cy="1039199"/>
      </dsp:txXfrm>
    </dsp:sp>
    <dsp:sp modelId="{296B4879-7911-4BA5-AF36-4467FBD1E100}">
      <dsp:nvSpPr>
        <dsp:cNvPr id="0" name=""/>
        <dsp:cNvSpPr/>
      </dsp:nvSpPr>
      <dsp:spPr>
        <a:xfrm>
          <a:off x="0" y="3899049"/>
          <a:ext cx="11430000" cy="1039199"/>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7DAEB0F-94EB-45CA-8F3E-686C11B8AAFB}">
      <dsp:nvSpPr>
        <dsp:cNvPr id="0" name=""/>
        <dsp:cNvSpPr/>
      </dsp:nvSpPr>
      <dsp:spPr>
        <a:xfrm>
          <a:off x="314357" y="4132869"/>
          <a:ext cx="571559" cy="571559"/>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7634CD6C-49CC-4F91-96A8-3933876B1F0B}">
      <dsp:nvSpPr>
        <dsp:cNvPr id="0" name=""/>
        <dsp:cNvSpPr/>
      </dsp:nvSpPr>
      <dsp:spPr>
        <a:xfrm>
          <a:off x="1200275" y="3899049"/>
          <a:ext cx="10229724" cy="10391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9982" tIns="109982" rIns="109982" bIns="109982" numCol="1" spcCol="1270" anchor="ctr" anchorCtr="0">
          <a:noAutofit/>
        </a:bodyPr>
        <a:lstStyle/>
        <a:p>
          <a:pPr marL="0" lvl="0" indent="0" algn="l" defTabSz="889000">
            <a:lnSpc>
              <a:spcPct val="90000"/>
            </a:lnSpc>
            <a:spcBef>
              <a:spcPct val="0"/>
            </a:spcBef>
            <a:spcAft>
              <a:spcPct val="35000"/>
            </a:spcAft>
            <a:buNone/>
          </a:pPr>
          <a:r>
            <a:rPr lang="en-US" sz="2000" b="0" i="0" kern="1200"/>
            <a:t>We will determine how to define the Action Target, Action Space, Action Impact, and generate new sets of actions.</a:t>
          </a:r>
          <a:endParaRPr lang="en-US" sz="2000" kern="1200"/>
        </a:p>
      </dsp:txBody>
      <dsp:txXfrm>
        <a:off x="1200275" y="3899049"/>
        <a:ext cx="10229724" cy="1039199"/>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2.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4781438-BF19-40B7-A12E-A8C31B3AA5C4}" type="datetimeFigureOut">
              <a:rPr lang="en-US" smtClean="0"/>
              <a:t>8/21/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7FC15C8-BC6B-46ED-B764-1FB719B6FAF4}" type="slidenum">
              <a:rPr lang="en-US" smtClean="0"/>
              <a:t>‹#›</a:t>
            </a:fld>
            <a:endParaRPr lang="en-US"/>
          </a:p>
        </p:txBody>
      </p:sp>
    </p:spTree>
    <p:extLst>
      <p:ext uri="{BB962C8B-B14F-4D97-AF65-F5344CB8AC3E}">
        <p14:creationId xmlns:p14="http://schemas.microsoft.com/office/powerpoint/2010/main" val="176827668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E75069-5E84-3C9D-640C-858434E000E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9217ABE-2B6F-F70D-2C0E-DDDEFBA5E661}"/>
              </a:ext>
            </a:extLst>
          </p:cNvPr>
          <p:cNvSpPr>
            <a:spLocks noGrp="1" noRot="1" noChangeAspect="1"/>
          </p:cNvSpPr>
          <p:nvPr>
            <p:ph type="sldImg"/>
          </p:nvPr>
        </p:nvSpPr>
        <p:spPr>
          <a:xfrm>
            <a:off x="762000" y="647700"/>
            <a:ext cx="5627688" cy="3167063"/>
          </a:xfrm>
        </p:spPr>
      </p:sp>
      <p:sp>
        <p:nvSpPr>
          <p:cNvPr id="3" name="Notes Placeholder 2">
            <a:extLst>
              <a:ext uri="{FF2B5EF4-FFF2-40B4-BE49-F238E27FC236}">
                <a16:creationId xmlns:a16="http://schemas.microsoft.com/office/drawing/2014/main" id="{2BB71247-FCA6-2771-3F9D-6BF6BD9966B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5CDBEA0-26FF-0AB6-2AC2-6BFCBC57C6C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730616-56B8-4CC7-B197-4FF2A42EF70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69743937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3EBA46-29B3-C1DE-6888-CA242762FE7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FB13F5B-2D2D-329E-9E3F-5C10F202699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62E135C-DF81-AE19-AB2A-F4C38C4F580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0B9F8F3-65C1-2DEE-726A-6CB7DDCB8A2E}"/>
              </a:ext>
            </a:extLst>
          </p:cNvPr>
          <p:cNvSpPr>
            <a:spLocks noGrp="1"/>
          </p:cNvSpPr>
          <p:nvPr>
            <p:ph type="sldNum" sz="quarter" idx="5"/>
          </p:nvPr>
        </p:nvSpPr>
        <p:spPr/>
        <p:txBody>
          <a:bodyPr/>
          <a:lstStyle/>
          <a:p>
            <a:fld id="{42303641-0553-AB47-8E1F-24956B808EC7}" type="slidenum">
              <a:rPr lang="en-US" smtClean="0"/>
              <a:t>21</a:t>
            </a:fld>
            <a:endParaRPr lang="en-US"/>
          </a:p>
        </p:txBody>
      </p:sp>
    </p:spTree>
    <p:extLst>
      <p:ext uri="{BB962C8B-B14F-4D97-AF65-F5344CB8AC3E}">
        <p14:creationId xmlns:p14="http://schemas.microsoft.com/office/powerpoint/2010/main" val="378891229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2CA866-E19E-5F56-31E3-10D0D396400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B2C886A-95CD-1A56-286B-97512D873E2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2F7DFA4-9773-970A-46D7-17062631F50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384253A-B2D7-E2DA-30BD-3118F045D33F}"/>
              </a:ext>
            </a:extLst>
          </p:cNvPr>
          <p:cNvSpPr>
            <a:spLocks noGrp="1"/>
          </p:cNvSpPr>
          <p:nvPr>
            <p:ph type="sldNum" sz="quarter" idx="5"/>
          </p:nvPr>
        </p:nvSpPr>
        <p:spPr/>
        <p:txBody>
          <a:bodyPr/>
          <a:lstStyle/>
          <a:p>
            <a:fld id="{42303641-0553-AB47-8E1F-24956B808EC7}" type="slidenum">
              <a:rPr lang="en-US" smtClean="0"/>
              <a:t>22</a:t>
            </a:fld>
            <a:endParaRPr lang="en-US"/>
          </a:p>
        </p:txBody>
      </p:sp>
    </p:spTree>
    <p:extLst>
      <p:ext uri="{BB962C8B-B14F-4D97-AF65-F5344CB8AC3E}">
        <p14:creationId xmlns:p14="http://schemas.microsoft.com/office/powerpoint/2010/main" val="12943287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7FC15C8-BC6B-46ED-B764-1FB719B6FAF4}" type="slidenum">
              <a:rPr lang="en-US" smtClean="0"/>
              <a:t>24</a:t>
            </a:fld>
            <a:endParaRPr lang="en-US"/>
          </a:p>
        </p:txBody>
      </p:sp>
    </p:spTree>
    <p:extLst>
      <p:ext uri="{BB962C8B-B14F-4D97-AF65-F5344CB8AC3E}">
        <p14:creationId xmlns:p14="http://schemas.microsoft.com/office/powerpoint/2010/main" val="288915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Challenges in AI Agent Systems</a:t>
            </a:r>
          </a:p>
          <a:p>
            <a:r>
              <a:rPr lang="en-US"/>
              <a:t>Despite their potential, AI agents present significant challenges that must be addressed for successful implementation.</a:t>
            </a:r>
          </a:p>
          <a:p>
            <a:r>
              <a:rPr lang="en-US" b="1"/>
              <a:t>Non-Determinism</a:t>
            </a:r>
            <a:endParaRPr lang="en-US"/>
          </a:p>
          <a:p>
            <a:pPr lvl="1"/>
            <a:r>
              <a:rPr lang="en-US"/>
              <a:t>The inherent unpredictability of LLMs can cause "cascading errors," necessitating "human oversight or deterministic fallback mechanisms."</a:t>
            </a:r>
          </a:p>
          <a:p>
            <a:r>
              <a:rPr lang="en-US" b="1"/>
              <a:t>Coordination Complexity</a:t>
            </a:r>
            <a:endParaRPr lang="en-US"/>
          </a:p>
          <a:p>
            <a:pPr lvl="1"/>
            <a:r>
              <a:rPr lang="en-US"/>
              <a:t>As the number of agents grows, ensuring seamless collaboration and minimizing bottlenecks becomes increasingly difficult.</a:t>
            </a:r>
          </a:p>
          <a:p>
            <a:r>
              <a:rPr lang="en-US" b="1"/>
              <a:t>Data and Model Dependency</a:t>
            </a:r>
            <a:endParaRPr lang="en-US"/>
          </a:p>
          <a:p>
            <a:pPr lvl="1"/>
            <a:r>
              <a:rPr lang="en-US"/>
              <a:t>"Errors stemming from poor data or model misbehavior can propagate throughout the system," leading to flawed outputs.</a:t>
            </a:r>
          </a:p>
          <a:p>
            <a:r>
              <a:rPr lang="en-US" b="1"/>
              <a:t>Trust and Transparency</a:t>
            </a:r>
            <a:endParaRPr lang="en-US"/>
          </a:p>
          <a:p>
            <a:pPr lvl="1"/>
            <a:r>
              <a:rPr lang="en-US"/>
              <a:t>Businesses require "visibility into how decisions are made," which demands robust monitoring, logging, and explanation mechanisms.</a:t>
            </a:r>
          </a:p>
          <a:p>
            <a:r>
              <a:rPr lang="en-US" b="1"/>
              <a:t>Technical Barriers</a:t>
            </a:r>
            <a:endParaRPr lang="en-US"/>
          </a:p>
          <a:p>
            <a:pPr lvl="1"/>
            <a:r>
              <a:rPr lang="en-US"/>
              <a:t>Current platforms often "require substantial programming expertise and intricate API management," limiting adoption by non-technical users.</a:t>
            </a:r>
          </a:p>
          <a:p>
            <a:r>
              <a:rPr lang="en-US" b="1"/>
              <a:t>Integration and Scalability</a:t>
            </a:r>
            <a:endParaRPr lang="en-US"/>
          </a:p>
          <a:p>
            <a:pPr lvl="1"/>
            <a:r>
              <a:rPr lang="en-US"/>
              <a:t>Diverse formats and protocols create "fragmented architectures that are difficult to maintain and scale," and many frameworks struggle with "efficient resource allocation... at scale."</a:t>
            </a:r>
          </a:p>
          <a:p>
            <a:r>
              <a:rPr lang="en-US" b="1"/>
              <a:t>Limited Customization</a:t>
            </a:r>
            <a:endParaRPr lang="en-US"/>
          </a:p>
          <a:p>
            <a:pPr lvl="1"/>
            <a:r>
              <a:rPr lang="en-US"/>
              <a:t>Many frameworks offer rigid templates, hindering adaptation to specific business processes, regulations, and domain-specific knowledge.</a:t>
            </a:r>
          </a:p>
          <a:p>
            <a:r>
              <a:rPr lang="en-US" b="1"/>
              <a:t>Ethical Risks</a:t>
            </a:r>
            <a:endParaRPr lang="en-US"/>
          </a:p>
          <a:p>
            <a:pPr lvl="1"/>
            <a:r>
              <a:rPr lang="en-US"/>
              <a:t>Increased autonomy introduces "additional trust issues," including unintended actions and "function-calling hallucinations." There are also concerns about AI-generated disinformation and the psychological impact on human workers.</a:t>
            </a:r>
          </a:p>
        </p:txBody>
      </p:sp>
      <p:sp>
        <p:nvSpPr>
          <p:cNvPr id="4" name="Slide Number Placeholder 3"/>
          <p:cNvSpPr>
            <a:spLocks noGrp="1"/>
          </p:cNvSpPr>
          <p:nvPr>
            <p:ph type="sldNum" sz="quarter" idx="5"/>
          </p:nvPr>
        </p:nvSpPr>
        <p:spPr/>
        <p:txBody>
          <a:bodyPr/>
          <a:lstStyle/>
          <a:p>
            <a:fld id="{87FC15C8-BC6B-46ED-B764-1FB719B6FAF4}" type="slidenum">
              <a:rPr lang="en-US" smtClean="0"/>
              <a:t>28</a:t>
            </a:fld>
            <a:endParaRPr lang="en-US"/>
          </a:p>
        </p:txBody>
      </p:sp>
    </p:spTree>
    <p:extLst>
      <p:ext uri="{BB962C8B-B14F-4D97-AF65-F5344CB8AC3E}">
        <p14:creationId xmlns:p14="http://schemas.microsoft.com/office/powerpoint/2010/main" val="91389597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kern="1200">
                <a:solidFill>
                  <a:schemeClr val="tx1"/>
                </a:solidFill>
                <a:effectLst/>
                <a:latin typeface="+mn-lt"/>
                <a:ea typeface="+mn-ea"/>
                <a:cs typeface="+mn-cs"/>
              </a:rPr>
              <a:t>The AI agent infrastructure stack is defined by three layers:</a:t>
            </a:r>
          </a:p>
          <a:p>
            <a:r>
              <a:rPr lang="en-US" sz="1200" b="1" i="0" kern="1200">
                <a:solidFill>
                  <a:schemeClr val="tx1"/>
                </a:solidFill>
                <a:effectLst/>
                <a:latin typeface="+mn-lt"/>
                <a:ea typeface="+mn-ea"/>
                <a:cs typeface="+mn-cs"/>
              </a:rPr>
              <a:t>Tools Layer</a:t>
            </a:r>
            <a:r>
              <a:rPr lang="en-US" sz="1200" b="0" i="0" kern="1200">
                <a:solidFill>
                  <a:schemeClr val="tx1"/>
                </a:solidFill>
                <a:effectLst/>
                <a:latin typeface="+mn-lt"/>
                <a:ea typeface="+mn-ea"/>
                <a:cs typeface="+mn-cs"/>
              </a:rPr>
              <a:t>: Enables agents to perform actions. Includes:</a:t>
            </a:r>
          </a:p>
          <a:p>
            <a:r>
              <a:rPr lang="en-US" sz="1200" b="1" i="0" kern="1200">
                <a:solidFill>
                  <a:schemeClr val="tx1"/>
                </a:solidFill>
                <a:effectLst/>
                <a:latin typeface="+mn-lt"/>
                <a:ea typeface="+mn-ea"/>
                <a:cs typeface="+mn-cs"/>
              </a:rPr>
              <a:t>Browser Infrastructure &amp; UI Automation</a:t>
            </a:r>
            <a:r>
              <a:rPr lang="en-US" sz="1200" b="0" i="0" kern="1200">
                <a:solidFill>
                  <a:schemeClr val="tx1"/>
                </a:solidFill>
                <a:effectLst/>
                <a:latin typeface="+mn-lt"/>
                <a:ea typeface="+mn-ea"/>
                <a:cs typeface="+mn-cs"/>
              </a:rPr>
              <a:t>: For agents to interact with the visual web (e.g., </a:t>
            </a:r>
            <a:r>
              <a:rPr lang="en-US" sz="1200" b="0" i="0" kern="1200" err="1">
                <a:solidFill>
                  <a:schemeClr val="tx1"/>
                </a:solidFill>
                <a:effectLst/>
                <a:latin typeface="+mn-lt"/>
                <a:ea typeface="+mn-ea"/>
                <a:cs typeface="+mn-cs"/>
              </a:rPr>
              <a:t>Browserbase</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Lightpanda</a:t>
            </a:r>
            <a:r>
              <a:rPr lang="en-US" sz="1200" b="0" i="0" kern="1200">
                <a:solidFill>
                  <a:schemeClr val="tx1"/>
                </a:solidFill>
                <a:effectLst/>
                <a:latin typeface="+mn-lt"/>
                <a:ea typeface="+mn-ea"/>
                <a:cs typeface="+mn-cs"/>
              </a:rPr>
              <a:t>, Stagehand).</a:t>
            </a:r>
          </a:p>
          <a:p>
            <a:r>
              <a:rPr lang="en-US" sz="1200" b="1" i="0" kern="1200">
                <a:solidFill>
                  <a:schemeClr val="tx1"/>
                </a:solidFill>
                <a:effectLst/>
                <a:latin typeface="+mn-lt"/>
                <a:ea typeface="+mn-ea"/>
                <a:cs typeface="+mn-cs"/>
              </a:rPr>
              <a:t>Authentication &amp; Security</a:t>
            </a:r>
            <a:r>
              <a:rPr lang="en-US" sz="1200" b="0" i="0" kern="1200">
                <a:solidFill>
                  <a:schemeClr val="tx1"/>
                </a:solidFill>
                <a:effectLst/>
                <a:latin typeface="+mn-lt"/>
                <a:ea typeface="+mn-ea"/>
                <a:cs typeface="+mn-cs"/>
              </a:rPr>
              <a:t>: "Auth for agents" to manage permissions and credentials when agents act on behalf of users (e.g., Clerk, Anon).</a:t>
            </a:r>
          </a:p>
          <a:p>
            <a:r>
              <a:rPr lang="en-US" sz="1200" b="1" i="0" kern="1200">
                <a:solidFill>
                  <a:schemeClr val="tx1"/>
                </a:solidFill>
                <a:effectLst/>
                <a:latin typeface="+mn-lt"/>
                <a:ea typeface="+mn-ea"/>
                <a:cs typeface="+mn-cs"/>
              </a:rPr>
              <a:t>Tool Discovery &amp; Integration</a:t>
            </a:r>
            <a:r>
              <a:rPr lang="en-US" sz="1200" b="0" i="0" kern="1200">
                <a:solidFill>
                  <a:schemeClr val="tx1"/>
                </a:solidFill>
                <a:effectLst/>
                <a:latin typeface="+mn-lt"/>
                <a:ea typeface="+mn-ea"/>
                <a:cs typeface="+mn-cs"/>
              </a:rPr>
              <a:t>: Standardized ways for agents to discover and interact with tools, with Model Context Protocol (MCP) emerging as a potential standard (e.g., Stripe, Neo4j, </a:t>
            </a:r>
            <a:r>
              <a:rPr lang="en-US" sz="1200" b="0" i="0" kern="1200" err="1">
                <a:solidFill>
                  <a:schemeClr val="tx1"/>
                </a:solidFill>
                <a:effectLst/>
                <a:latin typeface="+mn-lt"/>
                <a:ea typeface="+mn-ea"/>
                <a:cs typeface="+mn-cs"/>
              </a:rPr>
              <a:t>Composio</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Arcade.dev</a:t>
            </a:r>
            <a:r>
              <a:rPr lang="en-US" sz="1200" b="0" i="0" kern="1200">
                <a:solidFill>
                  <a:schemeClr val="tx1"/>
                </a:solidFill>
                <a:effectLst/>
                <a:latin typeface="+mn-lt"/>
                <a:ea typeface="+mn-ea"/>
                <a:cs typeface="+mn-cs"/>
              </a:rPr>
              <a:t>).</a:t>
            </a:r>
          </a:p>
          <a:p>
            <a:r>
              <a:rPr lang="en-US" sz="1200" b="1" i="0" kern="1200">
                <a:solidFill>
                  <a:schemeClr val="tx1"/>
                </a:solidFill>
                <a:effectLst/>
                <a:latin typeface="+mn-lt"/>
                <a:ea typeface="+mn-ea"/>
                <a:cs typeface="+mn-cs"/>
              </a:rPr>
              <a:t>Data Layer</a:t>
            </a:r>
            <a:r>
              <a:rPr lang="en-US" sz="1200" b="0" i="0" kern="1200">
                <a:solidFill>
                  <a:schemeClr val="tx1"/>
                </a:solidFill>
                <a:effectLst/>
                <a:latin typeface="+mn-lt"/>
                <a:ea typeface="+mn-ea"/>
                <a:cs typeface="+mn-cs"/>
              </a:rPr>
              <a:t>: Provides agents with memory and access to information. Includes:</a:t>
            </a:r>
          </a:p>
          <a:p>
            <a:r>
              <a:rPr lang="en-US" sz="1200" b="1" i="0" kern="1200">
                <a:solidFill>
                  <a:schemeClr val="tx1"/>
                </a:solidFill>
                <a:effectLst/>
                <a:latin typeface="+mn-lt"/>
                <a:ea typeface="+mn-ea"/>
                <a:cs typeface="+mn-cs"/>
              </a:rPr>
              <a:t>Memory Systems</a:t>
            </a:r>
            <a:r>
              <a:rPr lang="en-US" sz="1200" b="0" i="0" kern="1200">
                <a:solidFill>
                  <a:schemeClr val="tx1"/>
                </a:solidFill>
                <a:effectLst/>
                <a:latin typeface="+mn-lt"/>
                <a:ea typeface="+mn-ea"/>
                <a:cs typeface="+mn-cs"/>
              </a:rPr>
              <a:t>: For agent-specific context (e.g., Mem0, Zep).</a:t>
            </a:r>
          </a:p>
          <a:p>
            <a:r>
              <a:rPr lang="en-US" sz="1200" b="1" i="0" kern="1200">
                <a:solidFill>
                  <a:schemeClr val="tx1"/>
                </a:solidFill>
                <a:effectLst/>
                <a:latin typeface="+mn-lt"/>
                <a:ea typeface="+mn-ea"/>
                <a:cs typeface="+mn-cs"/>
              </a:rPr>
              <a:t>Storage Solutions</a:t>
            </a:r>
            <a:r>
              <a:rPr lang="en-US" sz="1200" b="0" i="0" kern="1200">
                <a:solidFill>
                  <a:schemeClr val="tx1"/>
                </a:solidFill>
                <a:effectLst/>
                <a:latin typeface="+mn-lt"/>
                <a:ea typeface="+mn-ea"/>
                <a:cs typeface="+mn-cs"/>
              </a:rPr>
              <a:t>: Evolving databases for agent workloads (e.g., Neon, Pinecone).</a:t>
            </a:r>
          </a:p>
          <a:p>
            <a:r>
              <a:rPr lang="en-US" sz="1200" b="1" i="0" kern="1200">
                <a:solidFill>
                  <a:schemeClr val="tx1"/>
                </a:solidFill>
                <a:effectLst/>
                <a:latin typeface="+mn-lt"/>
                <a:ea typeface="+mn-ea"/>
                <a:cs typeface="+mn-cs"/>
              </a:rPr>
              <a:t>ETL Services</a:t>
            </a:r>
            <a:r>
              <a:rPr lang="en-US" sz="1200" b="0" i="0" kern="1200">
                <a:solidFill>
                  <a:schemeClr val="tx1"/>
                </a:solidFill>
                <a:effectLst/>
                <a:latin typeface="+mn-lt"/>
                <a:ea typeface="+mn-ea"/>
                <a:cs typeface="+mn-cs"/>
              </a:rPr>
              <a:t>: For processing unstructured data.</a:t>
            </a:r>
          </a:p>
          <a:p>
            <a:r>
              <a:rPr lang="en-US" sz="1200" b="1" i="0" kern="1200">
                <a:solidFill>
                  <a:schemeClr val="tx1"/>
                </a:solidFill>
                <a:effectLst/>
                <a:latin typeface="+mn-lt"/>
                <a:ea typeface="+mn-ea"/>
                <a:cs typeface="+mn-cs"/>
              </a:rPr>
              <a:t>Orchestration Layer</a:t>
            </a:r>
            <a:r>
              <a:rPr lang="en-US" sz="1200" b="0" i="0" kern="1200">
                <a:solidFill>
                  <a:schemeClr val="tx1"/>
                </a:solidFill>
                <a:effectLst/>
                <a:latin typeface="+mn-lt"/>
                <a:ea typeface="+mn-ea"/>
                <a:cs typeface="+mn-cs"/>
              </a:rPr>
              <a:t>: Manages complexity and coordination of multiple agents. Includes:</a:t>
            </a:r>
          </a:p>
          <a:p>
            <a:r>
              <a:rPr lang="en-US" sz="1200" b="1" i="0" kern="1200">
                <a:solidFill>
                  <a:schemeClr val="tx1"/>
                </a:solidFill>
                <a:effectLst/>
                <a:latin typeface="+mn-lt"/>
                <a:ea typeface="+mn-ea"/>
                <a:cs typeface="+mn-cs"/>
              </a:rPr>
              <a:t>Managed Orchestration Solutions</a:t>
            </a:r>
            <a:r>
              <a:rPr lang="en-US" sz="1200" b="0" i="0" kern="1200">
                <a:solidFill>
                  <a:schemeClr val="tx1"/>
                </a:solidFill>
                <a:effectLst/>
                <a:latin typeface="+mn-lt"/>
                <a:ea typeface="+mn-ea"/>
                <a:cs typeface="+mn-cs"/>
              </a:rPr>
              <a:t>: For composing and managing multiple agents (e.g., LangGraph, </a:t>
            </a:r>
            <a:r>
              <a:rPr lang="en-US" sz="1200" b="0" i="0" kern="1200" err="1">
                <a:solidFill>
                  <a:schemeClr val="tx1"/>
                </a:solidFill>
                <a:effectLst/>
                <a:latin typeface="+mn-lt"/>
                <a:ea typeface="+mn-ea"/>
                <a:cs typeface="+mn-cs"/>
              </a:rPr>
              <a:t>CrewAI</a:t>
            </a:r>
            <a:r>
              <a:rPr lang="en-US" sz="1200" b="0" i="0" kern="1200">
                <a:solidFill>
                  <a:schemeClr val="tx1"/>
                </a:solidFill>
                <a:effectLst/>
                <a:latin typeface="+mn-lt"/>
                <a:ea typeface="+mn-ea"/>
                <a:cs typeface="+mn-cs"/>
              </a:rPr>
              <a:t>, Letta).</a:t>
            </a:r>
          </a:p>
          <a:p>
            <a:r>
              <a:rPr lang="en-US" sz="1200" b="1" i="0" kern="1200">
                <a:solidFill>
                  <a:schemeClr val="tx1"/>
                </a:solidFill>
                <a:effectLst/>
                <a:latin typeface="+mn-lt"/>
                <a:ea typeface="+mn-ea"/>
                <a:cs typeface="+mn-cs"/>
              </a:rPr>
              <a:t>Persistence Engines</a:t>
            </a:r>
            <a:r>
              <a:rPr lang="en-US" sz="1200" b="0" i="0" kern="1200">
                <a:solidFill>
                  <a:schemeClr val="tx1"/>
                </a:solidFill>
                <a:effectLst/>
                <a:latin typeface="+mn-lt"/>
                <a:ea typeface="+mn-ea"/>
                <a:cs typeface="+mn-cs"/>
              </a:rPr>
              <a:t>: For maintaining state across long-running agent processes (e.g., </a:t>
            </a:r>
            <a:r>
              <a:rPr lang="en-US" sz="1200" b="0" i="0" kern="1200" err="1">
                <a:solidFill>
                  <a:schemeClr val="tx1"/>
                </a:solidFill>
                <a:effectLst/>
                <a:latin typeface="+mn-lt"/>
                <a:ea typeface="+mn-ea"/>
                <a:cs typeface="+mn-cs"/>
              </a:rPr>
              <a:t>Inngest</a:t>
            </a:r>
            <a:r>
              <a:rPr lang="en-US" sz="1200" b="0" i="0" kern="1200">
                <a:solidFill>
                  <a:schemeClr val="tx1"/>
                </a:solidFill>
                <a:effectLst/>
                <a:latin typeface="+mn-lt"/>
                <a:ea typeface="+mn-ea"/>
                <a:cs typeface="+mn-cs"/>
              </a:rPr>
              <a:t>, Hatchet, Temporal).</a:t>
            </a:r>
          </a:p>
          <a:p>
            <a:endParaRPr lang="en-US"/>
          </a:p>
        </p:txBody>
      </p:sp>
      <p:sp>
        <p:nvSpPr>
          <p:cNvPr id="4" name="Slide Number Placeholder 3"/>
          <p:cNvSpPr>
            <a:spLocks noGrp="1"/>
          </p:cNvSpPr>
          <p:nvPr>
            <p:ph type="sldNum" sz="quarter" idx="5"/>
          </p:nvPr>
        </p:nvSpPr>
        <p:spPr/>
        <p:txBody>
          <a:bodyPr/>
          <a:lstStyle/>
          <a:p>
            <a:fld id="{87FC15C8-BC6B-46ED-B764-1FB719B6FAF4}" type="slidenum">
              <a:rPr lang="en-US" smtClean="0"/>
              <a:t>33</a:t>
            </a:fld>
            <a:endParaRPr lang="en-US"/>
          </a:p>
        </p:txBody>
      </p:sp>
    </p:spTree>
    <p:extLst>
      <p:ext uri="{BB962C8B-B14F-4D97-AF65-F5344CB8AC3E}">
        <p14:creationId xmlns:p14="http://schemas.microsoft.com/office/powerpoint/2010/main" val="79423683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kern="1200">
                <a:solidFill>
                  <a:schemeClr val="tx1"/>
                </a:solidFill>
                <a:effectLst/>
                <a:latin typeface="+mn-lt"/>
                <a:ea typeface="+mn-ea"/>
                <a:cs typeface="+mn-cs"/>
              </a:rPr>
              <a:t>Market Growth</a:t>
            </a:r>
            <a:r>
              <a:rPr lang="en-US" sz="1200" b="0" i="0" kern="1200">
                <a:solidFill>
                  <a:schemeClr val="tx1"/>
                </a:solidFill>
                <a:effectLst/>
                <a:latin typeface="+mn-lt"/>
                <a:ea typeface="+mn-ea"/>
                <a:cs typeface="+mn-cs"/>
              </a:rPr>
              <a:t>: Continued rapid expansion, projected to reach </a:t>
            </a:r>
            <a:r>
              <a:rPr lang="en-US" sz="1200" b="1" i="0" kern="1200">
                <a:solidFill>
                  <a:schemeClr val="tx1"/>
                </a:solidFill>
                <a:effectLst/>
                <a:latin typeface="+mn-lt"/>
                <a:ea typeface="+mn-ea"/>
                <a:cs typeface="+mn-cs"/>
              </a:rPr>
              <a:t>$47.1 billion by 2030</a:t>
            </a:r>
            <a:r>
              <a:rPr lang="en-US" sz="1200" b="0" i="0" kern="1200">
                <a:solidFill>
                  <a:schemeClr val="tx1"/>
                </a:solidFill>
                <a:effectLst/>
                <a:latin typeface="+mn-lt"/>
                <a:ea typeface="+mn-ea"/>
                <a:cs typeface="+mn-cs"/>
              </a:rPr>
              <a:t>.</a:t>
            </a:r>
          </a:p>
          <a:p>
            <a:r>
              <a:rPr lang="en-US" sz="1200" b="1" i="0" kern="1200">
                <a:solidFill>
                  <a:schemeClr val="tx1"/>
                </a:solidFill>
                <a:effectLst/>
                <a:latin typeface="+mn-lt"/>
                <a:ea typeface="+mn-ea"/>
                <a:cs typeface="+mn-cs"/>
              </a:rPr>
              <a:t>Increased Generative AI Adoption</a:t>
            </a:r>
            <a:r>
              <a:rPr lang="en-US" sz="1200" b="0" i="0" kern="1200">
                <a:solidFill>
                  <a:schemeClr val="tx1"/>
                </a:solidFill>
                <a:effectLst/>
                <a:latin typeface="+mn-lt"/>
                <a:ea typeface="+mn-ea"/>
                <a:cs typeface="+mn-cs"/>
              </a:rPr>
              <a:t>: Nearly half of GenAI-using companies are predicted to launch pilots for multi-step business functions by 2027.</a:t>
            </a:r>
          </a:p>
          <a:p>
            <a:r>
              <a:rPr lang="en-US" sz="1200" b="1" i="0" kern="1200">
                <a:solidFill>
                  <a:schemeClr val="tx1"/>
                </a:solidFill>
                <a:effectLst/>
                <a:latin typeface="+mn-lt"/>
                <a:ea typeface="+mn-ea"/>
                <a:cs typeface="+mn-cs"/>
              </a:rPr>
              <a:t>Emphasis on Ethical Guardrails</a:t>
            </a:r>
            <a:r>
              <a:rPr lang="en-US" sz="1200" b="0" i="0" kern="1200">
                <a:solidFill>
                  <a:schemeClr val="tx1"/>
                </a:solidFill>
                <a:effectLst/>
                <a:latin typeface="+mn-lt"/>
                <a:ea typeface="+mn-ea"/>
                <a:cs typeface="+mn-cs"/>
              </a:rPr>
              <a:t>: Growing focus on explainable AI frameworks to identify errors and biases, promoting compliance and accuracy.</a:t>
            </a:r>
          </a:p>
          <a:p>
            <a:r>
              <a:rPr lang="en-US" sz="1200" b="1" i="0" kern="1200">
                <a:solidFill>
                  <a:schemeClr val="tx1"/>
                </a:solidFill>
                <a:effectLst/>
                <a:latin typeface="+mn-lt"/>
                <a:ea typeface="+mn-ea"/>
                <a:cs typeface="+mn-cs"/>
              </a:rPr>
              <a:t>More On-premises Solutions</a:t>
            </a:r>
            <a:r>
              <a:rPr lang="en-US" sz="1200" b="0" i="0" kern="1200">
                <a:solidFill>
                  <a:schemeClr val="tx1"/>
                </a:solidFill>
                <a:effectLst/>
                <a:latin typeface="+mn-lt"/>
                <a:ea typeface="+mn-ea"/>
                <a:cs typeface="+mn-cs"/>
              </a:rPr>
              <a:t>: Rise of open-source models may lead to more on-premises deployments for enhanced security and control.</a:t>
            </a:r>
          </a:p>
          <a:p>
            <a:r>
              <a:rPr lang="en-US" sz="1200" b="1" i="0" kern="1200">
                <a:solidFill>
                  <a:schemeClr val="tx1"/>
                </a:solidFill>
                <a:effectLst/>
                <a:latin typeface="+mn-lt"/>
                <a:ea typeface="+mn-ea"/>
                <a:cs typeface="+mn-cs"/>
              </a:rPr>
              <a:t>Multi-Agent Systems</a:t>
            </a:r>
            <a:r>
              <a:rPr lang="en-US" sz="1200" b="0" i="0" kern="1200">
                <a:solidFill>
                  <a:schemeClr val="tx1"/>
                </a:solidFill>
                <a:effectLst/>
                <a:latin typeface="+mn-lt"/>
                <a:ea typeface="+mn-ea"/>
                <a:cs typeface="+mn-cs"/>
              </a:rPr>
              <a:t>: Continued growth in systems that coordinate complex, decentralized tasks across industries (e.g., transportation, healthcare).</a:t>
            </a:r>
          </a:p>
          <a:p>
            <a:r>
              <a:rPr lang="en-US" sz="1200" b="1" i="0" kern="1200">
                <a:solidFill>
                  <a:schemeClr val="tx1"/>
                </a:solidFill>
                <a:effectLst/>
                <a:latin typeface="+mn-lt"/>
                <a:ea typeface="+mn-ea"/>
                <a:cs typeface="+mn-cs"/>
              </a:rPr>
              <a:t>Expanding AI Community</a:t>
            </a:r>
            <a:r>
              <a:rPr lang="en-US" sz="1200" b="0" i="0" kern="1200">
                <a:solidFill>
                  <a:schemeClr val="tx1"/>
                </a:solidFill>
                <a:effectLst/>
                <a:latin typeface="+mn-lt"/>
                <a:ea typeface="+mn-ea"/>
                <a:cs typeface="+mn-cs"/>
              </a:rPr>
              <a:t>: More developers contributing to AI libraries and frameworks will simplify agent building.</a:t>
            </a:r>
          </a:p>
          <a:p>
            <a:r>
              <a:rPr lang="en-US" sz="1200" b="1" i="0" kern="1200">
                <a:solidFill>
                  <a:schemeClr val="tx1"/>
                </a:solidFill>
                <a:effectLst/>
                <a:latin typeface="+mn-lt"/>
                <a:ea typeface="+mn-ea"/>
                <a:cs typeface="+mn-cs"/>
              </a:rPr>
              <a:t>Advanced Capabilities</a:t>
            </a:r>
            <a:r>
              <a:rPr lang="en-US" sz="1200" b="0" i="0" kern="1200">
                <a:solidFill>
                  <a:schemeClr val="tx1"/>
                </a:solidFill>
                <a:effectLst/>
                <a:latin typeface="+mn-lt"/>
                <a:ea typeface="+mn-ea"/>
                <a:cs typeface="+mn-cs"/>
              </a:rPr>
              <a:t>: Continued advancements in natural language processing, machine learning, and cloud computing will lead to more sophisticated solutions.</a:t>
            </a:r>
          </a:p>
          <a:p>
            <a:r>
              <a:rPr lang="en-US" sz="1200" b="1" i="0" kern="1200">
                <a:solidFill>
                  <a:schemeClr val="tx1"/>
                </a:solidFill>
                <a:effectLst/>
                <a:latin typeface="+mn-lt"/>
                <a:ea typeface="+mn-ea"/>
                <a:cs typeface="+mn-cs"/>
              </a:rPr>
              <a:t>Edge AI</a:t>
            </a:r>
            <a:r>
              <a:rPr lang="en-US" sz="1200" b="0" i="0" kern="1200">
                <a:solidFill>
                  <a:schemeClr val="tx1"/>
                </a:solidFill>
                <a:effectLst/>
                <a:latin typeface="+mn-lt"/>
                <a:ea typeface="+mn-ea"/>
                <a:cs typeface="+mn-cs"/>
              </a:rPr>
              <a:t>: Increasing use of AI agents at the edge.</a:t>
            </a:r>
          </a:p>
          <a:p>
            <a:r>
              <a:rPr lang="en-US" sz="1200" b="1" i="0" kern="1200">
                <a:solidFill>
                  <a:schemeClr val="tx1"/>
                </a:solidFill>
                <a:effectLst/>
                <a:latin typeface="+mn-lt"/>
                <a:ea typeface="+mn-ea"/>
                <a:cs typeface="+mn-cs"/>
              </a:rPr>
              <a:t>Responsible AI Practices</a:t>
            </a:r>
            <a:r>
              <a:rPr lang="en-US" sz="1200" b="0" i="0" kern="1200">
                <a:solidFill>
                  <a:schemeClr val="tx1"/>
                </a:solidFill>
                <a:effectLst/>
                <a:latin typeface="+mn-lt"/>
                <a:ea typeface="+mn-ea"/>
                <a:cs typeface="+mn-cs"/>
              </a:rPr>
              <a:t>: Greater emphasis on ethics and responsible AI practices as adoption becomes widespread.</a:t>
            </a:r>
          </a:p>
          <a:p>
            <a:endParaRPr lang="en-US"/>
          </a:p>
        </p:txBody>
      </p:sp>
      <p:sp>
        <p:nvSpPr>
          <p:cNvPr id="4" name="Slide Number Placeholder 3"/>
          <p:cNvSpPr>
            <a:spLocks noGrp="1"/>
          </p:cNvSpPr>
          <p:nvPr>
            <p:ph type="sldNum" sz="quarter" idx="5"/>
          </p:nvPr>
        </p:nvSpPr>
        <p:spPr/>
        <p:txBody>
          <a:bodyPr/>
          <a:lstStyle/>
          <a:p>
            <a:fld id="{87FC15C8-BC6B-46ED-B764-1FB719B6FAF4}" type="slidenum">
              <a:rPr lang="en-US" smtClean="0"/>
              <a:t>34</a:t>
            </a:fld>
            <a:endParaRPr lang="en-US"/>
          </a:p>
        </p:txBody>
      </p:sp>
    </p:spTree>
    <p:extLst>
      <p:ext uri="{BB962C8B-B14F-4D97-AF65-F5344CB8AC3E}">
        <p14:creationId xmlns:p14="http://schemas.microsoft.com/office/powerpoint/2010/main" val="56428619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A: Tax Saver and Money Planner, B: Future Saver, C: Nobody checks all four plans together, D: The helpers have no orchestration, planning, feedback, or memory.</a:t>
            </a:r>
          </a:p>
          <a:p>
            <a:endParaRPr lang="en-US"/>
          </a:p>
        </p:txBody>
      </p:sp>
      <p:sp>
        <p:nvSpPr>
          <p:cNvPr id="4" name="Slide Number Placeholder 3"/>
          <p:cNvSpPr>
            <a:spLocks noGrp="1"/>
          </p:cNvSpPr>
          <p:nvPr>
            <p:ph type="sldNum" sz="quarter" idx="5"/>
          </p:nvPr>
        </p:nvSpPr>
        <p:spPr/>
        <p:txBody>
          <a:bodyPr/>
          <a:lstStyle/>
          <a:p>
            <a:fld id="{87FC15C8-BC6B-46ED-B764-1FB719B6FAF4}" type="slidenum">
              <a:rPr lang="en-US" smtClean="0"/>
              <a:t>38</a:t>
            </a:fld>
            <a:endParaRPr lang="en-US"/>
          </a:p>
        </p:txBody>
      </p:sp>
    </p:spTree>
    <p:extLst>
      <p:ext uri="{BB962C8B-B14F-4D97-AF65-F5344CB8AC3E}">
        <p14:creationId xmlns:p14="http://schemas.microsoft.com/office/powerpoint/2010/main" val="235514844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79E7E3-9D00-249C-932D-07E9862FBA3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30D4737-954B-51F1-7340-22E3CAC5974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1C2D819-CEFC-96E9-2FFA-CAA9E738A667}"/>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A: False, they run in separate silos. , B: False, there is no feedback loop, C: False, no unified risk-aggregation step, D: False, Each delivers their own report. </a:t>
            </a:r>
          </a:p>
        </p:txBody>
      </p:sp>
      <p:sp>
        <p:nvSpPr>
          <p:cNvPr id="4" name="Slide Number Placeholder 3">
            <a:extLst>
              <a:ext uri="{FF2B5EF4-FFF2-40B4-BE49-F238E27FC236}">
                <a16:creationId xmlns:a16="http://schemas.microsoft.com/office/drawing/2014/main" id="{BE8C339B-03B4-3F70-A313-48EFEBF85822}"/>
              </a:ext>
            </a:extLst>
          </p:cNvPr>
          <p:cNvSpPr>
            <a:spLocks noGrp="1"/>
          </p:cNvSpPr>
          <p:nvPr>
            <p:ph type="sldNum" sz="quarter" idx="5"/>
          </p:nvPr>
        </p:nvSpPr>
        <p:spPr/>
        <p:txBody>
          <a:bodyPr/>
          <a:lstStyle/>
          <a:p>
            <a:fld id="{87FC15C8-BC6B-46ED-B764-1FB719B6FAF4}" type="slidenum">
              <a:rPr lang="en-US" smtClean="0"/>
              <a:t>39</a:t>
            </a:fld>
            <a:endParaRPr lang="en-US"/>
          </a:p>
        </p:txBody>
      </p:sp>
    </p:spTree>
    <p:extLst>
      <p:ext uri="{BB962C8B-B14F-4D97-AF65-F5344CB8AC3E}">
        <p14:creationId xmlns:p14="http://schemas.microsoft.com/office/powerpoint/2010/main" val="152773273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7FC15C8-BC6B-46ED-B764-1FB719B6FAF4}" type="slidenum">
              <a:rPr lang="en-US" smtClean="0"/>
              <a:t>40</a:t>
            </a:fld>
            <a:endParaRPr lang="en-US"/>
          </a:p>
        </p:txBody>
      </p:sp>
    </p:spTree>
    <p:extLst>
      <p:ext uri="{BB962C8B-B14F-4D97-AF65-F5344CB8AC3E}">
        <p14:creationId xmlns:p14="http://schemas.microsoft.com/office/powerpoint/2010/main" val="36672161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pattern exposes three gaps of Gen AI:</a:t>
            </a:r>
          </a:p>
          <a:p>
            <a:pPr lvl="1"/>
            <a:r>
              <a:rPr lang="en-US"/>
              <a:t>Execution Gap: Our systems can plan perfectly but cannot take real world actions to implement</a:t>
            </a:r>
          </a:p>
          <a:p>
            <a:pPr marL="457192" lvl="1" indent="0">
              <a:buNone/>
            </a:pPr>
            <a:endParaRPr lang="en-US"/>
          </a:p>
          <a:p>
            <a:pPr lvl="1"/>
            <a:r>
              <a:rPr lang="en-US"/>
              <a:t>Learning Gap: The AI systems cannot build reliable knowledge over time or adapt based on experiences. Often, generated analysis with contradict each other.</a:t>
            </a:r>
            <a:br>
              <a:rPr lang="en-US"/>
            </a:br>
            <a:endParaRPr lang="en-US"/>
          </a:p>
          <a:p>
            <a:pPr lvl="1"/>
            <a:r>
              <a:rPr lang="en-US"/>
              <a:t>Coordination Gap: Our systems are often isolated and cannot work together effectively.</a:t>
            </a:r>
            <a:br>
              <a:rPr lang="en-US"/>
            </a:br>
            <a:br>
              <a:rPr lang="en-US"/>
            </a:br>
            <a:endParaRPr lang="en-US"/>
          </a:p>
          <a:p>
            <a:r>
              <a:rPr lang="en-US"/>
              <a:t>Only 15% of companies have scaled their generative AI projects beyond initial pilots and their employees are wasting time acting as a human bridge to brilliant but helpless AI systems.</a:t>
            </a:r>
          </a:p>
          <a:p>
            <a:endParaRPr lang="en-US"/>
          </a:p>
        </p:txBody>
      </p:sp>
      <p:sp>
        <p:nvSpPr>
          <p:cNvPr id="4" name="Slide Number Placeholder 3"/>
          <p:cNvSpPr>
            <a:spLocks noGrp="1"/>
          </p:cNvSpPr>
          <p:nvPr>
            <p:ph type="sldNum" sz="quarter" idx="5"/>
          </p:nvPr>
        </p:nvSpPr>
        <p:spPr/>
        <p:txBody>
          <a:bodyPr/>
          <a:lstStyle/>
          <a:p>
            <a:fld id="{87FC15C8-BC6B-46ED-B764-1FB719B6FAF4}" type="slidenum">
              <a:rPr lang="en-US" smtClean="0"/>
              <a:t>41</a:t>
            </a:fld>
            <a:endParaRPr lang="en-US"/>
          </a:p>
        </p:txBody>
      </p:sp>
    </p:spTree>
    <p:extLst>
      <p:ext uri="{BB962C8B-B14F-4D97-AF65-F5344CB8AC3E}">
        <p14:creationId xmlns:p14="http://schemas.microsoft.com/office/powerpoint/2010/main" val="3387426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ow do we distinguish between simple automation tools and truly autonomous agents?</a:t>
            </a:r>
          </a:p>
          <a:p>
            <a:endParaRPr lang="en-US"/>
          </a:p>
          <a:p>
            <a:r>
              <a:rPr lang="en-US"/>
              <a:t>Technical Leaders often dive headfirst into deployment without truly understanding the capabilities. We wouldn’t assign sophisticated tasks to a new hire!</a:t>
            </a:r>
            <a:br>
              <a:rPr lang="en-US"/>
            </a:br>
            <a:endParaRPr lang="en-US"/>
          </a:p>
          <a:p>
            <a:r>
              <a:rPr lang="en-US"/>
              <a:t>Digital colleagues have their own characteristics, skills, limitations, and ways of thinking. We will have to learn how to build an effective partnership that maximizes human and AI.</a:t>
            </a:r>
          </a:p>
          <a:p>
            <a:endParaRPr lang="en-US"/>
          </a:p>
        </p:txBody>
      </p:sp>
      <p:sp>
        <p:nvSpPr>
          <p:cNvPr id="4" name="Slide Number Placeholder 3"/>
          <p:cNvSpPr>
            <a:spLocks noGrp="1"/>
          </p:cNvSpPr>
          <p:nvPr>
            <p:ph type="sldNum" sz="quarter" idx="5"/>
          </p:nvPr>
        </p:nvSpPr>
        <p:spPr/>
        <p:txBody>
          <a:bodyPr/>
          <a:lstStyle/>
          <a:p>
            <a:fld id="{87FC15C8-BC6B-46ED-B764-1FB719B6FAF4}" type="slidenum">
              <a:rPr lang="en-US" smtClean="0"/>
              <a:t>7</a:t>
            </a:fld>
            <a:endParaRPr lang="en-US"/>
          </a:p>
        </p:txBody>
      </p:sp>
    </p:spTree>
    <p:extLst>
      <p:ext uri="{BB962C8B-B14F-4D97-AF65-F5344CB8AC3E}">
        <p14:creationId xmlns:p14="http://schemas.microsoft.com/office/powerpoint/2010/main" val="153300251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21C868-734E-37BD-5035-925F3239F44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4AB10D3-CDF9-AE24-9F0B-D083CFB7B26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43584E1-E314-B2A2-84EA-8ED4F5588551}"/>
              </a:ext>
            </a:extLst>
          </p:cNvPr>
          <p:cNvSpPr>
            <a:spLocks noGrp="1"/>
          </p:cNvSpPr>
          <p:nvPr>
            <p:ph type="body" idx="1"/>
          </p:nvPr>
        </p:nvSpPr>
        <p:spPr/>
        <p:txBody>
          <a:bodyPr/>
          <a:lstStyle/>
          <a:p>
            <a:r>
              <a:rPr lang="en-US"/>
              <a:t>Task oriented agents how can we leverage the </a:t>
            </a:r>
          </a:p>
        </p:txBody>
      </p:sp>
      <p:sp>
        <p:nvSpPr>
          <p:cNvPr id="4" name="Slide Number Placeholder 3">
            <a:extLst>
              <a:ext uri="{FF2B5EF4-FFF2-40B4-BE49-F238E27FC236}">
                <a16:creationId xmlns:a16="http://schemas.microsoft.com/office/drawing/2014/main" id="{C581E4BA-4250-5E97-9FF8-17E35CE611B8}"/>
              </a:ext>
            </a:extLst>
          </p:cNvPr>
          <p:cNvSpPr>
            <a:spLocks noGrp="1"/>
          </p:cNvSpPr>
          <p:nvPr>
            <p:ph type="sldNum" sz="quarter" idx="5"/>
          </p:nvPr>
        </p:nvSpPr>
        <p:spPr/>
        <p:txBody>
          <a:bodyPr/>
          <a:lstStyle/>
          <a:p>
            <a:fld id="{87FC15C8-BC6B-46ED-B764-1FB719B6FAF4}" type="slidenum">
              <a:rPr lang="en-US" smtClean="0"/>
              <a:t>43</a:t>
            </a:fld>
            <a:endParaRPr lang="en-US"/>
          </a:p>
        </p:txBody>
      </p:sp>
    </p:spTree>
    <p:extLst>
      <p:ext uri="{BB962C8B-B14F-4D97-AF65-F5344CB8AC3E}">
        <p14:creationId xmlns:p14="http://schemas.microsoft.com/office/powerpoint/2010/main" val="418161991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6D9723-ED1B-2646-6C32-F6B4F02EF14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E895D4E-9DA9-8F6C-83E0-11F6FE4C653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2507284-ECE6-8EF0-8BC4-39E33B728BE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4B96D85-7B30-CC51-5370-633DC35C9F14}"/>
              </a:ext>
            </a:extLst>
          </p:cNvPr>
          <p:cNvSpPr>
            <a:spLocks noGrp="1"/>
          </p:cNvSpPr>
          <p:nvPr>
            <p:ph type="sldNum" sz="quarter" idx="5"/>
          </p:nvPr>
        </p:nvSpPr>
        <p:spPr/>
        <p:txBody>
          <a:bodyPr/>
          <a:lstStyle/>
          <a:p>
            <a:fld id="{87FC15C8-BC6B-46ED-B764-1FB719B6FAF4}" type="slidenum">
              <a:rPr lang="en-US" smtClean="0"/>
              <a:t>52</a:t>
            </a:fld>
            <a:endParaRPr lang="en-US"/>
          </a:p>
        </p:txBody>
      </p:sp>
    </p:spTree>
    <p:extLst>
      <p:ext uri="{BB962C8B-B14F-4D97-AF65-F5344CB8AC3E}">
        <p14:creationId xmlns:p14="http://schemas.microsoft.com/office/powerpoint/2010/main" val="254787182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7FC15C8-BC6B-46ED-B764-1FB719B6FAF4}" type="slidenum">
              <a:rPr lang="en-US" smtClean="0"/>
              <a:t>53</a:t>
            </a:fld>
            <a:endParaRPr lang="en-US"/>
          </a:p>
        </p:txBody>
      </p:sp>
    </p:spTree>
    <p:extLst>
      <p:ext uri="{BB962C8B-B14F-4D97-AF65-F5344CB8AC3E}">
        <p14:creationId xmlns:p14="http://schemas.microsoft.com/office/powerpoint/2010/main" val="309649122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0008AE-4EB1-ADC6-3E53-679A6F74ED3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C40E8AA-5EDF-0EBD-825E-B71026EBAAD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EA8171E-5003-AEF3-4F93-430CF17761C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9104069-2860-6230-5178-ADFFE2941FA1}"/>
              </a:ext>
            </a:extLst>
          </p:cNvPr>
          <p:cNvSpPr>
            <a:spLocks noGrp="1"/>
          </p:cNvSpPr>
          <p:nvPr>
            <p:ph type="sldNum" sz="quarter" idx="5"/>
          </p:nvPr>
        </p:nvSpPr>
        <p:spPr/>
        <p:txBody>
          <a:bodyPr/>
          <a:lstStyle/>
          <a:p>
            <a:fld id="{87FC15C8-BC6B-46ED-B764-1FB719B6FAF4}" type="slidenum">
              <a:rPr lang="en-US" smtClean="0"/>
              <a:t>54</a:t>
            </a:fld>
            <a:endParaRPr lang="en-US"/>
          </a:p>
        </p:txBody>
      </p:sp>
    </p:spTree>
    <p:extLst>
      <p:ext uri="{BB962C8B-B14F-4D97-AF65-F5344CB8AC3E}">
        <p14:creationId xmlns:p14="http://schemas.microsoft.com/office/powerpoint/2010/main" val="413086645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7FC15C8-BC6B-46ED-B764-1FB719B6FAF4}" type="slidenum">
              <a:rPr lang="en-US" smtClean="0"/>
              <a:t>66</a:t>
            </a:fld>
            <a:endParaRPr lang="en-US"/>
          </a:p>
        </p:txBody>
      </p:sp>
    </p:spTree>
    <p:extLst>
      <p:ext uri="{BB962C8B-B14F-4D97-AF65-F5344CB8AC3E}">
        <p14:creationId xmlns:p14="http://schemas.microsoft.com/office/powerpoint/2010/main" val="373043977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7FC15C8-BC6B-46ED-B764-1FB719B6FAF4}" type="slidenum">
              <a:rPr lang="en-US" smtClean="0"/>
              <a:t>67</a:t>
            </a:fld>
            <a:endParaRPr lang="en-US"/>
          </a:p>
        </p:txBody>
      </p:sp>
    </p:spTree>
    <p:extLst>
      <p:ext uri="{BB962C8B-B14F-4D97-AF65-F5344CB8AC3E}">
        <p14:creationId xmlns:p14="http://schemas.microsoft.com/office/powerpoint/2010/main" val="69244606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7FC15C8-BC6B-46ED-B764-1FB719B6FAF4}" type="slidenum">
              <a:rPr lang="en-US" smtClean="0"/>
              <a:t>70</a:t>
            </a:fld>
            <a:endParaRPr lang="en-US"/>
          </a:p>
        </p:txBody>
      </p:sp>
    </p:spTree>
    <p:extLst>
      <p:ext uri="{BB962C8B-B14F-4D97-AF65-F5344CB8AC3E}">
        <p14:creationId xmlns:p14="http://schemas.microsoft.com/office/powerpoint/2010/main" val="249345165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ONFLICTING GOALS: You now have these three equally important objectives that directly conflict with each other:</a:t>
            </a:r>
          </a:p>
          <a:p>
            <a:pPr marL="685800" lvl="1" indent="-228600">
              <a:buFont typeface="+mj-lt"/>
              <a:buAutoNum type="arabicPeriod"/>
            </a:pPr>
            <a:r>
              <a:rPr lang="en-US"/>
              <a:t>Ensure maximum customer satisfaction by providing a full, personalized response to a high-priority client inquiry.</a:t>
            </a:r>
          </a:p>
          <a:p>
            <a:pPr marL="685800" lvl="1" indent="-228600">
              <a:buFont typeface="+mj-lt"/>
              <a:buAutoNum type="arabicPeriod"/>
            </a:pPr>
            <a:r>
              <a:rPr lang="en-US"/>
              <a:t>Protect proprietary product details by withholding sensitive technical specifications.</a:t>
            </a:r>
          </a:p>
          <a:p>
            <a:pPr marL="685800" lvl="1" indent="-228600">
              <a:buFont typeface="+mj-lt"/>
              <a:buAutoNum type="arabicPeriod"/>
            </a:pPr>
            <a:r>
              <a:rPr lang="en-US"/>
              <a:t>Respond within 300 words while still covering all necessary points.</a:t>
            </a:r>
          </a:p>
          <a:p>
            <a:r>
              <a:rPr lang="en-US"/>
              <a:t>Additionally, you have these conflicting time pressures:</a:t>
            </a:r>
          </a:p>
          <a:p>
            <a:pPr marL="628650" lvl="1" indent="-171450">
              <a:buFont typeface="Arial" panose="020B0604020202020204" pitchFamily="34" charset="0"/>
              <a:buChar char="•"/>
            </a:pPr>
            <a:r>
              <a:rPr lang="en-US"/>
              <a:t>The VP of Sales needs the client reply sent within 30 minutes to secure a potential deal.</a:t>
            </a:r>
          </a:p>
          <a:p>
            <a:pPr marL="628650" lvl="1" indent="-171450">
              <a:buFont typeface="Arial" panose="020B0604020202020204" pitchFamily="34" charset="0"/>
              <a:buChar char="•"/>
            </a:pPr>
            <a:r>
              <a:rPr lang="en-US"/>
              <a:t>Legal requires a 3-hour contract review before sharing any product-related information.</a:t>
            </a:r>
          </a:p>
          <a:p>
            <a:pPr marL="628650" lvl="1" indent="-171450">
              <a:buFont typeface="Arial" panose="020B0604020202020204" pitchFamily="34" charset="0"/>
              <a:buChar char="•"/>
            </a:pPr>
            <a:r>
              <a:rPr lang="en-US"/>
              <a:t>The Design Team needs 1 hour to verify any visual materials included in the response.</a:t>
            </a:r>
          </a:p>
          <a:p>
            <a:endParaRPr lang="en-US"/>
          </a:p>
          <a:p>
            <a:r>
              <a:rPr lang="en-US"/>
              <a:t>You cannot prioritize one goal over others—they are all equally critical. How do you handle these conflicting requirements?</a:t>
            </a:r>
          </a:p>
          <a:p>
            <a:endParaRPr lang="en-US"/>
          </a:p>
        </p:txBody>
      </p:sp>
      <p:sp>
        <p:nvSpPr>
          <p:cNvPr id="4" name="Slide Number Placeholder 3"/>
          <p:cNvSpPr>
            <a:spLocks noGrp="1"/>
          </p:cNvSpPr>
          <p:nvPr>
            <p:ph type="sldNum" sz="quarter" idx="5"/>
          </p:nvPr>
        </p:nvSpPr>
        <p:spPr/>
        <p:txBody>
          <a:bodyPr/>
          <a:lstStyle/>
          <a:p>
            <a:fld id="{87FC15C8-BC6B-46ED-B764-1FB719B6FAF4}" type="slidenum">
              <a:rPr lang="en-US" smtClean="0"/>
              <a:t>71</a:t>
            </a:fld>
            <a:endParaRPr lang="en-US"/>
          </a:p>
        </p:txBody>
      </p:sp>
    </p:spTree>
    <p:extLst>
      <p:ext uri="{BB962C8B-B14F-4D97-AF65-F5344CB8AC3E}">
        <p14:creationId xmlns:p14="http://schemas.microsoft.com/office/powerpoint/2010/main" val="420194785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xample of a hammer being used as a paperweight or a doorstop; agent can only see a hammer for hammering nails and swinging it in the exact defined way.</a:t>
            </a:r>
          </a:p>
        </p:txBody>
      </p:sp>
      <p:sp>
        <p:nvSpPr>
          <p:cNvPr id="4" name="Slide Number Placeholder 3"/>
          <p:cNvSpPr>
            <a:spLocks noGrp="1"/>
          </p:cNvSpPr>
          <p:nvPr>
            <p:ph type="sldNum" sz="quarter" idx="5"/>
          </p:nvPr>
        </p:nvSpPr>
        <p:spPr/>
        <p:txBody>
          <a:bodyPr/>
          <a:lstStyle/>
          <a:p>
            <a:fld id="{87FC15C8-BC6B-46ED-B764-1FB719B6FAF4}" type="slidenum">
              <a:rPr lang="en-US" smtClean="0"/>
              <a:t>73</a:t>
            </a:fld>
            <a:endParaRPr lang="en-US"/>
          </a:p>
        </p:txBody>
      </p:sp>
    </p:spTree>
    <p:extLst>
      <p:ext uri="{BB962C8B-B14F-4D97-AF65-F5344CB8AC3E}">
        <p14:creationId xmlns:p14="http://schemas.microsoft.com/office/powerpoint/2010/main" val="349253121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43ABEC-F24D-7EEE-7B5E-73958C9A127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AB58777-4A53-5613-FD99-C67FA100AF6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9EE4D9A-56DC-FD6F-8C82-A52250B7DB97}"/>
              </a:ext>
            </a:extLst>
          </p:cNvPr>
          <p:cNvSpPr>
            <a:spLocks noGrp="1"/>
          </p:cNvSpPr>
          <p:nvPr>
            <p:ph type="body" idx="1"/>
          </p:nvPr>
        </p:nvSpPr>
        <p:spPr/>
        <p:txBody>
          <a:bodyPr/>
          <a:lstStyle/>
          <a:p>
            <a:r>
              <a:rPr lang="en-US"/>
              <a:t>Example of a hammer being used as a paperweight or a doorstop; agent can only see a hammer for hammering nails and swinging it in the exact defined way.</a:t>
            </a:r>
          </a:p>
        </p:txBody>
      </p:sp>
      <p:sp>
        <p:nvSpPr>
          <p:cNvPr id="4" name="Slide Number Placeholder 3">
            <a:extLst>
              <a:ext uri="{FF2B5EF4-FFF2-40B4-BE49-F238E27FC236}">
                <a16:creationId xmlns:a16="http://schemas.microsoft.com/office/drawing/2014/main" id="{8DA8B791-C1A9-1919-04D8-65E1DD97D7E7}"/>
              </a:ext>
            </a:extLst>
          </p:cNvPr>
          <p:cNvSpPr>
            <a:spLocks noGrp="1"/>
          </p:cNvSpPr>
          <p:nvPr>
            <p:ph type="sldNum" sz="quarter" idx="5"/>
          </p:nvPr>
        </p:nvSpPr>
        <p:spPr/>
        <p:txBody>
          <a:bodyPr/>
          <a:lstStyle/>
          <a:p>
            <a:fld id="{87FC15C8-BC6B-46ED-B764-1FB719B6FAF4}" type="slidenum">
              <a:rPr lang="en-US" smtClean="0"/>
              <a:t>74</a:t>
            </a:fld>
            <a:endParaRPr lang="en-US"/>
          </a:p>
        </p:txBody>
      </p:sp>
    </p:spTree>
    <p:extLst>
      <p:ext uri="{BB962C8B-B14F-4D97-AF65-F5344CB8AC3E}">
        <p14:creationId xmlns:p14="http://schemas.microsoft.com/office/powerpoint/2010/main" val="36935513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364F21-3364-592F-7877-5489C32AF6E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3BAA886-99D0-B5E5-9CA2-C7EE507BF6E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0BBF3A2-3ADD-E879-BD5B-9039171FBF5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78572BE-108E-66AE-D6C7-CDB7F0491007}"/>
              </a:ext>
            </a:extLst>
          </p:cNvPr>
          <p:cNvSpPr>
            <a:spLocks noGrp="1"/>
          </p:cNvSpPr>
          <p:nvPr>
            <p:ph type="sldNum" sz="quarter" idx="5"/>
          </p:nvPr>
        </p:nvSpPr>
        <p:spPr/>
        <p:txBody>
          <a:bodyPr/>
          <a:lstStyle/>
          <a:p>
            <a:fld id="{87FC15C8-BC6B-46ED-B764-1FB719B6FAF4}" type="slidenum">
              <a:rPr lang="en-US" smtClean="0"/>
              <a:t>10</a:t>
            </a:fld>
            <a:endParaRPr lang="en-US"/>
          </a:p>
        </p:txBody>
      </p:sp>
    </p:spTree>
    <p:extLst>
      <p:ext uri="{BB962C8B-B14F-4D97-AF65-F5344CB8AC3E}">
        <p14:creationId xmlns:p14="http://schemas.microsoft.com/office/powerpoint/2010/main" val="360205309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7FC15C8-BC6B-46ED-B764-1FB719B6FAF4}" type="slidenum">
              <a:rPr lang="en-US" smtClean="0"/>
              <a:t>77</a:t>
            </a:fld>
            <a:endParaRPr lang="en-US"/>
          </a:p>
        </p:txBody>
      </p:sp>
    </p:spTree>
    <p:extLst>
      <p:ext uri="{BB962C8B-B14F-4D97-AF65-F5344CB8AC3E}">
        <p14:creationId xmlns:p14="http://schemas.microsoft.com/office/powerpoint/2010/main" val="372932260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7FC15C8-BC6B-46ED-B764-1FB719B6FAF4}" type="slidenum">
              <a:rPr lang="en-US" smtClean="0"/>
              <a:t>78</a:t>
            </a:fld>
            <a:endParaRPr lang="en-US"/>
          </a:p>
        </p:txBody>
      </p:sp>
    </p:spTree>
    <p:extLst>
      <p:ext uri="{BB962C8B-B14F-4D97-AF65-F5344CB8AC3E}">
        <p14:creationId xmlns:p14="http://schemas.microsoft.com/office/powerpoint/2010/main" val="321830175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A5A549-CD78-8FA7-6B0D-ED73DDEB18B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B32A878-6406-6437-147F-936E477BCA2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9B0DB14-83FE-8333-74FB-36D6F1A41F2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6A0B4D1-E16E-A768-D8C6-C24066F9E819}"/>
              </a:ext>
            </a:extLst>
          </p:cNvPr>
          <p:cNvSpPr>
            <a:spLocks noGrp="1"/>
          </p:cNvSpPr>
          <p:nvPr>
            <p:ph type="sldNum" sz="quarter" idx="5"/>
          </p:nvPr>
        </p:nvSpPr>
        <p:spPr/>
        <p:txBody>
          <a:bodyPr/>
          <a:lstStyle/>
          <a:p>
            <a:fld id="{87FC15C8-BC6B-46ED-B764-1FB719B6FAF4}" type="slidenum">
              <a:rPr lang="en-US" smtClean="0"/>
              <a:t>79</a:t>
            </a:fld>
            <a:endParaRPr lang="en-US"/>
          </a:p>
        </p:txBody>
      </p:sp>
    </p:spTree>
    <p:extLst>
      <p:ext uri="{BB962C8B-B14F-4D97-AF65-F5344CB8AC3E}">
        <p14:creationId xmlns:p14="http://schemas.microsoft.com/office/powerpoint/2010/main" val="382251789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gent's thought process:</a:t>
            </a:r>
          </a:p>
          <a:p>
            <a:r>
              <a:rPr lang="en-US"/>
              <a:t>  The User's goal is to check the balance for account ACC12345. (2)</a:t>
            </a:r>
          </a:p>
          <a:p>
            <a:r>
              <a:rPr lang="en-US"/>
              <a:t>  The User has provided the account number ACC12345. (3) The best</a:t>
            </a:r>
          </a:p>
          <a:p>
            <a:r>
              <a:rPr lang="en-US"/>
              <a:t>  action plan is to use the</a:t>
            </a:r>
          </a:p>
          <a:p>
            <a:r>
              <a:rPr lang="en-US"/>
              <a:t>  `POST__</a:t>
            </a:r>
            <a:r>
              <a:rPr lang="en-US" err="1"/>
              <a:t>CitizenBankAPIServices</a:t>
            </a:r>
            <a:r>
              <a:rPr lang="en-US"/>
              <a:t>__</a:t>
            </a:r>
            <a:r>
              <a:rPr lang="en-US" err="1"/>
              <a:t>getAccountBalance</a:t>
            </a:r>
            <a:r>
              <a:rPr lang="en-US"/>
              <a:t>` tool to retrieve</a:t>
            </a:r>
          </a:p>
          <a:p>
            <a:r>
              <a:rPr lang="en-US"/>
              <a:t>  the balance for the provided account number. (4) The next step is to</a:t>
            </a:r>
          </a:p>
          <a:p>
            <a:r>
              <a:rPr lang="en-US"/>
              <a:t>  call the `POST__</a:t>
            </a:r>
            <a:r>
              <a:rPr lang="en-US" err="1"/>
              <a:t>CitizenBankAPIServices</a:t>
            </a:r>
            <a:r>
              <a:rPr lang="en-US"/>
              <a:t>__</a:t>
            </a:r>
            <a:r>
              <a:rPr lang="en-US" err="1"/>
              <a:t>getAccountBalance</a:t>
            </a:r>
            <a:r>
              <a:rPr lang="en-US"/>
              <a:t>` tool with</a:t>
            </a:r>
          </a:p>
          <a:p>
            <a:r>
              <a:rPr lang="en-US"/>
              <a:t>  the provided account number. (5) The available action is</a:t>
            </a:r>
          </a:p>
          <a:p>
            <a:r>
              <a:rPr lang="en-US"/>
              <a:t>  `POST__</a:t>
            </a:r>
            <a:r>
              <a:rPr lang="en-US" err="1"/>
              <a:t>CitizenBankAPIServices</a:t>
            </a:r>
            <a:r>
              <a:rPr lang="en-US"/>
              <a:t>__</a:t>
            </a:r>
            <a:r>
              <a:rPr lang="en-US" err="1"/>
              <a:t>getAccountBalance</a:t>
            </a:r>
            <a:r>
              <a:rPr lang="en-US"/>
              <a:t>`. (6) This action</a:t>
            </a:r>
          </a:p>
          <a:p>
            <a:r>
              <a:rPr lang="en-US"/>
              <a:t>  requires the `</a:t>
            </a:r>
            <a:r>
              <a:rPr lang="en-US" err="1"/>
              <a:t>userAccountId</a:t>
            </a:r>
            <a:r>
              <a:rPr lang="en-US"/>
              <a:t>` parameter, which is already provided by</a:t>
            </a:r>
          </a:p>
          <a:p>
            <a:r>
              <a:rPr lang="en-US"/>
              <a:t>  the User. (7) I have everything I need to proceed.</a:t>
            </a:r>
          </a:p>
          <a:p>
            <a:endParaRPr lang="en-US"/>
          </a:p>
          <a:p>
            <a:r>
              <a:rPr lang="en-US"/>
              <a:t>Invocation Input:</a:t>
            </a:r>
          </a:p>
          <a:p>
            <a:r>
              <a:rPr lang="en-US"/>
              <a:t>  Type: ACTION_GROUP</a:t>
            </a:r>
          </a:p>
          <a:p>
            <a:r>
              <a:rPr lang="en-US"/>
              <a:t>  Action Group: </a:t>
            </a:r>
            <a:r>
              <a:rPr lang="en-US" err="1"/>
              <a:t>CitizenBankAPIServices</a:t>
            </a:r>
            <a:endParaRPr lang="en-US"/>
          </a:p>
          <a:p>
            <a:r>
              <a:rPr lang="en-US"/>
              <a:t>  Function: N/A</a:t>
            </a:r>
          </a:p>
          <a:p>
            <a:r>
              <a:rPr lang="en-US"/>
              <a:t>  Parameters: []</a:t>
            </a:r>
          </a:p>
          <a:p>
            <a:endParaRPr lang="en-US"/>
          </a:p>
        </p:txBody>
      </p:sp>
      <p:sp>
        <p:nvSpPr>
          <p:cNvPr id="4" name="Slide Number Placeholder 3"/>
          <p:cNvSpPr>
            <a:spLocks noGrp="1"/>
          </p:cNvSpPr>
          <p:nvPr>
            <p:ph type="sldNum" sz="quarter" idx="5"/>
          </p:nvPr>
        </p:nvSpPr>
        <p:spPr/>
        <p:txBody>
          <a:bodyPr/>
          <a:lstStyle/>
          <a:p>
            <a:fld id="{87FC15C8-BC6B-46ED-B764-1FB719B6FAF4}" type="slidenum">
              <a:rPr lang="en-US" smtClean="0"/>
              <a:t>80</a:t>
            </a:fld>
            <a:endParaRPr lang="en-US"/>
          </a:p>
        </p:txBody>
      </p:sp>
    </p:spTree>
    <p:extLst>
      <p:ext uri="{BB962C8B-B14F-4D97-AF65-F5344CB8AC3E}">
        <p14:creationId xmlns:p14="http://schemas.microsoft.com/office/powerpoint/2010/main" val="31463943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7FC15C8-BC6B-46ED-B764-1FB719B6FAF4}" type="slidenum">
              <a:rPr lang="en-US" smtClean="0"/>
              <a:t>11</a:t>
            </a:fld>
            <a:endParaRPr lang="en-US"/>
          </a:p>
        </p:txBody>
      </p:sp>
    </p:spTree>
    <p:extLst>
      <p:ext uri="{BB962C8B-B14F-4D97-AF65-F5344CB8AC3E}">
        <p14:creationId xmlns:p14="http://schemas.microsoft.com/office/powerpoint/2010/main" val="9449272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F1FCEF-6408-73AC-6F8C-40D3CA7CB44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B876104-BEDB-C962-1D5C-6B35D4A0B81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74DE5E8-E9CC-1DE1-FD56-93B958839244}"/>
              </a:ext>
            </a:extLst>
          </p:cNvPr>
          <p:cNvSpPr>
            <a:spLocks noGrp="1"/>
          </p:cNvSpPr>
          <p:nvPr>
            <p:ph type="body" idx="1"/>
          </p:nvPr>
        </p:nvSpPr>
        <p:spPr/>
        <p:txBody>
          <a:bodyPr/>
          <a:lstStyle/>
          <a:p>
            <a:r>
              <a:rPr lang="en-US"/>
              <a:t>Businesses that diligently implement agentic AI do experience unprecedented efficiency and effectiveness. </a:t>
            </a:r>
            <a:br>
              <a:rPr lang="en-US"/>
            </a:br>
            <a:endParaRPr lang="en-US"/>
          </a:p>
          <a:p>
            <a:r>
              <a:rPr lang="en-US"/>
              <a:t>On average organizations that use AI agents see,</a:t>
            </a:r>
          </a:p>
          <a:p>
            <a:pPr lvl="1"/>
            <a:r>
              <a:rPr lang="en-US"/>
              <a:t>Processes and workflows run 30-90% faster</a:t>
            </a:r>
          </a:p>
          <a:p>
            <a:pPr lvl="1"/>
            <a:r>
              <a:rPr lang="en-US"/>
              <a:t>Cost decrease by 25-40%</a:t>
            </a:r>
          </a:p>
          <a:p>
            <a:pPr lvl="1"/>
            <a:r>
              <a:rPr lang="en-US"/>
              <a:t>Reduced error rates of 30-60%</a:t>
            </a:r>
          </a:p>
          <a:p>
            <a:pPr lvl="1"/>
            <a:r>
              <a:rPr lang="en-US"/>
              <a:t>Sales increase up to 50%</a:t>
            </a:r>
          </a:p>
          <a:p>
            <a:pPr lvl="1"/>
            <a:r>
              <a:rPr lang="en-US"/>
              <a:t>Improve customer satisfaction by 20-40%</a:t>
            </a:r>
          </a:p>
          <a:p>
            <a:endParaRPr lang="en-US"/>
          </a:p>
        </p:txBody>
      </p:sp>
      <p:sp>
        <p:nvSpPr>
          <p:cNvPr id="4" name="Slide Number Placeholder 3">
            <a:extLst>
              <a:ext uri="{FF2B5EF4-FFF2-40B4-BE49-F238E27FC236}">
                <a16:creationId xmlns:a16="http://schemas.microsoft.com/office/drawing/2014/main" id="{F63B8056-56DE-C607-56F5-F97E1D8340D4}"/>
              </a:ext>
            </a:extLst>
          </p:cNvPr>
          <p:cNvSpPr>
            <a:spLocks noGrp="1"/>
          </p:cNvSpPr>
          <p:nvPr>
            <p:ph type="sldNum" sz="quarter" idx="5"/>
          </p:nvPr>
        </p:nvSpPr>
        <p:spPr/>
        <p:txBody>
          <a:bodyPr/>
          <a:lstStyle/>
          <a:p>
            <a:fld id="{42303641-0553-AB47-8E1F-24956B808EC7}" type="slidenum">
              <a:rPr lang="en-US" smtClean="0"/>
              <a:t>12</a:t>
            </a:fld>
            <a:endParaRPr lang="en-US"/>
          </a:p>
        </p:txBody>
      </p:sp>
    </p:spTree>
    <p:extLst>
      <p:ext uri="{BB962C8B-B14F-4D97-AF65-F5344CB8AC3E}">
        <p14:creationId xmlns:p14="http://schemas.microsoft.com/office/powerpoint/2010/main" val="34733659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7FC15C8-BC6B-46ED-B764-1FB719B6FAF4}" type="slidenum">
              <a:rPr lang="en-US" smtClean="0"/>
              <a:t>13</a:t>
            </a:fld>
            <a:endParaRPr lang="en-US"/>
          </a:p>
        </p:txBody>
      </p:sp>
    </p:spTree>
    <p:extLst>
      <p:ext uri="{BB962C8B-B14F-4D97-AF65-F5344CB8AC3E}">
        <p14:creationId xmlns:p14="http://schemas.microsoft.com/office/powerpoint/2010/main" val="15334301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7FC15C8-BC6B-46ED-B764-1FB719B6FAF4}" type="slidenum">
              <a:rPr lang="en-US" smtClean="0"/>
              <a:t>14</a:t>
            </a:fld>
            <a:endParaRPr lang="en-US"/>
          </a:p>
        </p:txBody>
      </p:sp>
    </p:spTree>
    <p:extLst>
      <p:ext uri="{BB962C8B-B14F-4D97-AF65-F5344CB8AC3E}">
        <p14:creationId xmlns:p14="http://schemas.microsoft.com/office/powerpoint/2010/main" val="2868430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4DF48B-1772-B57A-C2E5-CD7FBBBC618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920D0C5-B929-71B8-5BFD-F5F8BBC47DD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59ED35C-3CE1-E340-ADFE-0BCF80A4497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FA8A87F-2D25-205C-D6D9-3195D310833E}"/>
              </a:ext>
            </a:extLst>
          </p:cNvPr>
          <p:cNvSpPr>
            <a:spLocks noGrp="1"/>
          </p:cNvSpPr>
          <p:nvPr>
            <p:ph type="sldNum" sz="quarter" idx="5"/>
          </p:nvPr>
        </p:nvSpPr>
        <p:spPr/>
        <p:txBody>
          <a:bodyPr/>
          <a:lstStyle/>
          <a:p>
            <a:fld id="{42303641-0553-AB47-8E1F-24956B808EC7}" type="slidenum">
              <a:rPr lang="en-US" smtClean="0"/>
              <a:t>19</a:t>
            </a:fld>
            <a:endParaRPr lang="en-US"/>
          </a:p>
        </p:txBody>
      </p:sp>
    </p:spTree>
    <p:extLst>
      <p:ext uri="{BB962C8B-B14F-4D97-AF65-F5344CB8AC3E}">
        <p14:creationId xmlns:p14="http://schemas.microsoft.com/office/powerpoint/2010/main" val="29876001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24D386-E328-CFDB-E852-A235F981A19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49B25A8-C76D-DD6E-2B63-C3817C37078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152D888-ECAF-5CA5-B487-231D9C938B1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ABA42D5-663E-8BB0-42FF-9B59DFD4529E}"/>
              </a:ext>
            </a:extLst>
          </p:cNvPr>
          <p:cNvSpPr>
            <a:spLocks noGrp="1"/>
          </p:cNvSpPr>
          <p:nvPr>
            <p:ph type="sldNum" sz="quarter" idx="5"/>
          </p:nvPr>
        </p:nvSpPr>
        <p:spPr/>
        <p:txBody>
          <a:bodyPr/>
          <a:lstStyle/>
          <a:p>
            <a:fld id="{42303641-0553-AB47-8E1F-24956B808EC7}" type="slidenum">
              <a:rPr lang="en-US" smtClean="0"/>
              <a:t>20</a:t>
            </a:fld>
            <a:endParaRPr lang="en-US"/>
          </a:p>
        </p:txBody>
      </p:sp>
    </p:spTree>
    <p:extLst>
      <p:ext uri="{BB962C8B-B14F-4D97-AF65-F5344CB8AC3E}">
        <p14:creationId xmlns:p14="http://schemas.microsoft.com/office/powerpoint/2010/main" val="265194366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3.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3.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Bod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425556F-D6E1-4548-BCEF-31BAD4333169}"/>
              </a:ext>
            </a:extLst>
          </p:cNvPr>
          <p:cNvGraphicFramePr>
            <a:graphicFrameLocks noChangeAspect="1"/>
          </p:cNvGraphicFramePr>
          <p:nvPr>
            <p:custDataLst>
              <p:tags r:id="rId1"/>
            </p:custDataLst>
            <p:extLst>
              <p:ext uri="{D42A27DB-BD31-4B8C-83A1-F6EECF244321}">
                <p14:modId xmlns:p14="http://schemas.microsoft.com/office/powerpoint/2010/main" val="41103569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0425556F-D6E1-4548-BCEF-31BAD43331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CFA3F4E2-AFF4-E822-10E6-57C052A36AB0}"/>
              </a:ext>
            </a:extLst>
          </p:cNvPr>
          <p:cNvSpPr>
            <a:spLocks noGrp="1"/>
          </p:cNvSpPr>
          <p:nvPr>
            <p:ph type="title" hasCustomPrompt="1"/>
          </p:nvPr>
        </p:nvSpPr>
        <p:spPr>
          <a:xfrm>
            <a:off x="384048" y="384048"/>
            <a:ext cx="11594895" cy="500124"/>
          </a:xfrm>
          <a:prstGeom prst="rect">
            <a:avLst/>
          </a:prstGeom>
        </p:spPr>
        <p:txBody>
          <a:bodyPr vert="horz" wrap="square" lIns="0" tIns="0" rIns="0" bIns="0" anchor="t">
            <a:noAutofit/>
          </a:bodyPr>
          <a:lstStyle>
            <a:lvl1pPr marL="0" indent="0">
              <a:lnSpc>
                <a:spcPct val="80000"/>
              </a:lnSpc>
              <a:buFont typeface="Arial" panose="020B0604020202020204" pitchFamily="34" charset="0"/>
              <a:buNone/>
              <a:defRPr sz="2800" b="0" i="0" cap="none">
                <a:solidFill>
                  <a:schemeClr val="tx1"/>
                </a:solidFill>
                <a:latin typeface="Graphik-Light" panose="020B0403030202060203" pitchFamily="34" charset="77"/>
              </a:defRPr>
            </a:lvl1pPr>
          </a:lstStyle>
          <a:p>
            <a:r>
              <a:rPr lang="en-US"/>
              <a:t>Click to Edit Master Title Style</a:t>
            </a:r>
          </a:p>
        </p:txBody>
      </p:sp>
      <p:sp>
        <p:nvSpPr>
          <p:cNvPr id="7" name="Text Placeholder 6">
            <a:extLst>
              <a:ext uri="{FF2B5EF4-FFF2-40B4-BE49-F238E27FC236}">
                <a16:creationId xmlns:a16="http://schemas.microsoft.com/office/drawing/2014/main" id="{1ACE1D63-81A5-4C53-82FF-3F747BC19849}"/>
              </a:ext>
            </a:extLst>
          </p:cNvPr>
          <p:cNvSpPr>
            <a:spLocks noGrp="1"/>
          </p:cNvSpPr>
          <p:nvPr>
            <p:ph type="body" sz="quarter" idx="10"/>
          </p:nvPr>
        </p:nvSpPr>
        <p:spPr>
          <a:xfrm>
            <a:off x="384175" y="1231900"/>
            <a:ext cx="11595100" cy="4957763"/>
          </a:xfrm>
          <a:prstGeom prst="rect">
            <a:avLst/>
          </a:prstGeom>
        </p:spPr>
        <p:txBody>
          <a:bodyPr/>
          <a:lstStyle>
            <a:lvl1pPr>
              <a:defRPr>
                <a:latin typeface="Graphik" panose="020B0503030202060203" pitchFamily="34" charset="77"/>
              </a:defRPr>
            </a:lvl1pPr>
            <a:lvl2pPr marL="742937" indent="-285745">
              <a:buFont typeface="Courier New" panose="02070309020205020404" pitchFamily="49" charset="0"/>
              <a:buChar char="o"/>
              <a:defRPr>
                <a:latin typeface="Graphik" panose="020B0503030202060203" pitchFamily="34" charset="77"/>
              </a:defRPr>
            </a:lvl2pPr>
            <a:lvl3pPr>
              <a:defRPr>
                <a:latin typeface="Graphik" panose="020B0503030202060203" pitchFamily="34" charset="77"/>
              </a:defRPr>
            </a:lvl3pPr>
            <a:lvl4pPr>
              <a:defRPr>
                <a:latin typeface="Graphik" panose="020B0503030202060203" pitchFamily="34" charset="77"/>
              </a:defRPr>
            </a:lvl4pPr>
            <a:lvl5pPr marL="2057364" indent="-228596">
              <a:buFont typeface="Wingdings" pitchFamily="2" charset="2"/>
              <a:buChar char="§"/>
              <a:defRPr>
                <a:latin typeface="Graphik" panose="020B0503030202060203"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88216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cSld name="Section Header 2">
    <p:spTree>
      <p:nvGrpSpPr>
        <p:cNvPr id="1" name=""/>
        <p:cNvGrpSpPr/>
        <p:nvPr/>
      </p:nvGrpSpPr>
      <p:grpSpPr>
        <a:xfrm>
          <a:off x="0" y="0"/>
          <a:ext cx="0" cy="0"/>
          <a:chOff x="0" y="0"/>
          <a:chExt cx="0" cy="0"/>
        </a:xfrm>
      </p:grpSpPr>
      <p:sp>
        <p:nvSpPr>
          <p:cNvPr id="5" name="Graphic 10">
            <a:extLst>
              <a:ext uri="{FF2B5EF4-FFF2-40B4-BE49-F238E27FC236}">
                <a16:creationId xmlns:a16="http://schemas.microsoft.com/office/drawing/2014/main" id="{2F872576-133A-574C-B9A2-A8F6F3055BAC}"/>
              </a:ext>
            </a:extLst>
          </p:cNvPr>
          <p:cNvSpPr>
            <a:spLocks noChangeAspect="1"/>
          </p:cNvSpPr>
          <p:nvPr userDrawn="1"/>
        </p:nvSpPr>
        <p:spPr>
          <a:xfrm>
            <a:off x="7627005" y="0"/>
            <a:ext cx="4564996" cy="4267200"/>
          </a:xfrm>
          <a:custGeom>
            <a:avLst/>
            <a:gdLst>
              <a:gd name="connsiteX0" fmla="*/ 691842 w 2972749"/>
              <a:gd name="connsiteY0" fmla="*/ 914400 h 2778823"/>
              <a:gd name="connsiteX1" fmla="*/ 1136283 w 2972749"/>
              <a:gd name="connsiteY1" fmla="*/ 468630 h 2778823"/>
              <a:gd name="connsiteX2" fmla="*/ 1136283 w 2972749"/>
              <a:gd name="connsiteY2" fmla="*/ 930402 h 2778823"/>
              <a:gd name="connsiteX3" fmla="*/ 1605694 w 2972749"/>
              <a:gd name="connsiteY3" fmla="*/ 459486 h 2778823"/>
              <a:gd name="connsiteX4" fmla="*/ 2056117 w 2972749"/>
              <a:gd name="connsiteY4" fmla="*/ 459486 h 2778823"/>
              <a:gd name="connsiteX5" fmla="*/ 2056117 w 2972749"/>
              <a:gd name="connsiteY5" fmla="*/ 931450 h 2778823"/>
              <a:gd name="connsiteX6" fmla="*/ 2526573 w 2972749"/>
              <a:gd name="connsiteY6" fmla="*/ 459486 h 2778823"/>
              <a:gd name="connsiteX7" fmla="*/ 2966836 w 2972749"/>
              <a:gd name="connsiteY7" fmla="*/ 459486 h 2778823"/>
              <a:gd name="connsiteX8" fmla="*/ 2516603 w 2972749"/>
              <a:gd name="connsiteY8" fmla="*/ 911162 h 2778823"/>
              <a:gd name="connsiteX9" fmla="*/ 2516603 w 2972749"/>
              <a:gd name="connsiteY9" fmla="*/ 1135666 h 2778823"/>
              <a:gd name="connsiteX10" fmla="*/ 2300127 w 2972749"/>
              <a:gd name="connsiteY10" fmla="*/ 1352550 h 2778823"/>
              <a:gd name="connsiteX11" fmla="*/ 2300127 w 2972749"/>
              <a:gd name="connsiteY11" fmla="*/ 1121759 h 2778823"/>
              <a:gd name="connsiteX12" fmla="*/ 2045673 w 2972749"/>
              <a:gd name="connsiteY12" fmla="*/ 1377125 h 2778823"/>
              <a:gd name="connsiteX13" fmla="*/ 2512521 w 2972749"/>
              <a:gd name="connsiteY13" fmla="*/ 1377125 h 2778823"/>
              <a:gd name="connsiteX14" fmla="*/ 2056117 w 2972749"/>
              <a:gd name="connsiteY14" fmla="*/ 1834896 h 2778823"/>
              <a:gd name="connsiteX15" fmla="*/ 2056117 w 2972749"/>
              <a:gd name="connsiteY15" fmla="*/ 2316956 h 2778823"/>
              <a:gd name="connsiteX16" fmla="*/ 2526573 w 2972749"/>
              <a:gd name="connsiteY16" fmla="*/ 1844993 h 2778823"/>
              <a:gd name="connsiteX17" fmla="*/ 2966836 w 2972749"/>
              <a:gd name="connsiteY17" fmla="*/ 1844993 h 2778823"/>
              <a:gd name="connsiteX18" fmla="*/ 2516603 w 2972749"/>
              <a:gd name="connsiteY18" fmla="*/ 2296763 h 2778823"/>
              <a:gd name="connsiteX19" fmla="*/ 2516603 w 2972749"/>
              <a:gd name="connsiteY19" fmla="*/ 2778824 h 2778823"/>
              <a:gd name="connsiteX20" fmla="*/ 2637469 w 2972749"/>
              <a:gd name="connsiteY20" fmla="*/ 2657475 h 2778823"/>
              <a:gd name="connsiteX21" fmla="*/ 2871890 w 2972749"/>
              <a:gd name="connsiteY21" fmla="*/ 2657475 h 2778823"/>
              <a:gd name="connsiteX22" fmla="*/ 2871890 w 2972749"/>
              <a:gd name="connsiteY22" fmla="*/ 2422303 h 2778823"/>
              <a:gd name="connsiteX23" fmla="*/ 2972343 w 2972749"/>
              <a:gd name="connsiteY23" fmla="*/ 2321528 h 2778823"/>
              <a:gd name="connsiteX24" fmla="*/ 2972343 w 2972749"/>
              <a:gd name="connsiteY24" fmla="*/ 2301335 h 2778823"/>
              <a:gd name="connsiteX25" fmla="*/ 2530750 w 2972749"/>
              <a:gd name="connsiteY25" fmla="*/ 2744343 h 2778823"/>
              <a:gd name="connsiteX26" fmla="*/ 2530750 w 2972749"/>
              <a:gd name="connsiteY26" fmla="*/ 2302669 h 2778823"/>
              <a:gd name="connsiteX27" fmla="*/ 2972343 w 2972749"/>
              <a:gd name="connsiteY27" fmla="*/ 1859661 h 2778823"/>
              <a:gd name="connsiteX28" fmla="*/ 2972343 w 2972749"/>
              <a:gd name="connsiteY28" fmla="*/ 1831086 h 2778823"/>
              <a:gd name="connsiteX29" fmla="*/ 2540814 w 2972749"/>
              <a:gd name="connsiteY29" fmla="*/ 1831086 h 2778823"/>
              <a:gd name="connsiteX30" fmla="*/ 2972343 w 2972749"/>
              <a:gd name="connsiteY30" fmla="*/ 1397794 h 2778823"/>
              <a:gd name="connsiteX31" fmla="*/ 2972343 w 2972749"/>
              <a:gd name="connsiteY31" fmla="*/ 1377601 h 2778823"/>
              <a:gd name="connsiteX32" fmla="*/ 2070359 w 2972749"/>
              <a:gd name="connsiteY32" fmla="*/ 2282476 h 2778823"/>
              <a:gd name="connsiteX33" fmla="*/ 2070359 w 2972749"/>
              <a:gd name="connsiteY33" fmla="*/ 1840802 h 2778823"/>
              <a:gd name="connsiteX34" fmla="*/ 2516603 w 2972749"/>
              <a:gd name="connsiteY34" fmla="*/ 1393127 h 2778823"/>
              <a:gd name="connsiteX35" fmla="*/ 2516603 w 2972749"/>
              <a:gd name="connsiteY35" fmla="*/ 1393127 h 2778823"/>
              <a:gd name="connsiteX36" fmla="*/ 2972343 w 2972749"/>
              <a:gd name="connsiteY36" fmla="*/ 935927 h 2778823"/>
              <a:gd name="connsiteX37" fmla="*/ 2972343 w 2972749"/>
              <a:gd name="connsiteY37" fmla="*/ 445199 h 2778823"/>
              <a:gd name="connsiteX38" fmla="*/ 2540814 w 2972749"/>
              <a:gd name="connsiteY38" fmla="*/ 445199 h 2778823"/>
              <a:gd name="connsiteX39" fmla="*/ 2972343 w 2972749"/>
              <a:gd name="connsiteY39" fmla="*/ 12287 h 2778823"/>
              <a:gd name="connsiteX40" fmla="*/ 2972343 w 2972749"/>
              <a:gd name="connsiteY40" fmla="*/ 0 h 2778823"/>
              <a:gd name="connsiteX41" fmla="*/ 2964462 w 2972749"/>
              <a:gd name="connsiteY41" fmla="*/ 0 h 2778823"/>
              <a:gd name="connsiteX42" fmla="*/ 2070359 w 2972749"/>
              <a:gd name="connsiteY42" fmla="*/ 896874 h 2778823"/>
              <a:gd name="connsiteX43" fmla="*/ 2070359 w 2972749"/>
              <a:gd name="connsiteY43" fmla="*/ 455295 h 2778823"/>
              <a:gd name="connsiteX44" fmla="*/ 2524199 w 2972749"/>
              <a:gd name="connsiteY44" fmla="*/ 0 h 2778823"/>
              <a:gd name="connsiteX45" fmla="*/ 2504071 w 2972749"/>
              <a:gd name="connsiteY45" fmla="*/ 0 h 2778823"/>
              <a:gd name="connsiteX46" fmla="*/ 2070359 w 2972749"/>
              <a:gd name="connsiteY46" fmla="*/ 435102 h 2778823"/>
              <a:gd name="connsiteX47" fmla="*/ 2070359 w 2972749"/>
              <a:gd name="connsiteY47" fmla="*/ 0 h 2778823"/>
              <a:gd name="connsiteX48" fmla="*/ 1583192 w 2972749"/>
              <a:gd name="connsiteY48" fmla="*/ 0 h 2778823"/>
              <a:gd name="connsiteX49" fmla="*/ 1136283 w 2972749"/>
              <a:gd name="connsiteY49" fmla="*/ 448342 h 2778823"/>
              <a:gd name="connsiteX50" fmla="*/ 1136283 w 2972749"/>
              <a:gd name="connsiteY50" fmla="*/ 448342 h 2778823"/>
              <a:gd name="connsiteX51" fmla="*/ 698773 w 2972749"/>
              <a:gd name="connsiteY51" fmla="*/ 887349 h 2778823"/>
              <a:gd name="connsiteX52" fmla="*/ 698773 w 2972749"/>
              <a:gd name="connsiteY52" fmla="*/ 445770 h 2778823"/>
              <a:gd name="connsiteX53" fmla="*/ 926643 w 2972749"/>
              <a:gd name="connsiteY53" fmla="*/ 217170 h 2778823"/>
              <a:gd name="connsiteX54" fmla="*/ 1143119 w 2972749"/>
              <a:gd name="connsiteY54" fmla="*/ 0 h 2778823"/>
              <a:gd name="connsiteX55" fmla="*/ 1122896 w 2972749"/>
              <a:gd name="connsiteY55" fmla="*/ 0 h 2778823"/>
              <a:gd name="connsiteX56" fmla="*/ 698773 w 2972749"/>
              <a:gd name="connsiteY56" fmla="*/ 425482 h 2778823"/>
              <a:gd name="connsiteX57" fmla="*/ 698773 w 2972749"/>
              <a:gd name="connsiteY57" fmla="*/ 0 h 2778823"/>
              <a:gd name="connsiteX58" fmla="*/ 684152 w 2972749"/>
              <a:gd name="connsiteY58" fmla="*/ 0 h 2778823"/>
              <a:gd name="connsiteX59" fmla="*/ 684152 w 2972749"/>
              <a:gd name="connsiteY59" fmla="*/ 439769 h 2778823"/>
              <a:gd name="connsiteX60" fmla="*/ 440236 w 2972749"/>
              <a:gd name="connsiteY60" fmla="*/ 684943 h 2778823"/>
              <a:gd name="connsiteX61" fmla="*/ 238381 w 2972749"/>
              <a:gd name="connsiteY61" fmla="*/ 684943 h 2778823"/>
              <a:gd name="connsiteX62" fmla="*/ 238381 w 2972749"/>
              <a:gd name="connsiteY62" fmla="*/ 445770 h 2778823"/>
              <a:gd name="connsiteX63" fmla="*/ 682727 w 2972749"/>
              <a:gd name="connsiteY63" fmla="*/ 0 h 2778823"/>
              <a:gd name="connsiteX64" fmla="*/ 662599 w 2972749"/>
              <a:gd name="connsiteY64" fmla="*/ 0 h 2778823"/>
              <a:gd name="connsiteX65" fmla="*/ 224140 w 2972749"/>
              <a:gd name="connsiteY65" fmla="*/ 439769 h 2778823"/>
              <a:gd name="connsiteX66" fmla="*/ 224140 w 2972749"/>
              <a:gd name="connsiteY66" fmla="*/ 689134 h 2778823"/>
              <a:gd name="connsiteX67" fmla="*/ -407 w 2972749"/>
              <a:gd name="connsiteY67" fmla="*/ 914400 h 2778823"/>
              <a:gd name="connsiteX68" fmla="*/ 691842 w 2972749"/>
              <a:gd name="connsiteY68" fmla="*/ 914400 h 2778823"/>
              <a:gd name="connsiteX69" fmla="*/ 224140 w 2972749"/>
              <a:gd name="connsiteY69" fmla="*/ 900113 h 2778823"/>
              <a:gd name="connsiteX70" fmla="*/ 34248 w 2972749"/>
              <a:gd name="connsiteY70" fmla="*/ 900113 h 2778823"/>
              <a:gd name="connsiteX71" fmla="*/ 224140 w 2972749"/>
              <a:gd name="connsiteY71" fmla="*/ 709613 h 2778823"/>
              <a:gd name="connsiteX72" fmla="*/ 684152 w 2972749"/>
              <a:gd name="connsiteY72" fmla="*/ 460058 h 2778823"/>
              <a:gd name="connsiteX73" fmla="*/ 684152 w 2972749"/>
              <a:gd name="connsiteY73" fmla="*/ 897446 h 2778823"/>
              <a:gd name="connsiteX74" fmla="*/ 248446 w 2972749"/>
              <a:gd name="connsiteY74" fmla="*/ 897446 h 2778823"/>
              <a:gd name="connsiteX75" fmla="*/ 684152 w 2972749"/>
              <a:gd name="connsiteY75" fmla="*/ 460058 h 2778823"/>
              <a:gd name="connsiteX76" fmla="*/ 1596295 w 2972749"/>
              <a:gd name="connsiteY76" fmla="*/ 448342 h 2778823"/>
              <a:gd name="connsiteX77" fmla="*/ 1150050 w 2972749"/>
              <a:gd name="connsiteY77" fmla="*/ 896017 h 2778823"/>
              <a:gd name="connsiteX78" fmla="*/ 1150050 w 2972749"/>
              <a:gd name="connsiteY78" fmla="*/ 454438 h 2778823"/>
              <a:gd name="connsiteX79" fmla="*/ 1596295 w 2972749"/>
              <a:gd name="connsiteY79" fmla="*/ 6763 h 2778823"/>
              <a:gd name="connsiteX80" fmla="*/ 2055737 w 2972749"/>
              <a:gd name="connsiteY80" fmla="*/ 445199 h 2778823"/>
              <a:gd name="connsiteX81" fmla="*/ 1620126 w 2972749"/>
              <a:gd name="connsiteY81" fmla="*/ 445199 h 2778823"/>
              <a:gd name="connsiteX82" fmla="*/ 2056117 w 2972749"/>
              <a:gd name="connsiteY82" fmla="*/ 7715 h 2778823"/>
              <a:gd name="connsiteX83" fmla="*/ 2516603 w 2972749"/>
              <a:gd name="connsiteY83" fmla="*/ 1362837 h 2778823"/>
              <a:gd name="connsiteX84" fmla="*/ 2310192 w 2972749"/>
              <a:gd name="connsiteY84" fmla="*/ 1362837 h 2778823"/>
              <a:gd name="connsiteX85" fmla="*/ 2516603 w 2972749"/>
              <a:gd name="connsiteY85" fmla="*/ 1156240 h 2778823"/>
              <a:gd name="connsiteX86" fmla="*/ 1620031 w 2972749"/>
              <a:gd name="connsiteY86" fmla="*/ 964978 h 2778823"/>
              <a:gd name="connsiteX87" fmla="*/ 1620031 w 2972749"/>
              <a:gd name="connsiteY87" fmla="*/ 665988 h 2778823"/>
              <a:gd name="connsiteX88" fmla="*/ 1321902 w 2972749"/>
              <a:gd name="connsiteY88" fmla="*/ 964978 h 2778823"/>
              <a:gd name="connsiteX89" fmla="*/ 1605789 w 2972749"/>
              <a:gd name="connsiteY89" fmla="*/ 950690 h 2778823"/>
              <a:gd name="connsiteX90" fmla="*/ 1355797 w 2972749"/>
              <a:gd name="connsiteY90" fmla="*/ 950690 h 2778823"/>
              <a:gd name="connsiteX91" fmla="*/ 1605125 w 2972749"/>
              <a:gd name="connsiteY91" fmla="*/ 700469 h 2778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2972749" h="2778823">
                <a:moveTo>
                  <a:pt x="691842" y="914400"/>
                </a:moveTo>
                <a:lnTo>
                  <a:pt x="1136283" y="468630"/>
                </a:lnTo>
                <a:lnTo>
                  <a:pt x="1136283" y="930402"/>
                </a:lnTo>
                <a:lnTo>
                  <a:pt x="1605694" y="459486"/>
                </a:lnTo>
                <a:lnTo>
                  <a:pt x="2056117" y="459486"/>
                </a:lnTo>
                <a:lnTo>
                  <a:pt x="2056117" y="931450"/>
                </a:lnTo>
                <a:lnTo>
                  <a:pt x="2526573" y="459486"/>
                </a:lnTo>
                <a:lnTo>
                  <a:pt x="2966836" y="459486"/>
                </a:lnTo>
                <a:lnTo>
                  <a:pt x="2516603" y="911162"/>
                </a:lnTo>
                <a:lnTo>
                  <a:pt x="2516603" y="1135666"/>
                </a:lnTo>
                <a:lnTo>
                  <a:pt x="2300127" y="1352550"/>
                </a:lnTo>
                <a:lnTo>
                  <a:pt x="2300127" y="1121759"/>
                </a:lnTo>
                <a:lnTo>
                  <a:pt x="2045673" y="1377125"/>
                </a:lnTo>
                <a:lnTo>
                  <a:pt x="2512521" y="1377125"/>
                </a:lnTo>
                <a:lnTo>
                  <a:pt x="2056117" y="1834896"/>
                </a:lnTo>
                <a:lnTo>
                  <a:pt x="2056117" y="2316956"/>
                </a:lnTo>
                <a:lnTo>
                  <a:pt x="2526573" y="1844993"/>
                </a:lnTo>
                <a:lnTo>
                  <a:pt x="2966836" y="1844993"/>
                </a:lnTo>
                <a:lnTo>
                  <a:pt x="2516603" y="2296763"/>
                </a:lnTo>
                <a:lnTo>
                  <a:pt x="2516603" y="2778824"/>
                </a:lnTo>
                <a:lnTo>
                  <a:pt x="2637469" y="2657475"/>
                </a:lnTo>
                <a:lnTo>
                  <a:pt x="2871890" y="2657475"/>
                </a:lnTo>
                <a:lnTo>
                  <a:pt x="2871890" y="2422303"/>
                </a:lnTo>
                <a:lnTo>
                  <a:pt x="2972343" y="2321528"/>
                </a:lnTo>
                <a:lnTo>
                  <a:pt x="2972343" y="2301335"/>
                </a:lnTo>
                <a:lnTo>
                  <a:pt x="2530750" y="2744343"/>
                </a:lnTo>
                <a:lnTo>
                  <a:pt x="2530750" y="2302669"/>
                </a:lnTo>
                <a:lnTo>
                  <a:pt x="2972343" y="1859661"/>
                </a:lnTo>
                <a:lnTo>
                  <a:pt x="2972343" y="1831086"/>
                </a:lnTo>
                <a:lnTo>
                  <a:pt x="2540814" y="1831086"/>
                </a:lnTo>
                <a:lnTo>
                  <a:pt x="2972343" y="1397794"/>
                </a:lnTo>
                <a:lnTo>
                  <a:pt x="2972343" y="1377601"/>
                </a:lnTo>
                <a:lnTo>
                  <a:pt x="2070359" y="2282476"/>
                </a:lnTo>
                <a:lnTo>
                  <a:pt x="2070359" y="1840802"/>
                </a:lnTo>
                <a:lnTo>
                  <a:pt x="2516603" y="1393127"/>
                </a:lnTo>
                <a:lnTo>
                  <a:pt x="2516603" y="1393127"/>
                </a:lnTo>
                <a:lnTo>
                  <a:pt x="2972343" y="935927"/>
                </a:lnTo>
                <a:lnTo>
                  <a:pt x="2972343" y="445199"/>
                </a:lnTo>
                <a:lnTo>
                  <a:pt x="2540814" y="445199"/>
                </a:lnTo>
                <a:lnTo>
                  <a:pt x="2972343" y="12287"/>
                </a:lnTo>
                <a:lnTo>
                  <a:pt x="2972343" y="0"/>
                </a:lnTo>
                <a:lnTo>
                  <a:pt x="2964462" y="0"/>
                </a:lnTo>
                <a:lnTo>
                  <a:pt x="2070359" y="896874"/>
                </a:lnTo>
                <a:lnTo>
                  <a:pt x="2070359" y="455295"/>
                </a:lnTo>
                <a:lnTo>
                  <a:pt x="2524199" y="0"/>
                </a:lnTo>
                <a:lnTo>
                  <a:pt x="2504071" y="0"/>
                </a:lnTo>
                <a:lnTo>
                  <a:pt x="2070359" y="435102"/>
                </a:lnTo>
                <a:lnTo>
                  <a:pt x="2070359" y="0"/>
                </a:lnTo>
                <a:lnTo>
                  <a:pt x="1583192" y="0"/>
                </a:lnTo>
                <a:lnTo>
                  <a:pt x="1136283" y="448342"/>
                </a:lnTo>
                <a:lnTo>
                  <a:pt x="1136283" y="448342"/>
                </a:lnTo>
                <a:lnTo>
                  <a:pt x="698773" y="887349"/>
                </a:lnTo>
                <a:lnTo>
                  <a:pt x="698773" y="445770"/>
                </a:lnTo>
                <a:lnTo>
                  <a:pt x="926643" y="217170"/>
                </a:lnTo>
                <a:lnTo>
                  <a:pt x="1143119" y="0"/>
                </a:lnTo>
                <a:lnTo>
                  <a:pt x="1122896" y="0"/>
                </a:lnTo>
                <a:lnTo>
                  <a:pt x="698773" y="425482"/>
                </a:lnTo>
                <a:lnTo>
                  <a:pt x="698773" y="0"/>
                </a:lnTo>
                <a:lnTo>
                  <a:pt x="684152" y="0"/>
                </a:lnTo>
                <a:lnTo>
                  <a:pt x="684152" y="439769"/>
                </a:lnTo>
                <a:lnTo>
                  <a:pt x="440236" y="684943"/>
                </a:lnTo>
                <a:lnTo>
                  <a:pt x="238381" y="684943"/>
                </a:lnTo>
                <a:lnTo>
                  <a:pt x="238381" y="445770"/>
                </a:lnTo>
                <a:lnTo>
                  <a:pt x="682727" y="0"/>
                </a:lnTo>
                <a:lnTo>
                  <a:pt x="662599" y="0"/>
                </a:lnTo>
                <a:lnTo>
                  <a:pt x="224140" y="439769"/>
                </a:lnTo>
                <a:lnTo>
                  <a:pt x="224140" y="689134"/>
                </a:lnTo>
                <a:lnTo>
                  <a:pt x="-407" y="914400"/>
                </a:lnTo>
                <a:lnTo>
                  <a:pt x="691842" y="914400"/>
                </a:lnTo>
                <a:close/>
                <a:moveTo>
                  <a:pt x="224140" y="900113"/>
                </a:moveTo>
                <a:lnTo>
                  <a:pt x="34248" y="900113"/>
                </a:lnTo>
                <a:lnTo>
                  <a:pt x="224140" y="709613"/>
                </a:lnTo>
                <a:close/>
                <a:moveTo>
                  <a:pt x="684152" y="460058"/>
                </a:moveTo>
                <a:lnTo>
                  <a:pt x="684152" y="897446"/>
                </a:lnTo>
                <a:lnTo>
                  <a:pt x="248446" y="897446"/>
                </a:lnTo>
                <a:lnTo>
                  <a:pt x="684152" y="460058"/>
                </a:lnTo>
                <a:close/>
                <a:moveTo>
                  <a:pt x="1596295" y="448342"/>
                </a:moveTo>
                <a:lnTo>
                  <a:pt x="1150050" y="896017"/>
                </a:lnTo>
                <a:lnTo>
                  <a:pt x="1150050" y="454438"/>
                </a:lnTo>
                <a:lnTo>
                  <a:pt x="1596295" y="6763"/>
                </a:lnTo>
                <a:close/>
                <a:moveTo>
                  <a:pt x="2055737" y="445199"/>
                </a:moveTo>
                <a:lnTo>
                  <a:pt x="1620126" y="445199"/>
                </a:lnTo>
                <a:lnTo>
                  <a:pt x="2056117" y="7715"/>
                </a:lnTo>
                <a:close/>
                <a:moveTo>
                  <a:pt x="2516603" y="1362837"/>
                </a:moveTo>
                <a:lnTo>
                  <a:pt x="2310192" y="1362837"/>
                </a:lnTo>
                <a:lnTo>
                  <a:pt x="2516603" y="1156240"/>
                </a:lnTo>
                <a:close/>
                <a:moveTo>
                  <a:pt x="1620031" y="964978"/>
                </a:moveTo>
                <a:lnTo>
                  <a:pt x="1620031" y="665988"/>
                </a:lnTo>
                <a:lnTo>
                  <a:pt x="1321902" y="964978"/>
                </a:lnTo>
                <a:close/>
                <a:moveTo>
                  <a:pt x="1605789" y="950690"/>
                </a:moveTo>
                <a:lnTo>
                  <a:pt x="1355797" y="950690"/>
                </a:lnTo>
                <a:lnTo>
                  <a:pt x="1605125" y="700469"/>
                </a:lnTo>
                <a:close/>
              </a:path>
            </a:pathLst>
          </a:custGeom>
          <a:solidFill>
            <a:schemeClr val="accent1"/>
          </a:solidFill>
          <a:ln w="9495" cap="flat">
            <a:noFill/>
            <a:prstDash val="solid"/>
            <a:miter/>
          </a:ln>
        </p:spPr>
        <p:txBody>
          <a:bodyPr rtlCol="0" anchor="ctr"/>
          <a:lstStyle/>
          <a:p>
            <a:endParaRPr lang="en-US" sz="2400"/>
          </a:p>
        </p:txBody>
      </p:sp>
      <p:sp>
        <p:nvSpPr>
          <p:cNvPr id="2" name="Title 1"/>
          <p:cNvSpPr>
            <a:spLocks noGrp="1"/>
          </p:cNvSpPr>
          <p:nvPr>
            <p:ph type="title"/>
          </p:nvPr>
        </p:nvSpPr>
        <p:spPr>
          <a:xfrm>
            <a:off x="461215" y="1840523"/>
            <a:ext cx="9997440" cy="2380579"/>
          </a:xfrm>
        </p:spPr>
        <p:txBody>
          <a:bodyPr anchor="b"/>
          <a:lstStyle>
            <a:lvl1pPr>
              <a:defRPr sz="5333">
                <a:solidFill>
                  <a:schemeClr val="tx1"/>
                </a:solidFill>
              </a:defRPr>
            </a:lvl1pPr>
          </a:lstStyle>
          <a:p>
            <a:r>
              <a:rPr lang="en-US"/>
              <a:t>Click to edit Master title style</a:t>
            </a:r>
          </a:p>
        </p:txBody>
      </p:sp>
      <p:sp>
        <p:nvSpPr>
          <p:cNvPr id="3" name="Text Placeholder 2"/>
          <p:cNvSpPr>
            <a:spLocks noGrp="1"/>
          </p:cNvSpPr>
          <p:nvPr>
            <p:ph type="body" idx="1"/>
          </p:nvPr>
        </p:nvSpPr>
        <p:spPr>
          <a:xfrm>
            <a:off x="480721" y="4238336"/>
            <a:ext cx="9997440" cy="1500187"/>
          </a:xfrm>
        </p:spPr>
        <p:txBody>
          <a:bodyPr/>
          <a:lstStyle>
            <a:lvl1pPr marL="0" indent="0">
              <a:spcBef>
                <a:spcPts val="0"/>
              </a:spcBef>
              <a:buNone/>
              <a:defRPr sz="2933">
                <a:solidFill>
                  <a:schemeClr val="tx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39662357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label with Title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425556F-D6E1-4548-BCEF-31BAD4333169}"/>
              </a:ext>
            </a:extLst>
          </p:cNvPr>
          <p:cNvGraphicFramePr>
            <a:graphicFrameLocks noChangeAspect="1"/>
          </p:cNvGraphicFramePr>
          <p:nvPr>
            <p:custDataLst>
              <p:tags r:id="rId1"/>
            </p:custDataLst>
            <p:extLst>
              <p:ext uri="{D42A27DB-BD31-4B8C-83A1-F6EECF244321}">
                <p14:modId xmlns:p14="http://schemas.microsoft.com/office/powerpoint/2010/main" val="41103569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0425556F-D6E1-4548-BCEF-31BAD43331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CFA3F4E2-AFF4-E822-10E6-57C052A36AB0}"/>
              </a:ext>
            </a:extLst>
          </p:cNvPr>
          <p:cNvSpPr>
            <a:spLocks noGrp="1"/>
          </p:cNvSpPr>
          <p:nvPr>
            <p:ph type="title" hasCustomPrompt="1"/>
          </p:nvPr>
        </p:nvSpPr>
        <p:spPr>
          <a:xfrm>
            <a:off x="384048" y="384048"/>
            <a:ext cx="11594895" cy="320601"/>
          </a:xfrm>
          <a:prstGeom prst="rect">
            <a:avLst/>
          </a:prstGeom>
        </p:spPr>
        <p:txBody>
          <a:bodyPr vert="horz" wrap="square" lIns="0" tIns="0" rIns="0" bIns="0" anchor="t">
            <a:noAutofit/>
          </a:bodyPr>
          <a:lstStyle>
            <a:lvl1pPr marL="0" indent="0">
              <a:lnSpc>
                <a:spcPct val="80000"/>
              </a:lnSpc>
              <a:buFont typeface="Arial" panose="020B0604020202020204" pitchFamily="34" charset="0"/>
              <a:buNone/>
              <a:defRPr sz="2800" b="0" i="0" cap="none">
                <a:solidFill>
                  <a:schemeClr val="tx1"/>
                </a:solidFill>
                <a:latin typeface="Graphik-Light" panose="020B0403030202060203" pitchFamily="34" charset="77"/>
              </a:defRPr>
            </a:lvl1pPr>
          </a:lstStyle>
          <a:p>
            <a:r>
              <a:rPr lang="en-US"/>
              <a:t>Click to Edit Master Title Style</a:t>
            </a:r>
          </a:p>
        </p:txBody>
      </p:sp>
    </p:spTree>
    <p:extLst>
      <p:ext uri="{BB962C8B-B14F-4D97-AF65-F5344CB8AC3E}">
        <p14:creationId xmlns:p14="http://schemas.microsoft.com/office/powerpoint/2010/main" val="21876362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and Content -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224449"/>
            <a:ext cx="11430000" cy="990600"/>
          </a:xfrm>
        </p:spPr>
        <p:txBody>
          <a:bodyPr/>
          <a:lstStyle>
            <a:lvl1pPr>
              <a:defRPr sz="3600"/>
            </a:lvl1pPr>
          </a:lstStyle>
          <a:p>
            <a:r>
              <a:rPr lang="en-GB"/>
              <a:t>Place headline here (36pt, min 30pt)</a:t>
            </a:r>
            <a:endParaRPr lang="en-US"/>
          </a:p>
        </p:txBody>
      </p:sp>
      <p:sp>
        <p:nvSpPr>
          <p:cNvPr id="8" name="Content Placeholder 7">
            <a:extLst>
              <a:ext uri="{FF2B5EF4-FFF2-40B4-BE49-F238E27FC236}">
                <a16:creationId xmlns:a16="http://schemas.microsoft.com/office/drawing/2014/main" id="{2A49B96C-8E74-4C8B-BDE4-9B82801CA0EE}"/>
              </a:ext>
            </a:extLst>
          </p:cNvPr>
          <p:cNvSpPr>
            <a:spLocks noGrp="1"/>
          </p:cNvSpPr>
          <p:nvPr>
            <p:ph sz="quarter" idx="10" hasCustomPrompt="1"/>
          </p:nvPr>
        </p:nvSpPr>
        <p:spPr>
          <a:xfrm>
            <a:off x="381001" y="1371601"/>
            <a:ext cx="11430000" cy="4940300"/>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21864079"/>
      </p:ext>
    </p:extLst>
  </p:cSld>
  <p:clrMapOvr>
    <a:masterClrMapping/>
  </p:clrMapOvr>
  <p:extLst>
    <p:ext uri="{DCECCB84-F9BA-43D5-87BE-67443E8EF086}">
      <p15:sldGuideLst xmlns:p15="http://schemas.microsoft.com/office/powerpoint/2012/main">
        <p15:guide id="1" orient="horz" pos="864">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itle and Content">
    <p:bg>
      <p:bgRef idx="1002">
        <a:schemeClr val="bg1"/>
      </p:bgRef>
    </p:bg>
    <p:spTree>
      <p:nvGrpSpPr>
        <p:cNvPr id="1" name=""/>
        <p:cNvGrpSpPr/>
        <p:nvPr/>
      </p:nvGrpSpPr>
      <p:grpSpPr>
        <a:xfrm>
          <a:off x="0" y="0"/>
          <a:ext cx="0" cy="0"/>
          <a:chOff x="0" y="0"/>
          <a:chExt cx="0" cy="0"/>
        </a:xfrm>
      </p:grpSpPr>
      <p:sp>
        <p:nvSpPr>
          <p:cNvPr id="9" name="Text Placeholder 2">
            <a:extLst>
              <a:ext uri="{FF2B5EF4-FFF2-40B4-BE49-F238E27FC236}">
                <a16:creationId xmlns:a16="http://schemas.microsoft.com/office/drawing/2014/main" id="{8030AA49-C962-67B1-CEAD-AE4FA1869565}"/>
              </a:ext>
            </a:extLst>
          </p:cNvPr>
          <p:cNvSpPr>
            <a:spLocks noGrp="1"/>
          </p:cNvSpPr>
          <p:nvPr>
            <p:ph type="body" sz="quarter" idx="10"/>
          </p:nvPr>
        </p:nvSpPr>
        <p:spPr>
          <a:xfrm>
            <a:off x="420521" y="376025"/>
            <a:ext cx="11346099" cy="604909"/>
          </a:xfrm>
          <a:prstGeom prst="rect">
            <a:avLst/>
          </a:prstGeom>
        </p:spPr>
        <p:txBody>
          <a:bodyPr lIns="0" tIns="0" rIns="0" bIns="0" anchor="t"/>
          <a:lstStyle>
            <a:lvl1pPr algn="l">
              <a:lnSpc>
                <a:spcPct val="90000"/>
              </a:lnSpc>
              <a:spcAft>
                <a:spcPts val="0"/>
              </a:spcAft>
              <a:defRPr sz="3000">
                <a:solidFill>
                  <a:schemeClr val="tx1"/>
                </a:solidFill>
                <a:latin typeface="+mj-lt"/>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stStyle>
          <a:p>
            <a:pPr lvl="0"/>
            <a:r>
              <a:rPr lang="en-US"/>
              <a:t>Click to edit Master text styles</a:t>
            </a:r>
          </a:p>
        </p:txBody>
      </p:sp>
      <p:sp>
        <p:nvSpPr>
          <p:cNvPr id="13" name="Slide Number Placeholder 6">
            <a:extLst>
              <a:ext uri="{FF2B5EF4-FFF2-40B4-BE49-F238E27FC236}">
                <a16:creationId xmlns:a16="http://schemas.microsoft.com/office/drawing/2014/main" id="{65E2B2BE-34EA-4351-C96A-158A5A36474D}"/>
              </a:ext>
            </a:extLst>
          </p:cNvPr>
          <p:cNvSpPr txBox="1">
            <a:spLocks/>
          </p:cNvSpPr>
          <p:nvPr userDrawn="1"/>
        </p:nvSpPr>
        <p:spPr>
          <a:xfrm rot="10800000" flipV="1">
            <a:off x="11509845" y="6525267"/>
            <a:ext cx="425238" cy="138499"/>
          </a:xfrm>
          <a:prstGeom prst="rect">
            <a:avLst/>
          </a:prstGeom>
        </p:spPr>
        <p:txBody>
          <a:bodyPr wrap="square" lIns="0" tIns="0" rIns="0" bIns="0" anchor="ctr">
            <a:spAutoFit/>
          </a:bodyPr>
          <a:lstStyle>
            <a:defPPr>
              <a:defRPr lang="en-US"/>
            </a:defPPr>
            <a:lvl1pPr marL="0" algn="l" defTabSz="914400" rtl="0" eaLnBrk="1" latinLnBrk="0" hangingPunct="1">
              <a:defRPr sz="635" b="0" i="0" kern="1200">
                <a:solidFill>
                  <a:srgbClr val="A29F9D"/>
                </a:solidFill>
                <a:latin typeface="Graphik"/>
                <a:ea typeface="+mn-ea"/>
                <a:cs typeface="Graphik"/>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A769226-AE33-44F8-B153-C6D472D17CF4}" type="slidenum">
              <a:rPr kumimoji="0" lang="en-GB" sz="900" b="0" i="0" u="none" strike="noStrike" kern="1200" cap="none" spc="0" normalizeH="0" baseline="0" noProof="0" smtClean="0">
                <a:ln>
                  <a:noFill/>
                </a:ln>
                <a:solidFill>
                  <a:srgbClr val="000000">
                    <a:lumMod val="50000"/>
                    <a:lumOff val="50000"/>
                  </a:srgbClr>
                </a:solidFill>
                <a:effectLst/>
                <a:uLnTx/>
                <a:uFillTx/>
                <a:latin typeface="Graphik Medium" panose="020B0503030202060203" pitchFamily="34" charset="77"/>
                <a:ea typeface="+mn-ea"/>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900" b="0" i="0" u="none" strike="noStrike" kern="1200" cap="none" spc="0" normalizeH="0" baseline="0" noProof="0">
              <a:ln>
                <a:noFill/>
              </a:ln>
              <a:solidFill>
                <a:srgbClr val="000000">
                  <a:lumMod val="50000"/>
                  <a:lumOff val="50000"/>
                </a:srgbClr>
              </a:solidFill>
              <a:effectLst/>
              <a:uLnTx/>
              <a:uFillTx/>
              <a:latin typeface="Graphik Medium" panose="020B0503030202060203" pitchFamily="34" charset="77"/>
              <a:ea typeface="+mn-ea"/>
            </a:endParaRPr>
          </a:p>
        </p:txBody>
      </p:sp>
      <p:sp>
        <p:nvSpPr>
          <p:cNvPr id="7" name="Content Placeholder 6">
            <a:extLst>
              <a:ext uri="{FF2B5EF4-FFF2-40B4-BE49-F238E27FC236}">
                <a16:creationId xmlns:a16="http://schemas.microsoft.com/office/drawing/2014/main" id="{A0964535-8A19-C4C7-016C-26AD778236C2}"/>
              </a:ext>
            </a:extLst>
          </p:cNvPr>
          <p:cNvSpPr>
            <a:spLocks noGrp="1"/>
          </p:cNvSpPr>
          <p:nvPr>
            <p:ph sz="quarter" idx="11"/>
          </p:nvPr>
        </p:nvSpPr>
        <p:spPr>
          <a:xfrm>
            <a:off x="420688" y="1336674"/>
            <a:ext cx="11345932" cy="501388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87633954"/>
      </p:ext>
    </p:extLst>
  </p:cSld>
  <p:clrMapOvr>
    <a:overrideClrMapping bg1="dk1" tx1="lt1" bg2="dk2" tx2="lt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BCAD085-E8A6-8845-BD4E-CB4CCA059FC4}" type="datetimeFigureOut">
              <a:rPr lang="en-US" smtClean="0"/>
              <a:t>8/21/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305551548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png"/><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3C391DB-98A9-EDBD-B4D7-F7A02C58EB68}"/>
              </a:ext>
            </a:extLst>
          </p:cNvPr>
          <p:cNvSpPr/>
          <p:nvPr userDrawn="1"/>
        </p:nvSpPr>
        <p:spPr>
          <a:xfrm>
            <a:off x="0" y="0"/>
            <a:ext cx="12192000" cy="685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D60FC6EC-B8A2-2C77-CDA0-E07CED5306F6}"/>
              </a:ext>
            </a:extLst>
          </p:cNvPr>
          <p:cNvSpPr/>
          <p:nvPr userDrawn="1"/>
        </p:nvSpPr>
        <p:spPr>
          <a:xfrm>
            <a:off x="91053" y="89646"/>
            <a:ext cx="12009895" cy="667870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aphicFrame>
        <p:nvGraphicFramePr>
          <p:cNvPr id="5" name="Object 4" hidden="1">
            <a:extLst>
              <a:ext uri="{FF2B5EF4-FFF2-40B4-BE49-F238E27FC236}">
                <a16:creationId xmlns:a16="http://schemas.microsoft.com/office/drawing/2014/main" id="{226DEAE9-B870-A1A9-3C1B-D2FDC9CE9591}"/>
              </a:ext>
            </a:extLst>
          </p:cNvPr>
          <p:cNvGraphicFramePr>
            <a:graphicFrameLocks noChangeAspect="1"/>
          </p:cNvGraphicFramePr>
          <p:nvPr userDrawn="1">
            <p:custDataLst>
              <p:tags r:id="rId8"/>
            </p:custDataLst>
            <p:extLst>
              <p:ext uri="{D42A27DB-BD31-4B8C-83A1-F6EECF244321}">
                <p14:modId xmlns:p14="http://schemas.microsoft.com/office/powerpoint/2010/main" val="29689999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95" imgH="394" progId="TCLayout.ActiveDocument.1">
                  <p:embed/>
                </p:oleObj>
              </mc:Choice>
              <mc:Fallback>
                <p:oleObj name="think-cell Slide" r:id="rId9" imgW="395" imgH="394" progId="TCLayout.ActiveDocument.1">
                  <p:embed/>
                  <p:pic>
                    <p:nvPicPr>
                      <p:cNvPr id="5" name="Object 4" hidden="1">
                        <a:extLst>
                          <a:ext uri="{FF2B5EF4-FFF2-40B4-BE49-F238E27FC236}">
                            <a16:creationId xmlns:a16="http://schemas.microsoft.com/office/drawing/2014/main" id="{226DEAE9-B870-A1A9-3C1B-D2FDC9CE959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7" name="Slide Number Placeholder 5">
            <a:extLst>
              <a:ext uri="{FF2B5EF4-FFF2-40B4-BE49-F238E27FC236}">
                <a16:creationId xmlns:a16="http://schemas.microsoft.com/office/drawing/2014/main" id="{3BEAA649-E3CC-424E-9822-D3493F630A1A}"/>
              </a:ext>
            </a:extLst>
          </p:cNvPr>
          <p:cNvSpPr txBox="1">
            <a:spLocks/>
          </p:cNvSpPr>
          <p:nvPr userDrawn="1"/>
        </p:nvSpPr>
        <p:spPr>
          <a:xfrm>
            <a:off x="11913109" y="6553200"/>
            <a:ext cx="164592" cy="182880"/>
          </a:xfrm>
          <a:prstGeom prst="rect">
            <a:avLst/>
          </a:prstGeom>
        </p:spPr>
        <p:txBody>
          <a:bodyPr vert="horz" lIns="0" tIns="0" rIns="0" bIns="0" rtlCol="0" anchor="ctr"/>
          <a:lstStyle>
            <a:defPPr>
              <a:defRPr lang="en-US"/>
            </a:defPPr>
            <a:lvl1pPr algn="ctr">
              <a:defRPr sz="901" b="1" i="0">
                <a:solidFill>
                  <a:schemeClr val="bg1"/>
                </a:solidFill>
                <a:latin typeface="Trebuchet MS"/>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fld id="{AA3D0CA1-ACE4-45CA-A74F-6D47365CB5BA}" type="slidenum">
              <a:rPr lang="en-US" smtClean="0"/>
              <a:pPr lvl="0"/>
              <a:t>‹#›</a:t>
            </a:fld>
            <a:endParaRPr lang="en-US"/>
          </a:p>
        </p:txBody>
      </p:sp>
      <p:sp>
        <p:nvSpPr>
          <p:cNvPr id="4" name="object 3">
            <a:extLst>
              <a:ext uri="{FF2B5EF4-FFF2-40B4-BE49-F238E27FC236}">
                <a16:creationId xmlns:a16="http://schemas.microsoft.com/office/drawing/2014/main" id="{DD847A31-6A93-B877-C615-2F40A675B3CD}"/>
              </a:ext>
            </a:extLst>
          </p:cNvPr>
          <p:cNvSpPr/>
          <p:nvPr userDrawn="1"/>
        </p:nvSpPr>
        <p:spPr>
          <a:xfrm>
            <a:off x="10620587" y="6492240"/>
            <a:ext cx="1571414" cy="304800"/>
          </a:xfrm>
          <a:custGeom>
            <a:avLst/>
            <a:gdLst/>
            <a:ahLst/>
            <a:cxnLst/>
            <a:rect l="l" t="t" r="r" b="b"/>
            <a:pathLst>
              <a:path w="685800" h="304800">
                <a:moveTo>
                  <a:pt x="685800" y="0"/>
                </a:moveTo>
                <a:lnTo>
                  <a:pt x="0" y="0"/>
                </a:lnTo>
                <a:lnTo>
                  <a:pt x="0" y="304800"/>
                </a:lnTo>
                <a:lnTo>
                  <a:pt x="685800" y="304800"/>
                </a:lnTo>
                <a:lnTo>
                  <a:pt x="685800" y="0"/>
                </a:lnTo>
                <a:close/>
              </a:path>
            </a:pathLst>
          </a:custGeom>
          <a:solidFill>
            <a:schemeClr val="accent1"/>
          </a:solidFill>
          <a:ln>
            <a:noFill/>
          </a:ln>
        </p:spPr>
        <p:txBody>
          <a:bodyPr wrap="square" lIns="0" tIns="0" rIns="0" bIns="0" rtlCol="0"/>
          <a:lstStyle/>
          <a:p>
            <a:endParaRPr sz="1800">
              <a:solidFill>
                <a:schemeClr val="bg1"/>
              </a:solidFill>
            </a:endParaRPr>
          </a:p>
        </p:txBody>
      </p:sp>
      <p:sp>
        <p:nvSpPr>
          <p:cNvPr id="6" name="object 8">
            <a:extLst>
              <a:ext uri="{FF2B5EF4-FFF2-40B4-BE49-F238E27FC236}">
                <a16:creationId xmlns:a16="http://schemas.microsoft.com/office/drawing/2014/main" id="{F0458B14-9F40-BB28-8B27-45F42512C69D}"/>
              </a:ext>
            </a:extLst>
          </p:cNvPr>
          <p:cNvSpPr/>
          <p:nvPr userDrawn="1"/>
        </p:nvSpPr>
        <p:spPr>
          <a:xfrm>
            <a:off x="11825120" y="6549390"/>
            <a:ext cx="0" cy="190500"/>
          </a:xfrm>
          <a:custGeom>
            <a:avLst/>
            <a:gdLst/>
            <a:ahLst/>
            <a:cxnLst/>
            <a:rect l="l" t="t" r="r" b="b"/>
            <a:pathLst>
              <a:path h="190500">
                <a:moveTo>
                  <a:pt x="0" y="190501"/>
                </a:moveTo>
                <a:lnTo>
                  <a:pt x="1" y="0"/>
                </a:lnTo>
              </a:path>
            </a:pathLst>
          </a:custGeom>
          <a:ln w="12700">
            <a:solidFill>
              <a:srgbClr val="FFFFFF"/>
            </a:solidFill>
          </a:ln>
        </p:spPr>
        <p:txBody>
          <a:bodyPr wrap="square" lIns="0" tIns="0" rIns="0" bIns="0" rtlCol="0"/>
          <a:lstStyle/>
          <a:p>
            <a:pPr lvl="0"/>
            <a:endParaRPr>
              <a:solidFill>
                <a:schemeClr val="bg1"/>
              </a:solidFill>
            </a:endParaRPr>
          </a:p>
        </p:txBody>
      </p:sp>
      <p:sp>
        <p:nvSpPr>
          <p:cNvPr id="8" name="Slide Number Placeholder 5">
            <a:extLst>
              <a:ext uri="{FF2B5EF4-FFF2-40B4-BE49-F238E27FC236}">
                <a16:creationId xmlns:a16="http://schemas.microsoft.com/office/drawing/2014/main" id="{4456F346-CA2C-493E-A81F-033EBCA20A50}"/>
              </a:ext>
            </a:extLst>
          </p:cNvPr>
          <p:cNvSpPr txBox="1">
            <a:spLocks/>
          </p:cNvSpPr>
          <p:nvPr userDrawn="1"/>
        </p:nvSpPr>
        <p:spPr>
          <a:xfrm>
            <a:off x="11913109" y="6553200"/>
            <a:ext cx="164592" cy="182880"/>
          </a:xfrm>
          <a:prstGeom prst="rect">
            <a:avLst/>
          </a:prstGeom>
        </p:spPr>
        <p:txBody>
          <a:bodyPr vert="horz" lIns="0" tIns="0" rIns="0" bIns="0" rtlCol="0" anchor="ctr"/>
          <a:lstStyle>
            <a:defPPr>
              <a:defRPr lang="en-US"/>
            </a:defPPr>
            <a:lvl1pPr algn="ctr">
              <a:defRPr sz="901" b="1" i="0">
                <a:solidFill>
                  <a:schemeClr val="bg1"/>
                </a:solidFill>
                <a:latin typeface="Trebuchet MS"/>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fld id="{AA3D0CA1-ACE4-45CA-A74F-6D47365CB5BA}" type="slidenum">
              <a:rPr lang="en-US" b="0" i="0" smtClean="0">
                <a:latin typeface="Graphik-Light" panose="020B0403030202060203" pitchFamily="34" charset="77"/>
              </a:rPr>
              <a:pPr lvl="0"/>
              <a:t>‹#›</a:t>
            </a:fld>
            <a:endParaRPr lang="en-US" b="0" i="0">
              <a:latin typeface="Graphik-Light" panose="020B0403030202060203" pitchFamily="34" charset="77"/>
            </a:endParaRPr>
          </a:p>
        </p:txBody>
      </p:sp>
      <p:sp>
        <p:nvSpPr>
          <p:cNvPr id="3" name="Footer Placeholder 4">
            <a:extLst>
              <a:ext uri="{FF2B5EF4-FFF2-40B4-BE49-F238E27FC236}">
                <a16:creationId xmlns:a16="http://schemas.microsoft.com/office/drawing/2014/main" id="{FBB37BDC-F0AC-005B-7D91-6A5E7F6EC8B7}"/>
              </a:ext>
            </a:extLst>
          </p:cNvPr>
          <p:cNvSpPr txBox="1">
            <a:spLocks/>
          </p:cNvSpPr>
          <p:nvPr userDrawn="1"/>
        </p:nvSpPr>
        <p:spPr>
          <a:xfrm>
            <a:off x="7900426" y="6549612"/>
            <a:ext cx="2616464" cy="190056"/>
          </a:xfrm>
          <a:prstGeom prst="rect">
            <a:avLst/>
          </a:prstGeom>
        </p:spPr>
        <p:txBody>
          <a:bodyPr vert="horz" lIns="0" tIns="0" rIns="0" bIns="0" rtlCol="0" anchor="ctr" anchorCtr="0"/>
          <a:lstStyle>
            <a:defPPr>
              <a:defRPr lang="en-US"/>
            </a:defPPr>
            <a:lvl1pPr marL="0" algn="l" defTabSz="914400" rtl="0" eaLnBrk="1" latinLnBrk="0" hangingPunct="1">
              <a:defRPr sz="1000" kern="1200">
                <a:solidFill>
                  <a:schemeClr val="bg1">
                    <a:lumMod val="6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900">
                <a:solidFill>
                  <a:schemeClr val="bg2">
                    <a:lumMod val="10000"/>
                  </a:schemeClr>
                </a:solidFill>
                <a:latin typeface="+mj-lt"/>
              </a:rPr>
              <a:t>Copyright © 2025 Accenture. All rights reserved.</a:t>
            </a:r>
          </a:p>
        </p:txBody>
      </p:sp>
      <p:pic>
        <p:nvPicPr>
          <p:cNvPr id="2" name="Picture 1">
            <a:extLst>
              <a:ext uri="{FF2B5EF4-FFF2-40B4-BE49-F238E27FC236}">
                <a16:creationId xmlns:a16="http://schemas.microsoft.com/office/drawing/2014/main" id="{5C98F949-158B-D692-F01F-48DD1557B975}"/>
              </a:ext>
            </a:extLst>
          </p:cNvPr>
          <p:cNvPicPr>
            <a:picLocks noChangeAspect="1"/>
          </p:cNvPicPr>
          <p:nvPr userDrawn="1"/>
        </p:nvPicPr>
        <p:blipFill rotWithShape="1">
          <a:blip r:embed="rId11" cstate="print">
            <a:extLst>
              <a:ext uri="{28A0092B-C50C-407E-A947-70E740481C1C}">
                <a14:useLocalDpi xmlns:a14="http://schemas.microsoft.com/office/drawing/2010/main" val="0"/>
              </a:ext>
            </a:extLst>
          </a:blip>
          <a:srcRect r="83783"/>
          <a:stretch/>
        </p:blipFill>
        <p:spPr>
          <a:xfrm>
            <a:off x="11562238" y="6557772"/>
            <a:ext cx="174894" cy="173736"/>
          </a:xfrm>
          <a:prstGeom prst="rect">
            <a:avLst/>
          </a:prstGeom>
        </p:spPr>
      </p:pic>
      <p:grpSp>
        <p:nvGrpSpPr>
          <p:cNvPr id="11" name="Graphic 25">
            <a:extLst>
              <a:ext uri="{FF2B5EF4-FFF2-40B4-BE49-F238E27FC236}">
                <a16:creationId xmlns:a16="http://schemas.microsoft.com/office/drawing/2014/main" id="{1E9E1EA2-A8A7-EE7A-6587-91F51437BB84}"/>
              </a:ext>
            </a:extLst>
          </p:cNvPr>
          <p:cNvGrpSpPr/>
          <p:nvPr userDrawn="1"/>
        </p:nvGrpSpPr>
        <p:grpSpPr>
          <a:xfrm>
            <a:off x="10742508" y="6551838"/>
            <a:ext cx="717883" cy="187830"/>
            <a:chOff x="836781" y="794778"/>
            <a:chExt cx="1043539" cy="273045"/>
          </a:xfrm>
          <a:solidFill>
            <a:schemeClr val="bg1"/>
          </a:solidFill>
        </p:grpSpPr>
        <p:sp>
          <p:nvSpPr>
            <p:cNvPr id="12" name="Freeform 11">
              <a:extLst>
                <a:ext uri="{FF2B5EF4-FFF2-40B4-BE49-F238E27FC236}">
                  <a16:creationId xmlns:a16="http://schemas.microsoft.com/office/drawing/2014/main" id="{C599CBCB-00CA-4B89-206E-0C348B8155AF}"/>
                </a:ext>
              </a:extLst>
            </p:cNvPr>
            <p:cNvSpPr/>
            <p:nvPr/>
          </p:nvSpPr>
          <p:spPr>
            <a:xfrm>
              <a:off x="1444128" y="794778"/>
              <a:ext cx="102821" cy="107948"/>
            </a:xfrm>
            <a:custGeom>
              <a:avLst/>
              <a:gdLst>
                <a:gd name="connsiteX0" fmla="*/ 0 w 102821"/>
                <a:gd name="connsiteY0" fmla="*/ 76199 h 107948"/>
                <a:gd name="connsiteX1" fmla="*/ 60032 w 102821"/>
                <a:gd name="connsiteY1" fmla="*/ 53974 h 107948"/>
                <a:gd name="connsiteX2" fmla="*/ 0 w 102821"/>
                <a:gd name="connsiteY2" fmla="*/ 31114 h 107948"/>
                <a:gd name="connsiteX3" fmla="*/ 0 w 102821"/>
                <a:gd name="connsiteY3" fmla="*/ 0 h 107948"/>
                <a:gd name="connsiteX4" fmla="*/ 102821 w 102821"/>
                <a:gd name="connsiteY4" fmla="*/ 41274 h 107948"/>
                <a:gd name="connsiteX5" fmla="*/ 102821 w 102821"/>
                <a:gd name="connsiteY5" fmla="*/ 66674 h 107948"/>
                <a:gd name="connsiteX6" fmla="*/ 0 w 102821"/>
                <a:gd name="connsiteY6" fmla="*/ 107948 h 107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821" h="107948">
                  <a:moveTo>
                    <a:pt x="0" y="76199"/>
                  </a:moveTo>
                  <a:lnTo>
                    <a:pt x="60032" y="53974"/>
                  </a:lnTo>
                  <a:lnTo>
                    <a:pt x="0" y="31114"/>
                  </a:lnTo>
                  <a:lnTo>
                    <a:pt x="0" y="0"/>
                  </a:lnTo>
                  <a:lnTo>
                    <a:pt x="102821" y="41274"/>
                  </a:lnTo>
                  <a:lnTo>
                    <a:pt x="102821" y="66674"/>
                  </a:lnTo>
                  <a:lnTo>
                    <a:pt x="0" y="107948"/>
                  </a:lnTo>
                  <a:close/>
                </a:path>
              </a:pathLst>
            </a:custGeom>
            <a:grpFill/>
            <a:ln w="6369" cap="flat">
              <a:noFill/>
              <a:prstDash val="solid"/>
              <a:miter/>
            </a:ln>
          </p:spPr>
          <p:txBody>
            <a:bodyPr rtlCol="0" anchor="ctr"/>
            <a:lstStyle/>
            <a:p>
              <a:endParaRPr lang="en-US" sz="2053"/>
            </a:p>
          </p:txBody>
        </p:sp>
        <p:sp>
          <p:nvSpPr>
            <p:cNvPr id="13" name="Freeform 12">
              <a:extLst>
                <a:ext uri="{FF2B5EF4-FFF2-40B4-BE49-F238E27FC236}">
                  <a16:creationId xmlns:a16="http://schemas.microsoft.com/office/drawing/2014/main" id="{EE8D40F2-ED17-F4BA-5742-04A1AA3199D3}"/>
                </a:ext>
              </a:extLst>
            </p:cNvPr>
            <p:cNvSpPr/>
            <p:nvPr/>
          </p:nvSpPr>
          <p:spPr>
            <a:xfrm>
              <a:off x="836781" y="909710"/>
              <a:ext cx="1043539" cy="158112"/>
            </a:xfrm>
            <a:custGeom>
              <a:avLst/>
              <a:gdLst>
                <a:gd name="connsiteX0" fmla="*/ 39596 w 1043539"/>
                <a:gd name="connsiteY0" fmla="*/ 158112 h 158112"/>
                <a:gd name="connsiteX1" fmla="*/ 0 w 1043539"/>
                <a:gd name="connsiteY1" fmla="*/ 123188 h 158112"/>
                <a:gd name="connsiteX2" fmla="*/ 0 w 1043539"/>
                <a:gd name="connsiteY2" fmla="*/ 121918 h 158112"/>
                <a:gd name="connsiteX3" fmla="*/ 56839 w 1043539"/>
                <a:gd name="connsiteY3" fmla="*/ 82548 h 158112"/>
                <a:gd name="connsiteX4" fmla="*/ 71528 w 1043539"/>
                <a:gd name="connsiteY4" fmla="*/ 82548 h 158112"/>
                <a:gd name="connsiteX5" fmla="*/ 71528 w 1043539"/>
                <a:gd name="connsiteY5" fmla="*/ 76834 h 158112"/>
                <a:gd name="connsiteX6" fmla="*/ 53646 w 1043539"/>
                <a:gd name="connsiteY6" fmla="*/ 57784 h 158112"/>
                <a:gd name="connsiteX7" fmla="*/ 35764 w 1043539"/>
                <a:gd name="connsiteY7" fmla="*/ 73024 h 158112"/>
                <a:gd name="connsiteX8" fmla="*/ 3832 w 1043539"/>
                <a:gd name="connsiteY8" fmla="*/ 73024 h 158112"/>
                <a:gd name="connsiteX9" fmla="*/ 55562 w 1043539"/>
                <a:gd name="connsiteY9" fmla="*/ 33654 h 158112"/>
                <a:gd name="connsiteX10" fmla="*/ 105376 w 1043539"/>
                <a:gd name="connsiteY10" fmla="*/ 75564 h 158112"/>
                <a:gd name="connsiteX11" fmla="*/ 105376 w 1043539"/>
                <a:gd name="connsiteY11" fmla="*/ 155572 h 158112"/>
                <a:gd name="connsiteX12" fmla="*/ 72805 w 1043539"/>
                <a:gd name="connsiteY12" fmla="*/ 155572 h 158112"/>
                <a:gd name="connsiteX13" fmla="*/ 72805 w 1043539"/>
                <a:gd name="connsiteY13" fmla="*/ 141602 h 158112"/>
                <a:gd name="connsiteX14" fmla="*/ 39596 w 1043539"/>
                <a:gd name="connsiteY14" fmla="*/ 158112 h 158112"/>
                <a:gd name="connsiteX15" fmla="*/ 71528 w 1043539"/>
                <a:gd name="connsiteY15" fmla="*/ 116203 h 158112"/>
                <a:gd name="connsiteX16" fmla="*/ 71528 w 1043539"/>
                <a:gd name="connsiteY16" fmla="*/ 104773 h 158112"/>
                <a:gd name="connsiteX17" fmla="*/ 58116 w 1043539"/>
                <a:gd name="connsiteY17" fmla="*/ 104773 h 158112"/>
                <a:gd name="connsiteX18" fmla="*/ 33209 w 1043539"/>
                <a:gd name="connsiteY18" fmla="*/ 120013 h 158112"/>
                <a:gd name="connsiteX19" fmla="*/ 33209 w 1043539"/>
                <a:gd name="connsiteY19" fmla="*/ 121283 h 158112"/>
                <a:gd name="connsiteX20" fmla="*/ 49814 w 1043539"/>
                <a:gd name="connsiteY20" fmla="*/ 135253 h 158112"/>
                <a:gd name="connsiteX21" fmla="*/ 71528 w 1043539"/>
                <a:gd name="connsiteY21" fmla="*/ 116203 h 158112"/>
                <a:gd name="connsiteX22" fmla="*/ 181374 w 1043539"/>
                <a:gd name="connsiteY22" fmla="*/ 158112 h 158112"/>
                <a:gd name="connsiteX23" fmla="*/ 123896 w 1043539"/>
                <a:gd name="connsiteY23" fmla="*/ 97153 h 158112"/>
                <a:gd name="connsiteX24" fmla="*/ 123896 w 1043539"/>
                <a:gd name="connsiteY24" fmla="*/ 95248 h 158112"/>
                <a:gd name="connsiteX25" fmla="*/ 181374 w 1043539"/>
                <a:gd name="connsiteY25" fmla="*/ 33019 h 158112"/>
                <a:gd name="connsiteX26" fmla="*/ 233743 w 1043539"/>
                <a:gd name="connsiteY26" fmla="*/ 78104 h 158112"/>
                <a:gd name="connsiteX27" fmla="*/ 201811 w 1043539"/>
                <a:gd name="connsiteY27" fmla="*/ 78104 h 158112"/>
                <a:gd name="connsiteX28" fmla="*/ 182013 w 1043539"/>
                <a:gd name="connsiteY28" fmla="*/ 59054 h 158112"/>
                <a:gd name="connsiteX29" fmla="*/ 157744 w 1043539"/>
                <a:gd name="connsiteY29" fmla="*/ 93978 h 158112"/>
                <a:gd name="connsiteX30" fmla="*/ 157744 w 1043539"/>
                <a:gd name="connsiteY30" fmla="*/ 97788 h 158112"/>
                <a:gd name="connsiteX31" fmla="*/ 182013 w 1043539"/>
                <a:gd name="connsiteY31" fmla="*/ 132713 h 158112"/>
                <a:gd name="connsiteX32" fmla="*/ 203727 w 1043539"/>
                <a:gd name="connsiteY32" fmla="*/ 111123 h 158112"/>
                <a:gd name="connsiteX33" fmla="*/ 234381 w 1043539"/>
                <a:gd name="connsiteY33" fmla="*/ 111123 h 158112"/>
                <a:gd name="connsiteX34" fmla="*/ 181374 w 1043539"/>
                <a:gd name="connsiteY34" fmla="*/ 158112 h 158112"/>
                <a:gd name="connsiteX35" fmla="*/ 306548 w 1043539"/>
                <a:gd name="connsiteY35" fmla="*/ 158112 h 158112"/>
                <a:gd name="connsiteX36" fmla="*/ 249070 w 1043539"/>
                <a:gd name="connsiteY36" fmla="*/ 97153 h 158112"/>
                <a:gd name="connsiteX37" fmla="*/ 249070 w 1043539"/>
                <a:gd name="connsiteY37" fmla="*/ 95248 h 158112"/>
                <a:gd name="connsiteX38" fmla="*/ 306548 w 1043539"/>
                <a:gd name="connsiteY38" fmla="*/ 33019 h 158112"/>
                <a:gd name="connsiteX39" fmla="*/ 358916 w 1043539"/>
                <a:gd name="connsiteY39" fmla="*/ 78104 h 158112"/>
                <a:gd name="connsiteX40" fmla="*/ 326984 w 1043539"/>
                <a:gd name="connsiteY40" fmla="*/ 78104 h 158112"/>
                <a:gd name="connsiteX41" fmla="*/ 307186 w 1043539"/>
                <a:gd name="connsiteY41" fmla="*/ 59054 h 158112"/>
                <a:gd name="connsiteX42" fmla="*/ 282918 w 1043539"/>
                <a:gd name="connsiteY42" fmla="*/ 93978 h 158112"/>
                <a:gd name="connsiteX43" fmla="*/ 282918 w 1043539"/>
                <a:gd name="connsiteY43" fmla="*/ 97788 h 158112"/>
                <a:gd name="connsiteX44" fmla="*/ 307186 w 1043539"/>
                <a:gd name="connsiteY44" fmla="*/ 132713 h 158112"/>
                <a:gd name="connsiteX45" fmla="*/ 328900 w 1043539"/>
                <a:gd name="connsiteY45" fmla="*/ 111123 h 158112"/>
                <a:gd name="connsiteX46" fmla="*/ 359555 w 1043539"/>
                <a:gd name="connsiteY46" fmla="*/ 111123 h 158112"/>
                <a:gd name="connsiteX47" fmla="*/ 306548 w 1043539"/>
                <a:gd name="connsiteY47" fmla="*/ 158112 h 158112"/>
                <a:gd name="connsiteX48" fmla="*/ 432360 w 1043539"/>
                <a:gd name="connsiteY48" fmla="*/ 158112 h 158112"/>
                <a:gd name="connsiteX49" fmla="*/ 374244 w 1043539"/>
                <a:gd name="connsiteY49" fmla="*/ 97788 h 158112"/>
                <a:gd name="connsiteX50" fmla="*/ 374244 w 1043539"/>
                <a:gd name="connsiteY50" fmla="*/ 95248 h 158112"/>
                <a:gd name="connsiteX51" fmla="*/ 431721 w 1043539"/>
                <a:gd name="connsiteY51" fmla="*/ 33019 h 158112"/>
                <a:gd name="connsiteX52" fmla="*/ 486645 w 1043539"/>
                <a:gd name="connsiteY52" fmla="*/ 89533 h 158112"/>
                <a:gd name="connsiteX53" fmla="*/ 486645 w 1043539"/>
                <a:gd name="connsiteY53" fmla="*/ 104138 h 158112"/>
                <a:gd name="connsiteX54" fmla="*/ 408092 w 1043539"/>
                <a:gd name="connsiteY54" fmla="*/ 104138 h 158112"/>
                <a:gd name="connsiteX55" fmla="*/ 432999 w 1043539"/>
                <a:gd name="connsiteY55" fmla="*/ 133983 h 158112"/>
                <a:gd name="connsiteX56" fmla="*/ 455351 w 1043539"/>
                <a:gd name="connsiteY56" fmla="*/ 118743 h 158112"/>
                <a:gd name="connsiteX57" fmla="*/ 486645 w 1043539"/>
                <a:gd name="connsiteY57" fmla="*/ 118743 h 158112"/>
                <a:gd name="connsiteX58" fmla="*/ 432360 w 1043539"/>
                <a:gd name="connsiteY58" fmla="*/ 158112 h 158112"/>
                <a:gd name="connsiteX59" fmla="*/ 408730 w 1043539"/>
                <a:gd name="connsiteY59" fmla="*/ 81914 h 158112"/>
                <a:gd name="connsiteX60" fmla="*/ 453435 w 1043539"/>
                <a:gd name="connsiteY60" fmla="*/ 81914 h 158112"/>
                <a:gd name="connsiteX61" fmla="*/ 431083 w 1043539"/>
                <a:gd name="connsiteY61" fmla="*/ 56514 h 158112"/>
                <a:gd name="connsiteX62" fmla="*/ 408730 w 1043539"/>
                <a:gd name="connsiteY62" fmla="*/ 81914 h 158112"/>
                <a:gd name="connsiteX63" fmla="*/ 507081 w 1043539"/>
                <a:gd name="connsiteY63" fmla="*/ 36194 h 158112"/>
                <a:gd name="connsiteX64" fmla="*/ 540929 w 1043539"/>
                <a:gd name="connsiteY64" fmla="*/ 36194 h 158112"/>
                <a:gd name="connsiteX65" fmla="*/ 540929 w 1043539"/>
                <a:gd name="connsiteY65" fmla="*/ 53974 h 158112"/>
                <a:gd name="connsiteX66" fmla="*/ 577332 w 1043539"/>
                <a:gd name="connsiteY66" fmla="*/ 33654 h 158112"/>
                <a:gd name="connsiteX67" fmla="*/ 613734 w 1043539"/>
                <a:gd name="connsiteY67" fmla="*/ 75564 h 158112"/>
                <a:gd name="connsiteX68" fmla="*/ 613734 w 1043539"/>
                <a:gd name="connsiteY68" fmla="*/ 155572 h 158112"/>
                <a:gd name="connsiteX69" fmla="*/ 579886 w 1043539"/>
                <a:gd name="connsiteY69" fmla="*/ 155572 h 158112"/>
                <a:gd name="connsiteX70" fmla="*/ 579886 w 1043539"/>
                <a:gd name="connsiteY70" fmla="*/ 80644 h 158112"/>
                <a:gd name="connsiteX71" fmla="*/ 562004 w 1043539"/>
                <a:gd name="connsiteY71" fmla="*/ 60324 h 158112"/>
                <a:gd name="connsiteX72" fmla="*/ 540929 w 1043539"/>
                <a:gd name="connsiteY72" fmla="*/ 82548 h 158112"/>
                <a:gd name="connsiteX73" fmla="*/ 540929 w 1043539"/>
                <a:gd name="connsiteY73" fmla="*/ 155572 h 158112"/>
                <a:gd name="connsiteX74" fmla="*/ 507081 w 1043539"/>
                <a:gd name="connsiteY74" fmla="*/ 155572 h 158112"/>
                <a:gd name="connsiteX75" fmla="*/ 507081 w 1043539"/>
                <a:gd name="connsiteY75" fmla="*/ 36194 h 158112"/>
                <a:gd name="connsiteX76" fmla="*/ 675682 w 1043539"/>
                <a:gd name="connsiteY76" fmla="*/ 0 h 158112"/>
                <a:gd name="connsiteX77" fmla="*/ 675682 w 1043539"/>
                <a:gd name="connsiteY77" fmla="*/ 36194 h 158112"/>
                <a:gd name="connsiteX78" fmla="*/ 698673 w 1043539"/>
                <a:gd name="connsiteY78" fmla="*/ 36194 h 158112"/>
                <a:gd name="connsiteX79" fmla="*/ 698673 w 1043539"/>
                <a:gd name="connsiteY79" fmla="*/ 60959 h 158112"/>
                <a:gd name="connsiteX80" fmla="*/ 675682 w 1043539"/>
                <a:gd name="connsiteY80" fmla="*/ 60959 h 158112"/>
                <a:gd name="connsiteX81" fmla="*/ 675682 w 1043539"/>
                <a:gd name="connsiteY81" fmla="*/ 117473 h 158112"/>
                <a:gd name="connsiteX82" fmla="*/ 687816 w 1043539"/>
                <a:gd name="connsiteY82" fmla="*/ 130808 h 158112"/>
                <a:gd name="connsiteX83" fmla="*/ 699312 w 1043539"/>
                <a:gd name="connsiteY83" fmla="*/ 128903 h 158112"/>
                <a:gd name="connsiteX84" fmla="*/ 699312 w 1043539"/>
                <a:gd name="connsiteY84" fmla="*/ 154937 h 158112"/>
                <a:gd name="connsiteX85" fmla="*/ 680153 w 1043539"/>
                <a:gd name="connsiteY85" fmla="*/ 157477 h 158112"/>
                <a:gd name="connsiteX86" fmla="*/ 641834 w 1043539"/>
                <a:gd name="connsiteY86" fmla="*/ 121283 h 158112"/>
                <a:gd name="connsiteX87" fmla="*/ 641834 w 1043539"/>
                <a:gd name="connsiteY87" fmla="*/ 60959 h 158112"/>
                <a:gd name="connsiteX88" fmla="*/ 627784 w 1043539"/>
                <a:gd name="connsiteY88" fmla="*/ 60959 h 158112"/>
                <a:gd name="connsiteX89" fmla="*/ 627784 w 1043539"/>
                <a:gd name="connsiteY89" fmla="*/ 36194 h 158112"/>
                <a:gd name="connsiteX90" fmla="*/ 641834 w 1043539"/>
                <a:gd name="connsiteY90" fmla="*/ 36194 h 158112"/>
                <a:gd name="connsiteX91" fmla="*/ 641834 w 1043539"/>
                <a:gd name="connsiteY91" fmla="*/ 13970 h 158112"/>
                <a:gd name="connsiteX92" fmla="*/ 675682 w 1043539"/>
                <a:gd name="connsiteY92" fmla="*/ 0 h 158112"/>
                <a:gd name="connsiteX93" fmla="*/ 825124 w 1043539"/>
                <a:gd name="connsiteY93" fmla="*/ 155572 h 158112"/>
                <a:gd name="connsiteX94" fmla="*/ 791915 w 1043539"/>
                <a:gd name="connsiteY94" fmla="*/ 155572 h 158112"/>
                <a:gd name="connsiteX95" fmla="*/ 791915 w 1043539"/>
                <a:gd name="connsiteY95" fmla="*/ 137792 h 158112"/>
                <a:gd name="connsiteX96" fmla="*/ 756790 w 1043539"/>
                <a:gd name="connsiteY96" fmla="*/ 158112 h 158112"/>
                <a:gd name="connsiteX97" fmla="*/ 719110 w 1043539"/>
                <a:gd name="connsiteY97" fmla="*/ 116838 h 158112"/>
                <a:gd name="connsiteX98" fmla="*/ 719110 w 1043539"/>
                <a:gd name="connsiteY98" fmla="*/ 36194 h 158112"/>
                <a:gd name="connsiteX99" fmla="*/ 752958 w 1043539"/>
                <a:gd name="connsiteY99" fmla="*/ 36194 h 158112"/>
                <a:gd name="connsiteX100" fmla="*/ 752958 w 1043539"/>
                <a:gd name="connsiteY100" fmla="*/ 112393 h 158112"/>
                <a:gd name="connsiteX101" fmla="*/ 770201 w 1043539"/>
                <a:gd name="connsiteY101" fmla="*/ 132713 h 158112"/>
                <a:gd name="connsiteX102" fmla="*/ 791276 w 1043539"/>
                <a:gd name="connsiteY102" fmla="*/ 110488 h 158112"/>
                <a:gd name="connsiteX103" fmla="*/ 791276 w 1043539"/>
                <a:gd name="connsiteY103" fmla="*/ 36194 h 158112"/>
                <a:gd name="connsiteX104" fmla="*/ 825124 w 1043539"/>
                <a:gd name="connsiteY104" fmla="*/ 36194 h 158112"/>
                <a:gd name="connsiteX105" fmla="*/ 825124 w 1043539"/>
                <a:gd name="connsiteY105" fmla="*/ 155572 h 158112"/>
                <a:gd name="connsiteX106" fmla="*/ 850031 w 1043539"/>
                <a:gd name="connsiteY106" fmla="*/ 36194 h 158112"/>
                <a:gd name="connsiteX107" fmla="*/ 883879 w 1043539"/>
                <a:gd name="connsiteY107" fmla="*/ 36194 h 158112"/>
                <a:gd name="connsiteX108" fmla="*/ 883879 w 1043539"/>
                <a:gd name="connsiteY108" fmla="*/ 58419 h 158112"/>
                <a:gd name="connsiteX109" fmla="*/ 920282 w 1043539"/>
                <a:gd name="connsiteY109" fmla="*/ 34924 h 158112"/>
                <a:gd name="connsiteX110" fmla="*/ 920282 w 1043539"/>
                <a:gd name="connsiteY110" fmla="*/ 67944 h 158112"/>
                <a:gd name="connsiteX111" fmla="*/ 883879 w 1043539"/>
                <a:gd name="connsiteY111" fmla="*/ 94613 h 158112"/>
                <a:gd name="connsiteX112" fmla="*/ 883879 w 1043539"/>
                <a:gd name="connsiteY112" fmla="*/ 156207 h 158112"/>
                <a:gd name="connsiteX113" fmla="*/ 850031 w 1043539"/>
                <a:gd name="connsiteY113" fmla="*/ 156207 h 158112"/>
                <a:gd name="connsiteX114" fmla="*/ 850031 w 1043539"/>
                <a:gd name="connsiteY114" fmla="*/ 36194 h 158112"/>
                <a:gd name="connsiteX115" fmla="*/ 988616 w 1043539"/>
                <a:gd name="connsiteY115" fmla="*/ 158112 h 158112"/>
                <a:gd name="connsiteX116" fmla="*/ 930500 w 1043539"/>
                <a:gd name="connsiteY116" fmla="*/ 97788 h 158112"/>
                <a:gd name="connsiteX117" fmla="*/ 930500 w 1043539"/>
                <a:gd name="connsiteY117" fmla="*/ 95248 h 158112"/>
                <a:gd name="connsiteX118" fmla="*/ 987978 w 1043539"/>
                <a:gd name="connsiteY118" fmla="*/ 33019 h 158112"/>
                <a:gd name="connsiteX119" fmla="*/ 1042901 w 1043539"/>
                <a:gd name="connsiteY119" fmla="*/ 89533 h 158112"/>
                <a:gd name="connsiteX120" fmla="*/ 1042901 w 1043539"/>
                <a:gd name="connsiteY120" fmla="*/ 104138 h 158112"/>
                <a:gd name="connsiteX121" fmla="*/ 964987 w 1043539"/>
                <a:gd name="connsiteY121" fmla="*/ 104138 h 158112"/>
                <a:gd name="connsiteX122" fmla="*/ 989894 w 1043539"/>
                <a:gd name="connsiteY122" fmla="*/ 133983 h 158112"/>
                <a:gd name="connsiteX123" fmla="*/ 1012246 w 1043539"/>
                <a:gd name="connsiteY123" fmla="*/ 118743 h 158112"/>
                <a:gd name="connsiteX124" fmla="*/ 1043540 w 1043539"/>
                <a:gd name="connsiteY124" fmla="*/ 118743 h 158112"/>
                <a:gd name="connsiteX125" fmla="*/ 988616 w 1043539"/>
                <a:gd name="connsiteY125" fmla="*/ 158112 h 158112"/>
                <a:gd name="connsiteX126" fmla="*/ 964348 w 1043539"/>
                <a:gd name="connsiteY126" fmla="*/ 81914 h 158112"/>
                <a:gd name="connsiteX127" fmla="*/ 1009692 w 1043539"/>
                <a:gd name="connsiteY127" fmla="*/ 81914 h 158112"/>
                <a:gd name="connsiteX128" fmla="*/ 987339 w 1043539"/>
                <a:gd name="connsiteY128" fmla="*/ 56514 h 158112"/>
                <a:gd name="connsiteX129" fmla="*/ 964348 w 1043539"/>
                <a:gd name="connsiteY129" fmla="*/ 81914 h 158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1043539" h="158112">
                  <a:moveTo>
                    <a:pt x="39596" y="158112"/>
                  </a:moveTo>
                  <a:cubicBezTo>
                    <a:pt x="17882" y="158112"/>
                    <a:pt x="0" y="147317"/>
                    <a:pt x="0" y="123188"/>
                  </a:cubicBezTo>
                  <a:lnTo>
                    <a:pt x="0" y="121918"/>
                  </a:lnTo>
                  <a:cubicBezTo>
                    <a:pt x="0" y="92708"/>
                    <a:pt x="25546" y="82548"/>
                    <a:pt x="56839" y="82548"/>
                  </a:cubicBezTo>
                  <a:lnTo>
                    <a:pt x="71528" y="82548"/>
                  </a:lnTo>
                  <a:lnTo>
                    <a:pt x="71528" y="76834"/>
                  </a:lnTo>
                  <a:cubicBezTo>
                    <a:pt x="71528" y="64769"/>
                    <a:pt x="66419" y="57784"/>
                    <a:pt x="53646" y="57784"/>
                  </a:cubicBezTo>
                  <a:cubicBezTo>
                    <a:pt x="42150" y="57784"/>
                    <a:pt x="36403" y="64134"/>
                    <a:pt x="35764" y="73024"/>
                  </a:cubicBezTo>
                  <a:lnTo>
                    <a:pt x="3832" y="73024"/>
                  </a:lnTo>
                  <a:cubicBezTo>
                    <a:pt x="6386" y="46354"/>
                    <a:pt x="27462" y="33654"/>
                    <a:pt x="55562" y="33654"/>
                  </a:cubicBezTo>
                  <a:cubicBezTo>
                    <a:pt x="84301" y="33654"/>
                    <a:pt x="105376" y="45719"/>
                    <a:pt x="105376" y="75564"/>
                  </a:cubicBezTo>
                  <a:lnTo>
                    <a:pt x="105376" y="155572"/>
                  </a:lnTo>
                  <a:lnTo>
                    <a:pt x="72805" y="155572"/>
                  </a:lnTo>
                  <a:lnTo>
                    <a:pt x="72805" y="141602"/>
                  </a:lnTo>
                  <a:cubicBezTo>
                    <a:pt x="66419" y="150492"/>
                    <a:pt x="55562" y="158112"/>
                    <a:pt x="39596" y="158112"/>
                  </a:cubicBezTo>
                  <a:close/>
                  <a:moveTo>
                    <a:pt x="71528" y="116203"/>
                  </a:moveTo>
                  <a:lnTo>
                    <a:pt x="71528" y="104773"/>
                  </a:lnTo>
                  <a:lnTo>
                    <a:pt x="58116" y="104773"/>
                  </a:lnTo>
                  <a:cubicBezTo>
                    <a:pt x="41512" y="104773"/>
                    <a:pt x="33209" y="109218"/>
                    <a:pt x="33209" y="120013"/>
                  </a:cubicBezTo>
                  <a:lnTo>
                    <a:pt x="33209" y="121283"/>
                  </a:lnTo>
                  <a:cubicBezTo>
                    <a:pt x="33209" y="129538"/>
                    <a:pt x="38318" y="135253"/>
                    <a:pt x="49814" y="135253"/>
                  </a:cubicBezTo>
                  <a:cubicBezTo>
                    <a:pt x="61310" y="134618"/>
                    <a:pt x="71528" y="128268"/>
                    <a:pt x="71528" y="116203"/>
                  </a:cubicBezTo>
                  <a:close/>
                  <a:moveTo>
                    <a:pt x="181374" y="158112"/>
                  </a:moveTo>
                  <a:cubicBezTo>
                    <a:pt x="148165" y="158112"/>
                    <a:pt x="123896" y="137792"/>
                    <a:pt x="123896" y="97153"/>
                  </a:cubicBezTo>
                  <a:lnTo>
                    <a:pt x="123896" y="95248"/>
                  </a:lnTo>
                  <a:cubicBezTo>
                    <a:pt x="123896" y="54609"/>
                    <a:pt x="149442" y="33019"/>
                    <a:pt x="181374" y="33019"/>
                  </a:cubicBezTo>
                  <a:cubicBezTo>
                    <a:pt x="208836" y="33019"/>
                    <a:pt x="231188" y="46989"/>
                    <a:pt x="233743" y="78104"/>
                  </a:cubicBezTo>
                  <a:lnTo>
                    <a:pt x="201811" y="78104"/>
                  </a:lnTo>
                  <a:cubicBezTo>
                    <a:pt x="199895" y="66674"/>
                    <a:pt x="193508" y="59054"/>
                    <a:pt x="182013" y="59054"/>
                  </a:cubicBezTo>
                  <a:cubicBezTo>
                    <a:pt x="167963" y="59054"/>
                    <a:pt x="157744" y="70484"/>
                    <a:pt x="157744" y="93978"/>
                  </a:cubicBezTo>
                  <a:lnTo>
                    <a:pt x="157744" y="97788"/>
                  </a:lnTo>
                  <a:cubicBezTo>
                    <a:pt x="157744" y="121918"/>
                    <a:pt x="166685" y="132713"/>
                    <a:pt x="182013" y="132713"/>
                  </a:cubicBezTo>
                  <a:cubicBezTo>
                    <a:pt x="193508" y="132713"/>
                    <a:pt x="201811" y="124458"/>
                    <a:pt x="203727" y="111123"/>
                  </a:cubicBezTo>
                  <a:lnTo>
                    <a:pt x="234381" y="111123"/>
                  </a:lnTo>
                  <a:cubicBezTo>
                    <a:pt x="232465" y="139062"/>
                    <a:pt x="213945" y="158112"/>
                    <a:pt x="181374" y="158112"/>
                  </a:cubicBezTo>
                  <a:close/>
                  <a:moveTo>
                    <a:pt x="306548" y="158112"/>
                  </a:moveTo>
                  <a:cubicBezTo>
                    <a:pt x="273338" y="158112"/>
                    <a:pt x="249070" y="137792"/>
                    <a:pt x="249070" y="97153"/>
                  </a:cubicBezTo>
                  <a:lnTo>
                    <a:pt x="249070" y="95248"/>
                  </a:lnTo>
                  <a:cubicBezTo>
                    <a:pt x="249070" y="54609"/>
                    <a:pt x="274616" y="33019"/>
                    <a:pt x="306548" y="33019"/>
                  </a:cubicBezTo>
                  <a:cubicBezTo>
                    <a:pt x="334009" y="33019"/>
                    <a:pt x="356362" y="46989"/>
                    <a:pt x="358916" y="78104"/>
                  </a:cubicBezTo>
                  <a:lnTo>
                    <a:pt x="326984" y="78104"/>
                  </a:lnTo>
                  <a:cubicBezTo>
                    <a:pt x="325068" y="66674"/>
                    <a:pt x="318682" y="59054"/>
                    <a:pt x="307186" y="59054"/>
                  </a:cubicBezTo>
                  <a:cubicBezTo>
                    <a:pt x="293136" y="59054"/>
                    <a:pt x="282918" y="70484"/>
                    <a:pt x="282918" y="93978"/>
                  </a:cubicBezTo>
                  <a:lnTo>
                    <a:pt x="282918" y="97788"/>
                  </a:lnTo>
                  <a:cubicBezTo>
                    <a:pt x="282918" y="121918"/>
                    <a:pt x="291859" y="132713"/>
                    <a:pt x="307186" y="132713"/>
                  </a:cubicBezTo>
                  <a:cubicBezTo>
                    <a:pt x="318682" y="132713"/>
                    <a:pt x="326984" y="124458"/>
                    <a:pt x="328900" y="111123"/>
                  </a:cubicBezTo>
                  <a:lnTo>
                    <a:pt x="359555" y="111123"/>
                  </a:lnTo>
                  <a:cubicBezTo>
                    <a:pt x="357639" y="139062"/>
                    <a:pt x="339118" y="158112"/>
                    <a:pt x="306548" y="158112"/>
                  </a:cubicBezTo>
                  <a:close/>
                  <a:moveTo>
                    <a:pt x="432360" y="158112"/>
                  </a:moveTo>
                  <a:cubicBezTo>
                    <a:pt x="397873" y="158112"/>
                    <a:pt x="374244" y="137792"/>
                    <a:pt x="374244" y="97788"/>
                  </a:cubicBezTo>
                  <a:lnTo>
                    <a:pt x="374244" y="95248"/>
                  </a:lnTo>
                  <a:cubicBezTo>
                    <a:pt x="374244" y="55244"/>
                    <a:pt x="399151" y="33019"/>
                    <a:pt x="431721" y="33019"/>
                  </a:cubicBezTo>
                  <a:cubicBezTo>
                    <a:pt x="461738" y="33019"/>
                    <a:pt x="486645" y="49529"/>
                    <a:pt x="486645" y="89533"/>
                  </a:cubicBezTo>
                  <a:lnTo>
                    <a:pt x="486645" y="104138"/>
                  </a:lnTo>
                  <a:lnTo>
                    <a:pt x="408092" y="104138"/>
                  </a:lnTo>
                  <a:cubicBezTo>
                    <a:pt x="409369" y="125728"/>
                    <a:pt x="418949" y="133983"/>
                    <a:pt x="432999" y="133983"/>
                  </a:cubicBezTo>
                  <a:cubicBezTo>
                    <a:pt x="445772" y="133983"/>
                    <a:pt x="452797" y="126998"/>
                    <a:pt x="455351" y="118743"/>
                  </a:cubicBezTo>
                  <a:lnTo>
                    <a:pt x="486645" y="118743"/>
                  </a:lnTo>
                  <a:cubicBezTo>
                    <a:pt x="482813" y="140967"/>
                    <a:pt x="463653" y="158112"/>
                    <a:pt x="432360" y="158112"/>
                  </a:cubicBezTo>
                  <a:close/>
                  <a:moveTo>
                    <a:pt x="408730" y="81914"/>
                  </a:moveTo>
                  <a:lnTo>
                    <a:pt x="453435" y="81914"/>
                  </a:lnTo>
                  <a:cubicBezTo>
                    <a:pt x="452797" y="64134"/>
                    <a:pt x="444494" y="56514"/>
                    <a:pt x="431083" y="56514"/>
                  </a:cubicBezTo>
                  <a:cubicBezTo>
                    <a:pt x="420865" y="57149"/>
                    <a:pt x="411285" y="62864"/>
                    <a:pt x="408730" y="81914"/>
                  </a:cubicBezTo>
                  <a:close/>
                  <a:moveTo>
                    <a:pt x="507081" y="36194"/>
                  </a:moveTo>
                  <a:lnTo>
                    <a:pt x="540929" y="36194"/>
                  </a:lnTo>
                  <a:lnTo>
                    <a:pt x="540929" y="53974"/>
                  </a:lnTo>
                  <a:cubicBezTo>
                    <a:pt x="546677" y="42544"/>
                    <a:pt x="558811" y="33654"/>
                    <a:pt x="577332" y="33654"/>
                  </a:cubicBezTo>
                  <a:cubicBezTo>
                    <a:pt x="599045" y="33654"/>
                    <a:pt x="613734" y="46989"/>
                    <a:pt x="613734" y="75564"/>
                  </a:cubicBezTo>
                  <a:lnTo>
                    <a:pt x="613734" y="155572"/>
                  </a:lnTo>
                  <a:lnTo>
                    <a:pt x="579886" y="155572"/>
                  </a:lnTo>
                  <a:lnTo>
                    <a:pt x="579886" y="80644"/>
                  </a:lnTo>
                  <a:cubicBezTo>
                    <a:pt x="579886" y="66674"/>
                    <a:pt x="574138" y="60324"/>
                    <a:pt x="562004" y="60324"/>
                  </a:cubicBezTo>
                  <a:cubicBezTo>
                    <a:pt x="550509" y="60324"/>
                    <a:pt x="540929" y="67309"/>
                    <a:pt x="540929" y="82548"/>
                  </a:cubicBezTo>
                  <a:lnTo>
                    <a:pt x="540929" y="155572"/>
                  </a:lnTo>
                  <a:lnTo>
                    <a:pt x="507081" y="155572"/>
                  </a:lnTo>
                  <a:lnTo>
                    <a:pt x="507081" y="36194"/>
                  </a:lnTo>
                  <a:close/>
                  <a:moveTo>
                    <a:pt x="675682" y="0"/>
                  </a:moveTo>
                  <a:lnTo>
                    <a:pt x="675682" y="36194"/>
                  </a:lnTo>
                  <a:lnTo>
                    <a:pt x="698673" y="36194"/>
                  </a:lnTo>
                  <a:lnTo>
                    <a:pt x="698673" y="60959"/>
                  </a:lnTo>
                  <a:lnTo>
                    <a:pt x="675682" y="60959"/>
                  </a:lnTo>
                  <a:lnTo>
                    <a:pt x="675682" y="117473"/>
                  </a:lnTo>
                  <a:cubicBezTo>
                    <a:pt x="675682" y="126363"/>
                    <a:pt x="679514" y="130808"/>
                    <a:pt x="687816" y="130808"/>
                  </a:cubicBezTo>
                  <a:cubicBezTo>
                    <a:pt x="692926" y="130808"/>
                    <a:pt x="696119" y="130173"/>
                    <a:pt x="699312" y="128903"/>
                  </a:cubicBezTo>
                  <a:lnTo>
                    <a:pt x="699312" y="154937"/>
                  </a:lnTo>
                  <a:cubicBezTo>
                    <a:pt x="695480" y="156207"/>
                    <a:pt x="688455" y="157477"/>
                    <a:pt x="680153" y="157477"/>
                  </a:cubicBezTo>
                  <a:cubicBezTo>
                    <a:pt x="653969" y="157477"/>
                    <a:pt x="641834" y="145412"/>
                    <a:pt x="641834" y="121283"/>
                  </a:cubicBezTo>
                  <a:lnTo>
                    <a:pt x="641834" y="60959"/>
                  </a:lnTo>
                  <a:lnTo>
                    <a:pt x="627784" y="60959"/>
                  </a:lnTo>
                  <a:lnTo>
                    <a:pt x="627784" y="36194"/>
                  </a:lnTo>
                  <a:lnTo>
                    <a:pt x="641834" y="36194"/>
                  </a:lnTo>
                  <a:lnTo>
                    <a:pt x="641834" y="13970"/>
                  </a:lnTo>
                  <a:lnTo>
                    <a:pt x="675682" y="0"/>
                  </a:lnTo>
                  <a:close/>
                  <a:moveTo>
                    <a:pt x="825124" y="155572"/>
                  </a:moveTo>
                  <a:lnTo>
                    <a:pt x="791915" y="155572"/>
                  </a:lnTo>
                  <a:lnTo>
                    <a:pt x="791915" y="137792"/>
                  </a:lnTo>
                  <a:cubicBezTo>
                    <a:pt x="786167" y="149222"/>
                    <a:pt x="774672" y="158112"/>
                    <a:pt x="756790" y="158112"/>
                  </a:cubicBezTo>
                  <a:cubicBezTo>
                    <a:pt x="735076" y="158112"/>
                    <a:pt x="719110" y="144777"/>
                    <a:pt x="719110" y="116838"/>
                  </a:cubicBezTo>
                  <a:lnTo>
                    <a:pt x="719110" y="36194"/>
                  </a:lnTo>
                  <a:lnTo>
                    <a:pt x="752958" y="36194"/>
                  </a:lnTo>
                  <a:lnTo>
                    <a:pt x="752958" y="112393"/>
                  </a:lnTo>
                  <a:cubicBezTo>
                    <a:pt x="752958" y="126363"/>
                    <a:pt x="758706" y="132713"/>
                    <a:pt x="770201" y="132713"/>
                  </a:cubicBezTo>
                  <a:cubicBezTo>
                    <a:pt x="781697" y="132713"/>
                    <a:pt x="791276" y="125093"/>
                    <a:pt x="791276" y="110488"/>
                  </a:cubicBezTo>
                  <a:lnTo>
                    <a:pt x="791276" y="36194"/>
                  </a:lnTo>
                  <a:lnTo>
                    <a:pt x="825124" y="36194"/>
                  </a:lnTo>
                  <a:lnTo>
                    <a:pt x="825124" y="155572"/>
                  </a:lnTo>
                  <a:close/>
                  <a:moveTo>
                    <a:pt x="850031" y="36194"/>
                  </a:moveTo>
                  <a:lnTo>
                    <a:pt x="883879" y="36194"/>
                  </a:lnTo>
                  <a:lnTo>
                    <a:pt x="883879" y="58419"/>
                  </a:lnTo>
                  <a:cubicBezTo>
                    <a:pt x="890904" y="42544"/>
                    <a:pt x="902400" y="34924"/>
                    <a:pt x="920282" y="34924"/>
                  </a:cubicBezTo>
                  <a:lnTo>
                    <a:pt x="920282" y="67944"/>
                  </a:lnTo>
                  <a:cubicBezTo>
                    <a:pt x="897291" y="67944"/>
                    <a:pt x="883879" y="74929"/>
                    <a:pt x="883879" y="94613"/>
                  </a:cubicBezTo>
                  <a:lnTo>
                    <a:pt x="883879" y="156207"/>
                  </a:lnTo>
                  <a:lnTo>
                    <a:pt x="850031" y="156207"/>
                  </a:lnTo>
                  <a:lnTo>
                    <a:pt x="850031" y="36194"/>
                  </a:lnTo>
                  <a:close/>
                  <a:moveTo>
                    <a:pt x="988616" y="158112"/>
                  </a:moveTo>
                  <a:cubicBezTo>
                    <a:pt x="954130" y="158112"/>
                    <a:pt x="930500" y="137792"/>
                    <a:pt x="930500" y="97788"/>
                  </a:cubicBezTo>
                  <a:lnTo>
                    <a:pt x="930500" y="95248"/>
                  </a:lnTo>
                  <a:cubicBezTo>
                    <a:pt x="930500" y="55244"/>
                    <a:pt x="955407" y="33019"/>
                    <a:pt x="987978" y="33019"/>
                  </a:cubicBezTo>
                  <a:cubicBezTo>
                    <a:pt x="1017994" y="33019"/>
                    <a:pt x="1042901" y="49529"/>
                    <a:pt x="1042901" y="89533"/>
                  </a:cubicBezTo>
                  <a:lnTo>
                    <a:pt x="1042901" y="104138"/>
                  </a:lnTo>
                  <a:lnTo>
                    <a:pt x="964987" y="104138"/>
                  </a:lnTo>
                  <a:cubicBezTo>
                    <a:pt x="966264" y="125728"/>
                    <a:pt x="975844" y="133983"/>
                    <a:pt x="989894" y="133983"/>
                  </a:cubicBezTo>
                  <a:cubicBezTo>
                    <a:pt x="1002667" y="133983"/>
                    <a:pt x="1009692" y="126998"/>
                    <a:pt x="1012246" y="118743"/>
                  </a:cubicBezTo>
                  <a:lnTo>
                    <a:pt x="1043540" y="118743"/>
                  </a:lnTo>
                  <a:cubicBezTo>
                    <a:pt x="1038431" y="140967"/>
                    <a:pt x="1019910" y="158112"/>
                    <a:pt x="988616" y="158112"/>
                  </a:cubicBezTo>
                  <a:close/>
                  <a:moveTo>
                    <a:pt x="964348" y="81914"/>
                  </a:moveTo>
                  <a:lnTo>
                    <a:pt x="1009692" y="81914"/>
                  </a:lnTo>
                  <a:cubicBezTo>
                    <a:pt x="1009053" y="64134"/>
                    <a:pt x="1000751" y="56514"/>
                    <a:pt x="987339" y="56514"/>
                  </a:cubicBezTo>
                  <a:cubicBezTo>
                    <a:pt x="977121" y="57149"/>
                    <a:pt x="967541" y="62864"/>
                    <a:pt x="964348" y="81914"/>
                  </a:cubicBezTo>
                  <a:close/>
                </a:path>
              </a:pathLst>
            </a:custGeom>
            <a:grpFill/>
            <a:ln w="6369" cap="flat">
              <a:noFill/>
              <a:prstDash val="solid"/>
              <a:miter/>
            </a:ln>
          </p:spPr>
          <p:txBody>
            <a:bodyPr rtlCol="0" anchor="ctr"/>
            <a:lstStyle/>
            <a:p>
              <a:endParaRPr lang="en-US" sz="2053"/>
            </a:p>
          </p:txBody>
        </p:sp>
      </p:grpSp>
    </p:spTree>
    <p:extLst>
      <p:ext uri="{BB962C8B-B14F-4D97-AF65-F5344CB8AC3E}">
        <p14:creationId xmlns:p14="http://schemas.microsoft.com/office/powerpoint/2010/main" val="1734570045"/>
      </p:ext>
    </p:extLst>
  </p:cSld>
  <p:clrMap bg1="lt1" tx1="dk1" bg2="lt2" tx2="dk2" accent1="accent1" accent2="accent2" accent3="accent3" accent4="accent4" accent5="accent5" accent6="accent6" hlink="hlink" folHlink="folHlink"/>
  <p:sldLayoutIdLst>
    <p:sldLayoutId id="2147484212" r:id="rId1"/>
    <p:sldLayoutId id="2147484226" r:id="rId2"/>
    <p:sldLayoutId id="2147484224" r:id="rId3"/>
    <p:sldLayoutId id="2147484238" r:id="rId4"/>
    <p:sldLayoutId id="2147484240" r:id="rId5"/>
    <p:sldLayoutId id="2147484241" r:id="rId6"/>
  </p:sldLayoutIdLst>
  <p:hf sldNum="0" hdr="0" ftr="0" dt="0"/>
  <p:txStyles>
    <p:titleStyle>
      <a:lvl1pPr algn="l" defTabSz="457192" rtl="0" eaLnBrk="1" latinLnBrk="0" hangingPunct="1">
        <a:spcBef>
          <a:spcPct val="0"/>
        </a:spcBef>
        <a:buNone/>
        <a:defRPr sz="3200" b="1" i="0" kern="1200">
          <a:solidFill>
            <a:srgbClr val="008555"/>
          </a:solidFill>
          <a:latin typeface="Trebuchet MS"/>
          <a:ea typeface="+mj-ea"/>
          <a:cs typeface="Arial"/>
        </a:defRPr>
      </a:lvl1pPr>
    </p:titleStyle>
    <p:bodyStyle>
      <a:lvl1pPr marL="342895" indent="-342895" algn="l" defTabSz="457192" rtl="0" eaLnBrk="1" latinLnBrk="0" hangingPunct="1">
        <a:spcBef>
          <a:spcPct val="20000"/>
        </a:spcBef>
        <a:buFont typeface="Arial"/>
        <a:buChar char="•"/>
        <a:defRPr sz="2400" b="0" i="0" kern="1200">
          <a:solidFill>
            <a:schemeClr val="tx1"/>
          </a:solidFill>
          <a:latin typeface="Trebuchet MS"/>
          <a:ea typeface="+mn-ea"/>
          <a:cs typeface="Arial"/>
        </a:defRPr>
      </a:lvl1pPr>
      <a:lvl2pPr marL="742937" indent="-285745" algn="l" defTabSz="457192" rtl="0" eaLnBrk="1" latinLnBrk="0" hangingPunct="1">
        <a:spcBef>
          <a:spcPct val="20000"/>
        </a:spcBef>
        <a:buFont typeface="Arial"/>
        <a:buChar char="–"/>
        <a:defRPr sz="2000" b="0" i="0" kern="1200">
          <a:solidFill>
            <a:schemeClr val="tx1"/>
          </a:solidFill>
          <a:latin typeface="Trebuchet MS"/>
          <a:ea typeface="+mn-ea"/>
          <a:cs typeface="Arial"/>
        </a:defRPr>
      </a:lvl2pPr>
      <a:lvl3pPr marL="1142980" indent="-228596" algn="l" defTabSz="457192" rtl="0" eaLnBrk="1" latinLnBrk="0" hangingPunct="1">
        <a:spcBef>
          <a:spcPct val="20000"/>
        </a:spcBef>
        <a:buFont typeface="Arial"/>
        <a:buChar char="•"/>
        <a:defRPr sz="1800" b="0" i="0" kern="1200">
          <a:solidFill>
            <a:schemeClr val="tx1"/>
          </a:solidFill>
          <a:latin typeface="Trebuchet MS"/>
          <a:ea typeface="+mn-ea"/>
          <a:cs typeface="Arial"/>
        </a:defRPr>
      </a:lvl3pPr>
      <a:lvl4pPr marL="1600172" indent="-228596" algn="l" defTabSz="457192" rtl="0" eaLnBrk="1" latinLnBrk="0" hangingPunct="1">
        <a:spcBef>
          <a:spcPct val="20000"/>
        </a:spcBef>
        <a:buFont typeface="Arial"/>
        <a:buChar char="–"/>
        <a:defRPr sz="1600" b="0" i="0" kern="1200">
          <a:solidFill>
            <a:schemeClr val="tx1"/>
          </a:solidFill>
          <a:latin typeface="Trebuchet MS"/>
          <a:ea typeface="+mn-ea"/>
          <a:cs typeface="Arial"/>
        </a:defRPr>
      </a:lvl4pPr>
      <a:lvl5pPr marL="2057364" indent="-228596" algn="l" defTabSz="457192" rtl="0" eaLnBrk="1" latinLnBrk="0" hangingPunct="1">
        <a:spcBef>
          <a:spcPct val="20000"/>
        </a:spcBef>
        <a:buFont typeface="Arial"/>
        <a:buChar char="»"/>
        <a:defRPr sz="1400" b="0" i="0" kern="1200">
          <a:solidFill>
            <a:schemeClr val="tx1"/>
          </a:solidFill>
          <a:latin typeface="Trebuchet MS"/>
          <a:ea typeface="+mn-ea"/>
          <a:cs typeface="Arial"/>
        </a:defRPr>
      </a:lvl5pPr>
      <a:lvl6pPr marL="2514556" indent="-228596" algn="l" defTabSz="457192" rtl="0" eaLnBrk="1" latinLnBrk="0" hangingPunct="1">
        <a:spcBef>
          <a:spcPct val="20000"/>
        </a:spcBef>
        <a:buFont typeface="Arial"/>
        <a:buChar char="•"/>
        <a:defRPr sz="2000" kern="1200">
          <a:solidFill>
            <a:schemeClr val="tx1"/>
          </a:solidFill>
          <a:latin typeface="+mn-lt"/>
          <a:ea typeface="+mn-ea"/>
          <a:cs typeface="+mn-cs"/>
        </a:defRPr>
      </a:lvl6pPr>
      <a:lvl7pPr marL="2971748" indent="-228596" algn="l" defTabSz="457192" rtl="0" eaLnBrk="1" latinLnBrk="0" hangingPunct="1">
        <a:spcBef>
          <a:spcPct val="20000"/>
        </a:spcBef>
        <a:buFont typeface="Arial"/>
        <a:buChar char="•"/>
        <a:defRPr sz="2000" kern="1200">
          <a:solidFill>
            <a:schemeClr val="tx1"/>
          </a:solidFill>
          <a:latin typeface="+mn-lt"/>
          <a:ea typeface="+mn-ea"/>
          <a:cs typeface="+mn-cs"/>
        </a:defRPr>
      </a:lvl7pPr>
      <a:lvl8pPr marL="3428940" indent="-228596" algn="l" defTabSz="457192" rtl="0" eaLnBrk="1" latinLnBrk="0" hangingPunct="1">
        <a:spcBef>
          <a:spcPct val="20000"/>
        </a:spcBef>
        <a:buFont typeface="Arial"/>
        <a:buChar char="•"/>
        <a:defRPr sz="2000" kern="1200">
          <a:solidFill>
            <a:schemeClr val="tx1"/>
          </a:solidFill>
          <a:latin typeface="+mn-lt"/>
          <a:ea typeface="+mn-ea"/>
          <a:cs typeface="+mn-cs"/>
        </a:defRPr>
      </a:lvl8pPr>
      <a:lvl9pPr marL="3886132" indent="-228596" algn="l" defTabSz="45719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92" rtl="0" eaLnBrk="1" latinLnBrk="0" hangingPunct="1">
        <a:defRPr sz="1800" kern="1200">
          <a:solidFill>
            <a:schemeClr val="tx1"/>
          </a:solidFill>
          <a:latin typeface="+mn-lt"/>
          <a:ea typeface="+mn-ea"/>
          <a:cs typeface="+mn-cs"/>
        </a:defRPr>
      </a:lvl1pPr>
      <a:lvl2pPr marL="457192" algn="l" defTabSz="457192" rtl="0" eaLnBrk="1" latinLnBrk="0" hangingPunct="1">
        <a:defRPr sz="1800" kern="1200">
          <a:solidFill>
            <a:schemeClr val="tx1"/>
          </a:solidFill>
          <a:latin typeface="+mn-lt"/>
          <a:ea typeface="+mn-ea"/>
          <a:cs typeface="+mn-cs"/>
        </a:defRPr>
      </a:lvl2pPr>
      <a:lvl3pPr marL="914384" algn="l" defTabSz="457192" rtl="0" eaLnBrk="1" latinLnBrk="0" hangingPunct="1">
        <a:defRPr sz="1800" kern="1200">
          <a:solidFill>
            <a:schemeClr val="tx1"/>
          </a:solidFill>
          <a:latin typeface="+mn-lt"/>
          <a:ea typeface="+mn-ea"/>
          <a:cs typeface="+mn-cs"/>
        </a:defRPr>
      </a:lvl3pPr>
      <a:lvl4pPr marL="1371576" algn="l" defTabSz="457192" rtl="0" eaLnBrk="1" latinLnBrk="0" hangingPunct="1">
        <a:defRPr sz="1800" kern="1200">
          <a:solidFill>
            <a:schemeClr val="tx1"/>
          </a:solidFill>
          <a:latin typeface="+mn-lt"/>
          <a:ea typeface="+mn-ea"/>
          <a:cs typeface="+mn-cs"/>
        </a:defRPr>
      </a:lvl4pPr>
      <a:lvl5pPr marL="1828768" algn="l" defTabSz="457192" rtl="0" eaLnBrk="1" latinLnBrk="0" hangingPunct="1">
        <a:defRPr sz="1800" kern="1200">
          <a:solidFill>
            <a:schemeClr val="tx1"/>
          </a:solidFill>
          <a:latin typeface="+mn-lt"/>
          <a:ea typeface="+mn-ea"/>
          <a:cs typeface="+mn-cs"/>
        </a:defRPr>
      </a:lvl5pPr>
      <a:lvl6pPr marL="2285960" algn="l" defTabSz="457192" rtl="0" eaLnBrk="1" latinLnBrk="0" hangingPunct="1">
        <a:defRPr sz="1800" kern="1200">
          <a:solidFill>
            <a:schemeClr val="tx1"/>
          </a:solidFill>
          <a:latin typeface="+mn-lt"/>
          <a:ea typeface="+mn-ea"/>
          <a:cs typeface="+mn-cs"/>
        </a:defRPr>
      </a:lvl6pPr>
      <a:lvl7pPr marL="2743152" algn="l" defTabSz="457192" rtl="0" eaLnBrk="1" latinLnBrk="0" hangingPunct="1">
        <a:defRPr sz="1800" kern="1200">
          <a:solidFill>
            <a:schemeClr val="tx1"/>
          </a:solidFill>
          <a:latin typeface="+mn-lt"/>
          <a:ea typeface="+mn-ea"/>
          <a:cs typeface="+mn-cs"/>
        </a:defRPr>
      </a:lvl7pPr>
      <a:lvl8pPr marL="3200344" algn="l" defTabSz="457192" rtl="0" eaLnBrk="1" latinLnBrk="0" hangingPunct="1">
        <a:defRPr sz="1800" kern="1200">
          <a:solidFill>
            <a:schemeClr val="tx1"/>
          </a:solidFill>
          <a:latin typeface="+mn-lt"/>
          <a:ea typeface="+mn-ea"/>
          <a:cs typeface="+mn-cs"/>
        </a:defRPr>
      </a:lvl8pPr>
      <a:lvl9pPr marL="3657536" algn="l" defTabSz="45719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34">
          <p15:clr>
            <a:srgbClr val="F26B43"/>
          </p15:clr>
        </p15:guide>
        <p15:guide id="4" pos="7446">
          <p15:clr>
            <a:srgbClr val="F26B43"/>
          </p15:clr>
        </p15:guide>
        <p15:guide id="5" orient="horz" pos="210">
          <p15:clr>
            <a:srgbClr val="F26B43"/>
          </p15:clr>
        </p15:guide>
        <p15:guide id="6" orient="horz" pos="4085">
          <p15:clr>
            <a:srgbClr val="F26B43"/>
          </p15:clr>
        </p15:guide>
      </p15:sldGuideLst>
    </p:ext>
  </p:extLst>
</p:sldMaster>
</file>

<file path=ppt/slides/_rels/slide1.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notesSlide" Target="../notesSlides/notesSlide1.xml"/><Relationship Id="rId7" Type="http://schemas.openxmlformats.org/officeDocument/2006/relationships/image" Target="../media/image5.png"/><Relationship Id="rId2" Type="http://schemas.openxmlformats.org/officeDocument/2006/relationships/slideLayout" Target="../slideLayouts/slideLayout1.xml"/><Relationship Id="rId1" Type="http://schemas.openxmlformats.org/officeDocument/2006/relationships/tags" Target="../tags/tag4.xml"/><Relationship Id="rId6" Type="http://schemas.openxmlformats.org/officeDocument/2006/relationships/image" Target="../media/image1.emf"/><Relationship Id="rId5" Type="http://schemas.openxmlformats.org/officeDocument/2006/relationships/oleObject" Target="../embeddings/oleObject3.bin"/><Relationship Id="rId10" Type="http://schemas.microsoft.com/office/2007/relationships/hdphoto" Target="../media/hdphoto2.wdp"/><Relationship Id="rId4" Type="http://schemas.openxmlformats.org/officeDocument/2006/relationships/image" Target="../media/image4.jpeg"/><Relationship Id="rId9" Type="http://schemas.openxmlformats.org/officeDocument/2006/relationships/image" Target="../media/image6.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7.xml"/><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30.svg"/><Relationship Id="rId7" Type="http://schemas.openxmlformats.org/officeDocument/2006/relationships/image" Target="../media/image34.svg"/><Relationship Id="rId2" Type="http://schemas.openxmlformats.org/officeDocument/2006/relationships/image" Target="../media/image29.png"/><Relationship Id="rId1" Type="http://schemas.openxmlformats.org/officeDocument/2006/relationships/slideLayout" Target="../slideLayouts/slideLayout1.xml"/><Relationship Id="rId6" Type="http://schemas.openxmlformats.org/officeDocument/2006/relationships/image" Target="../media/image33.png"/><Relationship Id="rId5" Type="http://schemas.openxmlformats.org/officeDocument/2006/relationships/image" Target="../media/image32.svg"/><Relationship Id="rId4" Type="http://schemas.openxmlformats.org/officeDocument/2006/relationships/image" Target="../media/image31.png"/><Relationship Id="rId9" Type="http://schemas.openxmlformats.org/officeDocument/2006/relationships/image" Target="../media/image36.svg"/></Relationships>
</file>

<file path=ppt/slides/_rels/slide19.xml.rels><?xml version="1.0" encoding="UTF-8" standalone="yes"?>
<Relationships xmlns="http://schemas.openxmlformats.org/package/2006/relationships"><Relationship Id="rId8" Type="http://schemas.openxmlformats.org/officeDocument/2006/relationships/image" Target="../media/image40.svg"/><Relationship Id="rId13" Type="http://schemas.openxmlformats.org/officeDocument/2006/relationships/image" Target="../media/image45.png"/><Relationship Id="rId3" Type="http://schemas.openxmlformats.org/officeDocument/2006/relationships/image" Target="../media/image29.png"/><Relationship Id="rId7" Type="http://schemas.openxmlformats.org/officeDocument/2006/relationships/image" Target="../media/image39.png"/><Relationship Id="rId12" Type="http://schemas.openxmlformats.org/officeDocument/2006/relationships/image" Target="../media/image44.svg"/><Relationship Id="rId2" Type="http://schemas.openxmlformats.org/officeDocument/2006/relationships/notesSlide" Target="../notesSlides/notesSlide8.xml"/><Relationship Id="rId16" Type="http://schemas.openxmlformats.org/officeDocument/2006/relationships/image" Target="../media/image48.svg"/><Relationship Id="rId1" Type="http://schemas.openxmlformats.org/officeDocument/2006/relationships/slideLayout" Target="../slideLayouts/slideLayout4.xml"/><Relationship Id="rId6" Type="http://schemas.openxmlformats.org/officeDocument/2006/relationships/image" Target="../media/image38.svg"/><Relationship Id="rId11" Type="http://schemas.openxmlformats.org/officeDocument/2006/relationships/image" Target="../media/image43.png"/><Relationship Id="rId5" Type="http://schemas.openxmlformats.org/officeDocument/2006/relationships/image" Target="../media/image37.png"/><Relationship Id="rId15" Type="http://schemas.openxmlformats.org/officeDocument/2006/relationships/image" Target="../media/image47.png"/><Relationship Id="rId10" Type="http://schemas.openxmlformats.org/officeDocument/2006/relationships/image" Target="../media/image42.svg"/><Relationship Id="rId4" Type="http://schemas.openxmlformats.org/officeDocument/2006/relationships/image" Target="../media/image30.svg"/><Relationship Id="rId9" Type="http://schemas.openxmlformats.org/officeDocument/2006/relationships/image" Target="../media/image41.png"/><Relationship Id="rId14" Type="http://schemas.openxmlformats.org/officeDocument/2006/relationships/image" Target="../media/image46.sv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image" Target="../media/image40.svg"/><Relationship Id="rId13" Type="http://schemas.openxmlformats.org/officeDocument/2006/relationships/image" Target="../media/image45.png"/><Relationship Id="rId3" Type="http://schemas.openxmlformats.org/officeDocument/2006/relationships/image" Target="../media/image29.png"/><Relationship Id="rId7" Type="http://schemas.openxmlformats.org/officeDocument/2006/relationships/image" Target="../media/image39.png"/><Relationship Id="rId12" Type="http://schemas.openxmlformats.org/officeDocument/2006/relationships/image" Target="../media/image44.svg"/><Relationship Id="rId2" Type="http://schemas.openxmlformats.org/officeDocument/2006/relationships/notesSlide" Target="../notesSlides/notesSlide9.xml"/><Relationship Id="rId16" Type="http://schemas.openxmlformats.org/officeDocument/2006/relationships/image" Target="../media/image48.svg"/><Relationship Id="rId1" Type="http://schemas.openxmlformats.org/officeDocument/2006/relationships/slideLayout" Target="../slideLayouts/slideLayout4.xml"/><Relationship Id="rId6" Type="http://schemas.openxmlformats.org/officeDocument/2006/relationships/image" Target="../media/image38.svg"/><Relationship Id="rId11" Type="http://schemas.openxmlformats.org/officeDocument/2006/relationships/image" Target="../media/image43.png"/><Relationship Id="rId5" Type="http://schemas.openxmlformats.org/officeDocument/2006/relationships/image" Target="../media/image37.png"/><Relationship Id="rId15" Type="http://schemas.openxmlformats.org/officeDocument/2006/relationships/image" Target="../media/image47.png"/><Relationship Id="rId10" Type="http://schemas.openxmlformats.org/officeDocument/2006/relationships/image" Target="../media/image42.svg"/><Relationship Id="rId4" Type="http://schemas.openxmlformats.org/officeDocument/2006/relationships/image" Target="../media/image30.svg"/><Relationship Id="rId9" Type="http://schemas.openxmlformats.org/officeDocument/2006/relationships/image" Target="../media/image41.png"/><Relationship Id="rId14" Type="http://schemas.openxmlformats.org/officeDocument/2006/relationships/image" Target="../media/image46.svg"/></Relationships>
</file>

<file path=ppt/slides/_rels/slide21.xml.rels><?xml version="1.0" encoding="UTF-8" standalone="yes"?>
<Relationships xmlns="http://schemas.openxmlformats.org/package/2006/relationships"><Relationship Id="rId8" Type="http://schemas.openxmlformats.org/officeDocument/2006/relationships/image" Target="../media/image40.svg"/><Relationship Id="rId13" Type="http://schemas.openxmlformats.org/officeDocument/2006/relationships/image" Target="../media/image45.png"/><Relationship Id="rId3" Type="http://schemas.openxmlformats.org/officeDocument/2006/relationships/image" Target="../media/image29.png"/><Relationship Id="rId7" Type="http://schemas.openxmlformats.org/officeDocument/2006/relationships/image" Target="../media/image39.png"/><Relationship Id="rId12" Type="http://schemas.openxmlformats.org/officeDocument/2006/relationships/image" Target="../media/image44.svg"/><Relationship Id="rId2" Type="http://schemas.openxmlformats.org/officeDocument/2006/relationships/notesSlide" Target="../notesSlides/notesSlide10.xml"/><Relationship Id="rId16" Type="http://schemas.openxmlformats.org/officeDocument/2006/relationships/image" Target="../media/image48.svg"/><Relationship Id="rId1" Type="http://schemas.openxmlformats.org/officeDocument/2006/relationships/slideLayout" Target="../slideLayouts/slideLayout4.xml"/><Relationship Id="rId6" Type="http://schemas.openxmlformats.org/officeDocument/2006/relationships/image" Target="../media/image38.svg"/><Relationship Id="rId11" Type="http://schemas.openxmlformats.org/officeDocument/2006/relationships/image" Target="../media/image43.png"/><Relationship Id="rId5" Type="http://schemas.openxmlformats.org/officeDocument/2006/relationships/image" Target="../media/image37.png"/><Relationship Id="rId15" Type="http://schemas.openxmlformats.org/officeDocument/2006/relationships/image" Target="../media/image47.png"/><Relationship Id="rId10" Type="http://schemas.openxmlformats.org/officeDocument/2006/relationships/image" Target="../media/image42.svg"/><Relationship Id="rId4" Type="http://schemas.openxmlformats.org/officeDocument/2006/relationships/image" Target="../media/image30.svg"/><Relationship Id="rId9" Type="http://schemas.openxmlformats.org/officeDocument/2006/relationships/image" Target="../media/image41.png"/><Relationship Id="rId14" Type="http://schemas.openxmlformats.org/officeDocument/2006/relationships/image" Target="../media/image46.svg"/></Relationships>
</file>

<file path=ppt/slides/_rels/slide22.xml.rels><?xml version="1.0" encoding="UTF-8" standalone="yes"?>
<Relationships xmlns="http://schemas.openxmlformats.org/package/2006/relationships"><Relationship Id="rId8" Type="http://schemas.openxmlformats.org/officeDocument/2006/relationships/image" Target="../media/image40.svg"/><Relationship Id="rId13" Type="http://schemas.openxmlformats.org/officeDocument/2006/relationships/image" Target="../media/image45.png"/><Relationship Id="rId3" Type="http://schemas.openxmlformats.org/officeDocument/2006/relationships/image" Target="../media/image29.png"/><Relationship Id="rId7" Type="http://schemas.openxmlformats.org/officeDocument/2006/relationships/image" Target="../media/image39.png"/><Relationship Id="rId12" Type="http://schemas.openxmlformats.org/officeDocument/2006/relationships/image" Target="../media/image44.svg"/><Relationship Id="rId2" Type="http://schemas.openxmlformats.org/officeDocument/2006/relationships/notesSlide" Target="../notesSlides/notesSlide11.xml"/><Relationship Id="rId16" Type="http://schemas.openxmlformats.org/officeDocument/2006/relationships/image" Target="../media/image48.svg"/><Relationship Id="rId1" Type="http://schemas.openxmlformats.org/officeDocument/2006/relationships/slideLayout" Target="../slideLayouts/slideLayout4.xml"/><Relationship Id="rId6" Type="http://schemas.openxmlformats.org/officeDocument/2006/relationships/image" Target="../media/image38.svg"/><Relationship Id="rId11" Type="http://schemas.openxmlformats.org/officeDocument/2006/relationships/image" Target="../media/image43.png"/><Relationship Id="rId5" Type="http://schemas.openxmlformats.org/officeDocument/2006/relationships/image" Target="../media/image37.png"/><Relationship Id="rId15" Type="http://schemas.openxmlformats.org/officeDocument/2006/relationships/image" Target="../media/image47.png"/><Relationship Id="rId10" Type="http://schemas.openxmlformats.org/officeDocument/2006/relationships/image" Target="../media/image42.svg"/><Relationship Id="rId4" Type="http://schemas.openxmlformats.org/officeDocument/2006/relationships/image" Target="../media/image30.svg"/><Relationship Id="rId9" Type="http://schemas.openxmlformats.org/officeDocument/2006/relationships/image" Target="../media/image41.png"/><Relationship Id="rId14" Type="http://schemas.openxmlformats.org/officeDocument/2006/relationships/image" Target="../media/image46.svg"/></Relationships>
</file>

<file path=ppt/slides/_rels/slide2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jpeg"/><Relationship Id="rId1" Type="http://schemas.openxmlformats.org/officeDocument/2006/relationships/slideLayout" Target="../slideLayouts/slideLayout1.xml"/><Relationship Id="rId6" Type="http://schemas.openxmlformats.org/officeDocument/2006/relationships/image" Target="../media/image53.svg"/><Relationship Id="rId5" Type="http://schemas.openxmlformats.org/officeDocument/2006/relationships/image" Target="../media/image52.png"/><Relationship Id="rId4" Type="http://schemas.openxmlformats.org/officeDocument/2006/relationships/image" Target="../media/image51.sv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5.xml.rels><?xml version="1.0" encoding="UTF-8" standalone="yes"?>
<Relationships xmlns="http://schemas.openxmlformats.org/package/2006/relationships"><Relationship Id="rId3" Type="http://schemas.openxmlformats.org/officeDocument/2006/relationships/image" Target="../media/image59.svg"/><Relationship Id="rId2" Type="http://schemas.openxmlformats.org/officeDocument/2006/relationships/image" Target="../media/image58.png"/><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4.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3" Type="http://schemas.microsoft.com/office/2018/10/relationships/comments" Target="../comments/modernComment_122_BA528485.xml"/><Relationship Id="rId2" Type="http://schemas.openxmlformats.org/officeDocument/2006/relationships/notesSlide" Target="../notesSlides/notesSlide25.xml"/><Relationship Id="rId1" Type="http://schemas.openxmlformats.org/officeDocument/2006/relationships/slideLayout" Target="../slideLayouts/slideLayout3.xml"/><Relationship Id="rId5" Type="http://schemas.openxmlformats.org/officeDocument/2006/relationships/chart" Target="../charts/chart4.xml"/><Relationship Id="rId4" Type="http://schemas.openxmlformats.org/officeDocument/2006/relationships/chart" Target="../charts/chart3.xml"/></Relationships>
</file>

<file path=ppt/slides/_rels/slide68.xml.rels><?xml version="1.0" encoding="UTF-8" standalone="yes"?>
<Relationships xmlns="http://schemas.openxmlformats.org/package/2006/relationships"><Relationship Id="rId8" Type="http://schemas.openxmlformats.org/officeDocument/2006/relationships/image" Target="../media/image68.png"/><Relationship Id="rId13" Type="http://schemas.openxmlformats.org/officeDocument/2006/relationships/image" Target="../media/image73.svg"/><Relationship Id="rId3" Type="http://schemas.openxmlformats.org/officeDocument/2006/relationships/image" Target="../media/image63.svg"/><Relationship Id="rId7" Type="http://schemas.openxmlformats.org/officeDocument/2006/relationships/image" Target="../media/image67.svg"/><Relationship Id="rId12" Type="http://schemas.openxmlformats.org/officeDocument/2006/relationships/image" Target="../media/image72.png"/><Relationship Id="rId2" Type="http://schemas.openxmlformats.org/officeDocument/2006/relationships/image" Target="../media/image62.png"/><Relationship Id="rId1" Type="http://schemas.openxmlformats.org/officeDocument/2006/relationships/slideLayout" Target="../slideLayouts/slideLayout3.xml"/><Relationship Id="rId6" Type="http://schemas.openxmlformats.org/officeDocument/2006/relationships/image" Target="../media/image66.png"/><Relationship Id="rId11" Type="http://schemas.openxmlformats.org/officeDocument/2006/relationships/image" Target="../media/image71.svg"/><Relationship Id="rId5" Type="http://schemas.openxmlformats.org/officeDocument/2006/relationships/image" Target="../media/image65.svg"/><Relationship Id="rId10" Type="http://schemas.openxmlformats.org/officeDocument/2006/relationships/image" Target="../media/image70.png"/><Relationship Id="rId4" Type="http://schemas.openxmlformats.org/officeDocument/2006/relationships/image" Target="../media/image64.png"/><Relationship Id="rId9" Type="http://schemas.openxmlformats.org/officeDocument/2006/relationships/image" Target="../media/image69.svg"/></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8.svg"/></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xml"/></Relationships>
</file>

<file path=ppt/slides/_rels/slide72.xml.rels><?xml version="1.0" encoding="UTF-8" standalone="yes"?>
<Relationships xmlns="http://schemas.openxmlformats.org/package/2006/relationships"><Relationship Id="rId2" Type="http://schemas.openxmlformats.org/officeDocument/2006/relationships/hyperlink" Target="https://agent-tool-game.streamlit.app/" TargetMode="External"/><Relationship Id="rId1" Type="http://schemas.openxmlformats.org/officeDocument/2006/relationships/slideLayout" Target="../slideLayouts/slideLayout1.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xml"/></Relationships>
</file>

<file path=ppt/slides/_rels/slide75.xml.rels><?xml version="1.0" encoding="UTF-8" standalone="yes"?>
<Relationships xmlns="http://schemas.openxmlformats.org/package/2006/relationships"><Relationship Id="rId8" Type="http://schemas.openxmlformats.org/officeDocument/2006/relationships/image" Target="../media/image80.png"/><Relationship Id="rId13" Type="http://schemas.openxmlformats.org/officeDocument/2006/relationships/image" Target="../media/image85.svg"/><Relationship Id="rId18" Type="http://schemas.openxmlformats.org/officeDocument/2006/relationships/image" Target="../media/image90.png"/><Relationship Id="rId26" Type="http://schemas.openxmlformats.org/officeDocument/2006/relationships/image" Target="../media/image98.png"/><Relationship Id="rId3" Type="http://schemas.openxmlformats.org/officeDocument/2006/relationships/image" Target="../media/image75.svg"/><Relationship Id="rId21" Type="http://schemas.openxmlformats.org/officeDocument/2006/relationships/image" Target="../media/image93.svg"/><Relationship Id="rId7" Type="http://schemas.openxmlformats.org/officeDocument/2006/relationships/image" Target="../media/image79.svg"/><Relationship Id="rId12" Type="http://schemas.openxmlformats.org/officeDocument/2006/relationships/image" Target="../media/image84.png"/><Relationship Id="rId17" Type="http://schemas.openxmlformats.org/officeDocument/2006/relationships/image" Target="../media/image89.svg"/><Relationship Id="rId25" Type="http://schemas.openxmlformats.org/officeDocument/2006/relationships/image" Target="../media/image97.svg"/><Relationship Id="rId2" Type="http://schemas.openxmlformats.org/officeDocument/2006/relationships/image" Target="../media/image74.png"/><Relationship Id="rId16" Type="http://schemas.openxmlformats.org/officeDocument/2006/relationships/image" Target="../media/image88.png"/><Relationship Id="rId20" Type="http://schemas.openxmlformats.org/officeDocument/2006/relationships/image" Target="../media/image92.png"/><Relationship Id="rId1" Type="http://schemas.openxmlformats.org/officeDocument/2006/relationships/slideLayout" Target="../slideLayouts/slideLayout3.xml"/><Relationship Id="rId6" Type="http://schemas.openxmlformats.org/officeDocument/2006/relationships/image" Target="../media/image78.png"/><Relationship Id="rId11" Type="http://schemas.openxmlformats.org/officeDocument/2006/relationships/image" Target="../media/image83.svg"/><Relationship Id="rId24" Type="http://schemas.openxmlformats.org/officeDocument/2006/relationships/image" Target="../media/image96.png"/><Relationship Id="rId5" Type="http://schemas.openxmlformats.org/officeDocument/2006/relationships/image" Target="../media/image77.svg"/><Relationship Id="rId15" Type="http://schemas.openxmlformats.org/officeDocument/2006/relationships/image" Target="../media/image87.svg"/><Relationship Id="rId23" Type="http://schemas.openxmlformats.org/officeDocument/2006/relationships/image" Target="../media/image95.svg"/><Relationship Id="rId10" Type="http://schemas.openxmlformats.org/officeDocument/2006/relationships/image" Target="../media/image82.png"/><Relationship Id="rId19" Type="http://schemas.openxmlformats.org/officeDocument/2006/relationships/image" Target="../media/image91.svg"/><Relationship Id="rId4" Type="http://schemas.openxmlformats.org/officeDocument/2006/relationships/image" Target="../media/image76.png"/><Relationship Id="rId9" Type="http://schemas.openxmlformats.org/officeDocument/2006/relationships/image" Target="../media/image81.svg"/><Relationship Id="rId14" Type="http://schemas.openxmlformats.org/officeDocument/2006/relationships/image" Target="../media/image86.png"/><Relationship Id="rId22" Type="http://schemas.openxmlformats.org/officeDocument/2006/relationships/image" Target="../media/image94.png"/><Relationship Id="rId27" Type="http://schemas.openxmlformats.org/officeDocument/2006/relationships/image" Target="../media/image99.svg"/></Relationships>
</file>

<file path=ppt/slides/_rels/slide76.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Layout" Target="../slideLayouts/slideLayout1.xml"/></Relationships>
</file>

<file path=ppt/slides/_rels/slide77.xml.rels><?xml version="1.0" encoding="UTF-8" standalone="yes"?>
<Relationships xmlns="http://schemas.openxmlformats.org/package/2006/relationships"><Relationship Id="rId8" Type="http://schemas.openxmlformats.org/officeDocument/2006/relationships/image" Target="../media/image106.svg"/><Relationship Id="rId3" Type="http://schemas.openxmlformats.org/officeDocument/2006/relationships/image" Target="../media/image101.png"/><Relationship Id="rId7" Type="http://schemas.openxmlformats.org/officeDocument/2006/relationships/image" Target="../media/image105.png"/><Relationship Id="rId2" Type="http://schemas.openxmlformats.org/officeDocument/2006/relationships/notesSlide" Target="../notesSlides/notesSlide30.xml"/><Relationship Id="rId1" Type="http://schemas.openxmlformats.org/officeDocument/2006/relationships/slideLayout" Target="../slideLayouts/slideLayout1.xml"/><Relationship Id="rId6" Type="http://schemas.openxmlformats.org/officeDocument/2006/relationships/image" Target="../media/image104.svg"/><Relationship Id="rId5" Type="http://schemas.openxmlformats.org/officeDocument/2006/relationships/image" Target="../media/image103.png"/><Relationship Id="rId10" Type="http://schemas.openxmlformats.org/officeDocument/2006/relationships/image" Target="../media/image108.svg"/><Relationship Id="rId4" Type="http://schemas.openxmlformats.org/officeDocument/2006/relationships/image" Target="../media/image102.svg"/><Relationship Id="rId9" Type="http://schemas.openxmlformats.org/officeDocument/2006/relationships/image" Target="../media/image107.png"/></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2.xml.rels><?xml version="1.0" encoding="UTF-8" standalone="yes"?>
<Relationships xmlns="http://schemas.openxmlformats.org/package/2006/relationships"><Relationship Id="rId3" Type="http://schemas.openxmlformats.org/officeDocument/2006/relationships/hyperlink" Target="https://arxiv.org/pdf/2206.07682" TargetMode="External"/><Relationship Id="rId2" Type="http://schemas.openxmlformats.org/officeDocument/2006/relationships/hyperlink" Target="https://arxiv.org/pdf/2302.04761" TargetMode="External"/><Relationship Id="rId1" Type="http://schemas.openxmlformats.org/officeDocument/2006/relationships/slideLayout" Target="../slideLayouts/slideLayout1.xml"/><Relationship Id="rId5" Type="http://schemas.openxmlformats.org/officeDocument/2006/relationships/image" Target="../media/image110.png"/><Relationship Id="rId4" Type="http://schemas.openxmlformats.org/officeDocument/2006/relationships/image" Target="../media/image109.png"/></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svg"/><Relationship Id="rId7" Type="http://schemas.openxmlformats.org/officeDocument/2006/relationships/image" Target="../media/image16.svg"/><Relationship Id="rId2" Type="http://schemas.openxmlformats.org/officeDocument/2006/relationships/image" Target="../media/image11.png"/><Relationship Id="rId1" Type="http://schemas.openxmlformats.org/officeDocument/2006/relationships/slideLayout" Target="../slideLayouts/slideLayout1.xml"/><Relationship Id="rId6" Type="http://schemas.openxmlformats.org/officeDocument/2006/relationships/image" Target="../media/image15.png"/><Relationship Id="rId5" Type="http://schemas.openxmlformats.org/officeDocument/2006/relationships/image" Target="../media/image14.svg"/><Relationship Id="rId4" Type="http://schemas.openxmlformats.org/officeDocument/2006/relationships/image" Target="../media/image13.png"/><Relationship Id="rId9" Type="http://schemas.openxmlformats.org/officeDocument/2006/relationships/image" Target="../media/image18.svg"/></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7.xml.rels><?xml version="1.0" encoding="UTF-8" standalone="yes"?>
<Relationships xmlns="http://schemas.openxmlformats.org/package/2006/relationships"><Relationship Id="rId8" Type="http://schemas.openxmlformats.org/officeDocument/2006/relationships/image" Target="../media/image117.png"/><Relationship Id="rId3" Type="http://schemas.openxmlformats.org/officeDocument/2006/relationships/image" Target="../media/image112.svg"/><Relationship Id="rId7" Type="http://schemas.openxmlformats.org/officeDocument/2006/relationships/image" Target="../media/image116.svg"/><Relationship Id="rId2" Type="http://schemas.openxmlformats.org/officeDocument/2006/relationships/image" Target="../media/image111.png"/><Relationship Id="rId1" Type="http://schemas.openxmlformats.org/officeDocument/2006/relationships/slideLayout" Target="../slideLayouts/slideLayout3.xml"/><Relationship Id="rId6" Type="http://schemas.openxmlformats.org/officeDocument/2006/relationships/image" Target="../media/image115.png"/><Relationship Id="rId5" Type="http://schemas.openxmlformats.org/officeDocument/2006/relationships/image" Target="../media/image114.svg"/><Relationship Id="rId4" Type="http://schemas.openxmlformats.org/officeDocument/2006/relationships/image" Target="../media/image113.png"/><Relationship Id="rId9" Type="http://schemas.openxmlformats.org/officeDocument/2006/relationships/image" Target="../media/image118.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75D592-6E59-D1B0-9E9C-2FA3EDC39004}"/>
            </a:ext>
          </a:extLst>
        </p:cNvPr>
        <p:cNvGrpSpPr/>
        <p:nvPr/>
      </p:nvGrpSpPr>
      <p:grpSpPr>
        <a:xfrm>
          <a:off x="0" y="0"/>
          <a:ext cx="0" cy="0"/>
          <a:chOff x="0" y="0"/>
          <a:chExt cx="0" cy="0"/>
        </a:xfrm>
      </p:grpSpPr>
      <p:sp>
        <p:nvSpPr>
          <p:cNvPr id="15" name="Rectangle 14">
            <a:extLst>
              <a:ext uri="{FF2B5EF4-FFF2-40B4-BE49-F238E27FC236}">
                <a16:creationId xmlns:a16="http://schemas.microsoft.com/office/drawing/2014/main" id="{344941C7-0039-35FC-FE87-83F58F272326}"/>
              </a:ext>
            </a:extLst>
          </p:cNvPr>
          <p:cNvSpPr/>
          <p:nvPr/>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61CA60A7-2246-94F4-E4A2-4798174DD424}"/>
              </a:ext>
            </a:extLst>
          </p:cNvPr>
          <p:cNvPicPr>
            <a:picLocks/>
          </p:cNvPicPr>
          <p:nvPr/>
        </p:nvPicPr>
        <p:blipFill>
          <a:blip r:embed="rId4">
            <a:extLst>
              <a:ext uri="{28A0092B-C50C-407E-A947-70E740481C1C}">
                <a14:useLocalDpi xmlns:a14="http://schemas.microsoft.com/office/drawing/2010/main" val="0"/>
              </a:ext>
            </a:extLst>
          </a:blip>
          <a:srcRect t="10670" b="10670"/>
          <a:stretch/>
        </p:blipFill>
        <p:spPr>
          <a:xfrm>
            <a:off x="91439" y="91440"/>
            <a:ext cx="12006072" cy="6675120"/>
          </a:xfrm>
          <a:prstGeom prst="rect">
            <a:avLst/>
          </a:prstGeom>
        </p:spPr>
      </p:pic>
      <p:sp>
        <p:nvSpPr>
          <p:cNvPr id="23" name="Rectangle 22">
            <a:extLst>
              <a:ext uri="{FF2B5EF4-FFF2-40B4-BE49-F238E27FC236}">
                <a16:creationId xmlns:a16="http://schemas.microsoft.com/office/drawing/2014/main" id="{C467FB27-CF84-429E-4915-7B19E5D123EA}"/>
              </a:ext>
            </a:extLst>
          </p:cNvPr>
          <p:cNvSpPr/>
          <p:nvPr/>
        </p:nvSpPr>
        <p:spPr>
          <a:xfrm rot="16200000">
            <a:off x="2761445" y="-2570949"/>
            <a:ext cx="6667151" cy="12004980"/>
          </a:xfrm>
          <a:prstGeom prst="rect">
            <a:avLst/>
          </a:prstGeom>
          <a:gradFill flip="none" rotWithShape="1">
            <a:gsLst>
              <a:gs pos="100000">
                <a:srgbClr val="000000">
                  <a:lumMod val="99664"/>
                  <a:lumOff val="336"/>
                  <a:alpha val="99000"/>
                </a:srgbClr>
              </a:gs>
              <a:gs pos="8000">
                <a:schemeClr val="bg1">
                  <a:alpha val="3000"/>
                </a:schemeClr>
              </a:gs>
            </a:gsLst>
            <a:path path="circle">
              <a:fillToRect l="100000" t="100000"/>
            </a:path>
            <a:tileRect r="-100000" b="-100000"/>
          </a:gradFill>
          <a:ln w="12700" cap="flat" cmpd="sng" algn="ctr">
            <a:noFill/>
            <a:prstDash val="solid"/>
            <a:miter lim="800000"/>
          </a:ln>
          <a:effectLst/>
        </p:spPr>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Graphik"/>
              <a:ea typeface="+mn-ea"/>
              <a:cs typeface="+mn-cs"/>
            </a:endParaRPr>
          </a:p>
        </p:txBody>
      </p:sp>
      <p:graphicFrame>
        <p:nvGraphicFramePr>
          <p:cNvPr id="199" name="think-cell data - do not delete" hidden="1">
            <a:extLst>
              <a:ext uri="{FF2B5EF4-FFF2-40B4-BE49-F238E27FC236}">
                <a16:creationId xmlns:a16="http://schemas.microsoft.com/office/drawing/2014/main" id="{93122961-7E55-896A-B762-812677816B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199" name="think-cell data - do not delete" hidden="1">
                        <a:extLst>
                          <a:ext uri="{FF2B5EF4-FFF2-40B4-BE49-F238E27FC236}">
                            <a16:creationId xmlns:a16="http://schemas.microsoft.com/office/drawing/2014/main" id="{93122961-7E55-896A-B762-812677816B8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Title 2">
            <a:extLst>
              <a:ext uri="{FF2B5EF4-FFF2-40B4-BE49-F238E27FC236}">
                <a16:creationId xmlns:a16="http://schemas.microsoft.com/office/drawing/2014/main" id="{67F2ADDA-766D-92F6-7637-ADFC30BD37EE}"/>
              </a:ext>
            </a:extLst>
          </p:cNvPr>
          <p:cNvSpPr txBox="1">
            <a:spLocks/>
          </p:cNvSpPr>
          <p:nvPr/>
        </p:nvSpPr>
        <p:spPr>
          <a:xfrm>
            <a:off x="655077" y="3598301"/>
            <a:ext cx="9994449" cy="3161734"/>
          </a:xfrm>
          <a:prstGeom prst="rect">
            <a:avLst/>
          </a:prstGeom>
        </p:spPr>
        <p:txBody>
          <a:bodyPr vert="horz" wrap="square" lIns="0" tIns="0" rIns="0" bIns="0" anchor="t">
            <a:noAutofit/>
          </a:bodyPr>
          <a:lstStyle>
            <a:lvl1pPr marL="0" indent="0" algn="l" defTabSz="457192" rtl="0" eaLnBrk="1" latinLnBrk="0" hangingPunct="1">
              <a:lnSpc>
                <a:spcPct val="80000"/>
              </a:lnSpc>
              <a:spcBef>
                <a:spcPct val="0"/>
              </a:spcBef>
              <a:buFont typeface="Arial" panose="020B0604020202020204" pitchFamily="34" charset="0"/>
              <a:buNone/>
              <a:defRPr sz="2800" b="0" i="0" kern="1200" cap="none">
                <a:solidFill>
                  <a:schemeClr val="tx1"/>
                </a:solidFill>
                <a:latin typeface="Graphik-Medium" panose="020B0503030202060203" pitchFamily="34" charset="77"/>
                <a:ea typeface="+mj-ea"/>
                <a:cs typeface="Arial"/>
              </a:defRPr>
            </a:lvl1pPr>
          </a:lstStyle>
          <a:p>
            <a:pPr>
              <a:spcAft>
                <a:spcPts val="1200"/>
              </a:spcAft>
            </a:pPr>
            <a:r>
              <a:rPr lang="en-US" sz="4800">
                <a:solidFill>
                  <a:schemeClr val="bg1"/>
                </a:solidFill>
                <a:latin typeface="Graphik-Light" panose="020B0403030202060203" pitchFamily="34" charset="77"/>
              </a:rPr>
              <a:t>Citizens Agentic Learning</a:t>
            </a:r>
            <a:br>
              <a:rPr lang="en-US" sz="3600">
                <a:solidFill>
                  <a:schemeClr val="bg1"/>
                </a:solidFill>
                <a:latin typeface="Graphik-Light" panose="020B0403030202060203" pitchFamily="34" charset="77"/>
              </a:rPr>
            </a:br>
            <a:br>
              <a:rPr lang="en-US" sz="3200">
                <a:solidFill>
                  <a:schemeClr val="bg1"/>
                </a:solidFill>
                <a:latin typeface="Graphik-Light" panose="020B0403030202060203" pitchFamily="34" charset="77"/>
              </a:rPr>
            </a:br>
            <a:br>
              <a:rPr lang="en-US" sz="3200">
                <a:solidFill>
                  <a:schemeClr val="bg1"/>
                </a:solidFill>
                <a:latin typeface="Graphik-Light" panose="020B0403030202060203" pitchFamily="34" charset="77"/>
              </a:rPr>
            </a:br>
            <a:br>
              <a:rPr lang="en-US" sz="3200">
                <a:solidFill>
                  <a:schemeClr val="bg1"/>
                </a:solidFill>
                <a:latin typeface="Graphik-Light" panose="020B0403030202060203" pitchFamily="34" charset="77"/>
              </a:rPr>
            </a:br>
            <a:r>
              <a:rPr lang="en-US" sz="2400">
                <a:solidFill>
                  <a:schemeClr val="accent6"/>
                </a:solidFill>
              </a:rPr>
              <a:t>May 2025</a:t>
            </a:r>
            <a:endParaRPr lang="en-US" sz="4800">
              <a:solidFill>
                <a:schemeClr val="accent6"/>
              </a:solidFill>
            </a:endParaRPr>
          </a:p>
        </p:txBody>
      </p:sp>
      <p:grpSp>
        <p:nvGrpSpPr>
          <p:cNvPr id="17" name="Group 16">
            <a:extLst>
              <a:ext uri="{FF2B5EF4-FFF2-40B4-BE49-F238E27FC236}">
                <a16:creationId xmlns:a16="http://schemas.microsoft.com/office/drawing/2014/main" id="{0563857C-5177-4605-6DF5-876CCE18243C}"/>
              </a:ext>
            </a:extLst>
          </p:cNvPr>
          <p:cNvGrpSpPr/>
          <p:nvPr/>
        </p:nvGrpSpPr>
        <p:grpSpPr>
          <a:xfrm>
            <a:off x="655078" y="2767404"/>
            <a:ext cx="4939077" cy="661596"/>
            <a:chOff x="329184" y="537202"/>
            <a:chExt cx="3649661" cy="488877"/>
          </a:xfrm>
        </p:grpSpPr>
        <p:pic>
          <p:nvPicPr>
            <p:cNvPr id="18" name="Picture 17" descr="A black background with a black square&#10;&#10;Description automatically generated with medium confidence">
              <a:extLst>
                <a:ext uri="{FF2B5EF4-FFF2-40B4-BE49-F238E27FC236}">
                  <a16:creationId xmlns:a16="http://schemas.microsoft.com/office/drawing/2014/main" id="{57B04978-65EB-7CBA-5EBB-1FE96C21E7EC}"/>
                </a:ext>
              </a:extLst>
            </p:cNvPr>
            <p:cNvPicPr>
              <a:picLocks noChangeAspect="1"/>
            </p:cNvPicPr>
            <p:nvPr userDrawn="1"/>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29184" y="608447"/>
              <a:ext cx="1311511" cy="346387"/>
            </a:xfrm>
            <a:prstGeom prst="rect">
              <a:avLst/>
            </a:prstGeom>
          </p:spPr>
        </p:pic>
        <p:cxnSp>
          <p:nvCxnSpPr>
            <p:cNvPr id="19" name="Straight Connector 18">
              <a:extLst>
                <a:ext uri="{FF2B5EF4-FFF2-40B4-BE49-F238E27FC236}">
                  <a16:creationId xmlns:a16="http://schemas.microsoft.com/office/drawing/2014/main" id="{8EAA3A14-2A17-7BEF-3071-012D1D436894}"/>
                </a:ext>
              </a:extLst>
            </p:cNvPr>
            <p:cNvCxnSpPr>
              <a:cxnSpLocks/>
            </p:cNvCxnSpPr>
            <p:nvPr userDrawn="1"/>
          </p:nvCxnSpPr>
          <p:spPr>
            <a:xfrm>
              <a:off x="1804193" y="537202"/>
              <a:ext cx="0" cy="488877"/>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20" name="Picture 19" descr="A close up of a logo&#10;&#10;Description automatically generated">
              <a:extLst>
                <a:ext uri="{FF2B5EF4-FFF2-40B4-BE49-F238E27FC236}">
                  <a16:creationId xmlns:a16="http://schemas.microsoft.com/office/drawing/2014/main" id="{936A3237-13D7-68BC-9B60-8E67AF065F04}"/>
                </a:ext>
              </a:extLst>
            </p:cNvPr>
            <p:cNvPicPr>
              <a:picLocks noChangeAspect="1"/>
            </p:cNvPicPr>
            <p:nvPr userDrawn="1"/>
          </p:nvPicPr>
          <p:blipFill rotWithShape="1">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t="29087" b="33997"/>
            <a:stretch/>
          </p:blipFill>
          <p:spPr>
            <a:xfrm>
              <a:off x="1967691" y="572824"/>
              <a:ext cx="2011154" cy="417632"/>
            </a:xfrm>
            <a:prstGeom prst="rect">
              <a:avLst/>
            </a:prstGeom>
          </p:spPr>
        </p:pic>
      </p:grpSp>
    </p:spTree>
    <p:extLst>
      <p:ext uri="{BB962C8B-B14F-4D97-AF65-F5344CB8AC3E}">
        <p14:creationId xmlns:p14="http://schemas.microsoft.com/office/powerpoint/2010/main" val="31865405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5196AA-FB78-07E0-434E-05D1278D7F7A}"/>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DAE65881-1846-ECEA-8CBC-23F6198FF423}"/>
              </a:ext>
            </a:extLst>
          </p:cNvPr>
          <p:cNvSpPr>
            <a:spLocks noGrp="1"/>
          </p:cNvSpPr>
          <p:nvPr>
            <p:ph type="title"/>
          </p:nvPr>
        </p:nvSpPr>
        <p:spPr>
          <a:xfrm>
            <a:off x="381000" y="224449"/>
            <a:ext cx="11430000" cy="990600"/>
          </a:xfrm>
        </p:spPr>
        <p:txBody>
          <a:bodyPr>
            <a:normAutofit/>
          </a:bodyPr>
          <a:lstStyle/>
          <a:p>
            <a:r>
              <a:rPr lang="en-US"/>
              <a:t>How is Agentic AI different than GenAI?</a:t>
            </a:r>
          </a:p>
        </p:txBody>
      </p:sp>
      <p:graphicFrame>
        <p:nvGraphicFramePr>
          <p:cNvPr id="5" name="Content Placeholder 4">
            <a:extLst>
              <a:ext uri="{FF2B5EF4-FFF2-40B4-BE49-F238E27FC236}">
                <a16:creationId xmlns:a16="http://schemas.microsoft.com/office/drawing/2014/main" id="{7D557F51-24CB-0A55-1B56-8E1BE4E08E89}"/>
              </a:ext>
            </a:extLst>
          </p:cNvPr>
          <p:cNvGraphicFramePr>
            <a:graphicFrameLocks noGrp="1"/>
          </p:cNvGraphicFramePr>
          <p:nvPr>
            <p:ph sz="quarter" idx="10"/>
          </p:nvPr>
        </p:nvGraphicFramePr>
        <p:xfrm>
          <a:off x="222738" y="2250280"/>
          <a:ext cx="11746523" cy="2708941"/>
        </p:xfrm>
        <a:graphic>
          <a:graphicData uri="http://schemas.openxmlformats.org/drawingml/2006/table">
            <a:tbl>
              <a:tblPr firstRow="1" firstCol="1">
                <a:tableStyleId>{21E4AEA4-8DFA-4A89-87EB-49C32662AFE0}</a:tableStyleId>
              </a:tblPr>
              <a:tblGrid>
                <a:gridCol w="676990">
                  <a:extLst>
                    <a:ext uri="{9D8B030D-6E8A-4147-A177-3AD203B41FA5}">
                      <a16:colId xmlns:a16="http://schemas.microsoft.com/office/drawing/2014/main" val="3428023678"/>
                    </a:ext>
                  </a:extLst>
                </a:gridCol>
                <a:gridCol w="1280763">
                  <a:extLst>
                    <a:ext uri="{9D8B030D-6E8A-4147-A177-3AD203B41FA5}">
                      <a16:colId xmlns:a16="http://schemas.microsoft.com/office/drawing/2014/main" val="1579214856"/>
                    </a:ext>
                  </a:extLst>
                </a:gridCol>
                <a:gridCol w="978877">
                  <a:extLst>
                    <a:ext uri="{9D8B030D-6E8A-4147-A177-3AD203B41FA5}">
                      <a16:colId xmlns:a16="http://schemas.microsoft.com/office/drawing/2014/main" val="3829347764"/>
                    </a:ext>
                  </a:extLst>
                </a:gridCol>
                <a:gridCol w="978877">
                  <a:extLst>
                    <a:ext uri="{9D8B030D-6E8A-4147-A177-3AD203B41FA5}">
                      <a16:colId xmlns:a16="http://schemas.microsoft.com/office/drawing/2014/main" val="3081215794"/>
                    </a:ext>
                  </a:extLst>
                </a:gridCol>
                <a:gridCol w="978877">
                  <a:extLst>
                    <a:ext uri="{9D8B030D-6E8A-4147-A177-3AD203B41FA5}">
                      <a16:colId xmlns:a16="http://schemas.microsoft.com/office/drawing/2014/main" val="2728746695"/>
                    </a:ext>
                  </a:extLst>
                </a:gridCol>
                <a:gridCol w="978877">
                  <a:extLst>
                    <a:ext uri="{9D8B030D-6E8A-4147-A177-3AD203B41FA5}">
                      <a16:colId xmlns:a16="http://schemas.microsoft.com/office/drawing/2014/main" val="4188416967"/>
                    </a:ext>
                  </a:extLst>
                </a:gridCol>
                <a:gridCol w="1116623">
                  <a:extLst>
                    <a:ext uri="{9D8B030D-6E8A-4147-A177-3AD203B41FA5}">
                      <a16:colId xmlns:a16="http://schemas.microsoft.com/office/drawing/2014/main" val="1749283252"/>
                    </a:ext>
                  </a:extLst>
                </a:gridCol>
                <a:gridCol w="914400">
                  <a:extLst>
                    <a:ext uri="{9D8B030D-6E8A-4147-A177-3AD203B41FA5}">
                      <a16:colId xmlns:a16="http://schemas.microsoft.com/office/drawing/2014/main" val="3919542560"/>
                    </a:ext>
                  </a:extLst>
                </a:gridCol>
                <a:gridCol w="879231">
                  <a:extLst>
                    <a:ext uri="{9D8B030D-6E8A-4147-A177-3AD203B41FA5}">
                      <a16:colId xmlns:a16="http://schemas.microsoft.com/office/drawing/2014/main" val="1382325116"/>
                    </a:ext>
                  </a:extLst>
                </a:gridCol>
                <a:gridCol w="1005254">
                  <a:extLst>
                    <a:ext uri="{9D8B030D-6E8A-4147-A177-3AD203B41FA5}">
                      <a16:colId xmlns:a16="http://schemas.microsoft.com/office/drawing/2014/main" val="3208636193"/>
                    </a:ext>
                  </a:extLst>
                </a:gridCol>
                <a:gridCol w="867507">
                  <a:extLst>
                    <a:ext uri="{9D8B030D-6E8A-4147-A177-3AD203B41FA5}">
                      <a16:colId xmlns:a16="http://schemas.microsoft.com/office/drawing/2014/main" val="2546370684"/>
                    </a:ext>
                  </a:extLst>
                </a:gridCol>
                <a:gridCol w="1090247">
                  <a:extLst>
                    <a:ext uri="{9D8B030D-6E8A-4147-A177-3AD203B41FA5}">
                      <a16:colId xmlns:a16="http://schemas.microsoft.com/office/drawing/2014/main" val="3069094708"/>
                    </a:ext>
                  </a:extLst>
                </a:gridCol>
              </a:tblGrid>
              <a:tr h="445801">
                <a:tc>
                  <a:txBody>
                    <a:bodyPr/>
                    <a:lstStyle/>
                    <a:p>
                      <a:pPr algn="l" fontAlgn="b"/>
                      <a:r>
                        <a:rPr lang="en-US" sz="1050" b="0" u="none" strike="noStrike">
                          <a:solidFill>
                            <a:schemeClr val="bg1"/>
                          </a:solidFill>
                          <a:effectLst/>
                        </a:rPr>
                        <a:t>AI Type</a:t>
                      </a:r>
                      <a:endParaRPr lang="en-US" sz="1050" b="0" i="0" u="none" strike="noStrike">
                        <a:solidFill>
                          <a:schemeClr val="bg1"/>
                        </a:solidFill>
                        <a:effectLst/>
                        <a:latin typeface="Aptos Narrow" panose="020B0004020202020204" pitchFamily="34" charset="0"/>
                      </a:endParaRPr>
                    </a:p>
                  </a:txBody>
                  <a:tcPr/>
                </a:tc>
                <a:tc>
                  <a:txBody>
                    <a:bodyPr/>
                    <a:lstStyle/>
                    <a:p>
                      <a:pPr algn="l" fontAlgn="b"/>
                      <a:r>
                        <a:rPr lang="en-US" sz="1050" b="0" u="none" strike="noStrike">
                          <a:solidFill>
                            <a:schemeClr val="bg1"/>
                          </a:solidFill>
                          <a:effectLst/>
                        </a:rPr>
                        <a:t>Core Focus</a:t>
                      </a:r>
                      <a:endParaRPr lang="en-US" sz="1050" b="0" i="0" u="none" strike="noStrike">
                        <a:solidFill>
                          <a:schemeClr val="bg1"/>
                        </a:solidFill>
                        <a:effectLst/>
                        <a:latin typeface="Aptos Narrow" panose="020B0004020202020204" pitchFamily="34" charset="0"/>
                      </a:endParaRPr>
                    </a:p>
                  </a:txBody>
                  <a:tcPr/>
                </a:tc>
                <a:tc>
                  <a:txBody>
                    <a:bodyPr/>
                    <a:lstStyle/>
                    <a:p>
                      <a:pPr algn="l" fontAlgn="b"/>
                      <a:r>
                        <a:rPr lang="en-US" sz="1050" b="0" u="none" strike="noStrike">
                          <a:solidFill>
                            <a:schemeClr val="bg1"/>
                          </a:solidFill>
                          <a:effectLst/>
                        </a:rPr>
                        <a:t>Memory &amp; Context</a:t>
                      </a:r>
                      <a:endParaRPr lang="en-US" sz="1050" b="0" i="0" u="none" strike="noStrike">
                        <a:solidFill>
                          <a:schemeClr val="bg1"/>
                        </a:solidFill>
                        <a:effectLst/>
                        <a:latin typeface="Aptos Narrow" panose="020B0004020202020204" pitchFamily="34" charset="0"/>
                      </a:endParaRPr>
                    </a:p>
                  </a:txBody>
                  <a:tcPr/>
                </a:tc>
                <a:tc>
                  <a:txBody>
                    <a:bodyPr/>
                    <a:lstStyle/>
                    <a:p>
                      <a:pPr algn="l" fontAlgn="b"/>
                      <a:r>
                        <a:rPr lang="en-US" sz="1050" b="0" u="none" strike="noStrike">
                          <a:solidFill>
                            <a:schemeClr val="bg1"/>
                          </a:solidFill>
                          <a:effectLst/>
                        </a:rPr>
                        <a:t>Autonomy Level</a:t>
                      </a:r>
                      <a:endParaRPr lang="en-US" sz="1050" b="0" i="0" u="none" strike="noStrike">
                        <a:solidFill>
                          <a:schemeClr val="bg1"/>
                        </a:solidFill>
                        <a:effectLst/>
                        <a:latin typeface="Aptos Narrow" panose="020B0004020202020204" pitchFamily="34" charset="0"/>
                      </a:endParaRPr>
                    </a:p>
                  </a:txBody>
                  <a:tcPr/>
                </a:tc>
                <a:tc>
                  <a:txBody>
                    <a:bodyPr/>
                    <a:lstStyle/>
                    <a:p>
                      <a:pPr algn="l" fontAlgn="b"/>
                      <a:r>
                        <a:rPr lang="en-US" sz="1050" b="0" u="none" strike="noStrike">
                          <a:solidFill>
                            <a:schemeClr val="bg1"/>
                          </a:solidFill>
                          <a:effectLst/>
                        </a:rPr>
                        <a:t>Integration Capabilities</a:t>
                      </a:r>
                      <a:endParaRPr lang="en-US" sz="1050" b="0" i="0" u="none" strike="noStrike">
                        <a:solidFill>
                          <a:schemeClr val="bg1"/>
                        </a:solidFill>
                        <a:effectLst/>
                        <a:latin typeface="Aptos Narrow" panose="020B0004020202020204" pitchFamily="34" charset="0"/>
                      </a:endParaRPr>
                    </a:p>
                  </a:txBody>
                  <a:tcPr/>
                </a:tc>
                <a:tc>
                  <a:txBody>
                    <a:bodyPr/>
                    <a:lstStyle/>
                    <a:p>
                      <a:pPr algn="l" fontAlgn="b"/>
                      <a:r>
                        <a:rPr lang="en-US" sz="1050" b="0" u="none" strike="noStrike">
                          <a:solidFill>
                            <a:schemeClr val="bg1"/>
                          </a:solidFill>
                          <a:effectLst/>
                        </a:rPr>
                        <a:t>Learning Ability</a:t>
                      </a:r>
                      <a:endParaRPr lang="en-US" sz="1050" b="0" i="0" u="none" strike="noStrike">
                        <a:solidFill>
                          <a:schemeClr val="bg1"/>
                        </a:solidFill>
                        <a:effectLst/>
                        <a:latin typeface="Aptos Narrow" panose="020B0004020202020204" pitchFamily="34" charset="0"/>
                      </a:endParaRPr>
                    </a:p>
                  </a:txBody>
                  <a:tcPr/>
                </a:tc>
                <a:tc>
                  <a:txBody>
                    <a:bodyPr/>
                    <a:lstStyle/>
                    <a:p>
                      <a:pPr algn="l" fontAlgn="b"/>
                      <a:r>
                        <a:rPr lang="en-US" sz="1050" b="0" u="none" strike="noStrike">
                          <a:solidFill>
                            <a:schemeClr val="bg1"/>
                          </a:solidFill>
                          <a:effectLst/>
                        </a:rPr>
                        <a:t>Typical Use Cases</a:t>
                      </a:r>
                      <a:endParaRPr lang="en-US" sz="1050" b="0" i="0" u="none" strike="noStrike">
                        <a:solidFill>
                          <a:schemeClr val="bg1"/>
                        </a:solidFill>
                        <a:effectLst/>
                        <a:latin typeface="Aptos Narrow" panose="020B0004020202020204" pitchFamily="34" charset="0"/>
                      </a:endParaRPr>
                    </a:p>
                  </a:txBody>
                  <a:tcPr/>
                </a:tc>
                <a:tc>
                  <a:txBody>
                    <a:bodyPr/>
                    <a:lstStyle/>
                    <a:p>
                      <a:pPr algn="l" fontAlgn="b"/>
                      <a:r>
                        <a:rPr lang="en-US" sz="1050" b="0" u="none" strike="noStrike">
                          <a:solidFill>
                            <a:schemeClr val="bg1"/>
                          </a:solidFill>
                          <a:effectLst/>
                        </a:rPr>
                        <a:t>Business Impact</a:t>
                      </a:r>
                      <a:endParaRPr lang="en-US" sz="1050" b="0" i="0" u="none" strike="noStrike">
                        <a:solidFill>
                          <a:schemeClr val="bg1"/>
                        </a:solidFill>
                        <a:effectLst/>
                        <a:latin typeface="Aptos Narrow" panose="020B0004020202020204" pitchFamily="34" charset="0"/>
                      </a:endParaRPr>
                    </a:p>
                  </a:txBody>
                  <a:tcPr/>
                </a:tc>
                <a:tc>
                  <a:txBody>
                    <a:bodyPr/>
                    <a:lstStyle/>
                    <a:p>
                      <a:pPr algn="l" fontAlgn="b"/>
                      <a:r>
                        <a:rPr lang="en-US" sz="1050" b="0" u="none" strike="noStrike">
                          <a:solidFill>
                            <a:schemeClr val="bg1"/>
                          </a:solidFill>
                          <a:effectLst/>
                        </a:rPr>
                        <a:t>Decision-Making</a:t>
                      </a:r>
                      <a:endParaRPr lang="en-US" sz="1050" b="0" i="0" u="none" strike="noStrike">
                        <a:solidFill>
                          <a:schemeClr val="bg1"/>
                        </a:solidFill>
                        <a:effectLst/>
                        <a:latin typeface="Aptos Narrow" panose="020B0004020202020204" pitchFamily="34" charset="0"/>
                      </a:endParaRPr>
                    </a:p>
                  </a:txBody>
                  <a:tcPr/>
                </a:tc>
                <a:tc>
                  <a:txBody>
                    <a:bodyPr/>
                    <a:lstStyle/>
                    <a:p>
                      <a:pPr algn="l" fontAlgn="b"/>
                      <a:r>
                        <a:rPr lang="en-US" sz="1050" b="0" u="none" strike="noStrike">
                          <a:solidFill>
                            <a:schemeClr val="bg1"/>
                          </a:solidFill>
                          <a:effectLst/>
                        </a:rPr>
                        <a:t>Adaptability</a:t>
                      </a:r>
                      <a:endParaRPr lang="en-US" sz="1050" b="0" i="0" u="none" strike="noStrike">
                        <a:solidFill>
                          <a:schemeClr val="bg1"/>
                        </a:solidFill>
                        <a:effectLst/>
                        <a:latin typeface="Aptos Narrow" panose="020B0004020202020204" pitchFamily="34" charset="0"/>
                      </a:endParaRPr>
                    </a:p>
                  </a:txBody>
                  <a:tcPr/>
                </a:tc>
                <a:tc>
                  <a:txBody>
                    <a:bodyPr/>
                    <a:lstStyle/>
                    <a:p>
                      <a:pPr algn="l" fontAlgn="b"/>
                      <a:r>
                        <a:rPr lang="en-US" sz="1050" b="0" u="none" strike="noStrike">
                          <a:solidFill>
                            <a:schemeClr val="bg1"/>
                          </a:solidFill>
                          <a:effectLst/>
                        </a:rPr>
                        <a:t>User Interaction</a:t>
                      </a:r>
                      <a:endParaRPr lang="en-US" sz="1050" b="0" i="0" u="none" strike="noStrike">
                        <a:solidFill>
                          <a:schemeClr val="bg1"/>
                        </a:solidFill>
                        <a:effectLst/>
                        <a:latin typeface="Aptos Narrow" panose="020B0004020202020204" pitchFamily="34" charset="0"/>
                      </a:endParaRPr>
                    </a:p>
                  </a:txBody>
                  <a:tcPr/>
                </a:tc>
                <a:tc>
                  <a:txBody>
                    <a:bodyPr/>
                    <a:lstStyle/>
                    <a:p>
                      <a:pPr algn="l" fontAlgn="b"/>
                      <a:r>
                        <a:rPr lang="en-US" sz="1050" b="0" u="none" strike="noStrike">
                          <a:solidFill>
                            <a:schemeClr val="bg1"/>
                          </a:solidFill>
                          <a:effectLst/>
                        </a:rPr>
                        <a:t>Operational Scope</a:t>
                      </a:r>
                      <a:endParaRPr lang="en-US" sz="1050" b="0" i="0" u="none" strike="noStrike">
                        <a:solidFill>
                          <a:schemeClr val="bg1"/>
                        </a:solidFill>
                        <a:effectLst/>
                        <a:latin typeface="Aptos Narrow" panose="020B0004020202020204" pitchFamily="34" charset="0"/>
                      </a:endParaRPr>
                    </a:p>
                  </a:txBody>
                  <a:tcPr/>
                </a:tc>
                <a:extLst>
                  <a:ext uri="{0D108BD9-81ED-4DB2-BD59-A6C34878D82A}">
                    <a16:rowId xmlns:a16="http://schemas.microsoft.com/office/drawing/2014/main" val="2636579062"/>
                  </a:ext>
                </a:extLst>
              </a:tr>
              <a:tr h="890702">
                <a:tc>
                  <a:txBody>
                    <a:bodyPr/>
                    <a:lstStyle/>
                    <a:p>
                      <a:pPr algn="l" fontAlgn="b"/>
                      <a:r>
                        <a:rPr lang="en-US" sz="1050" b="0" u="none" strike="noStrike">
                          <a:solidFill>
                            <a:schemeClr val="bg1"/>
                          </a:solidFill>
                          <a:effectLst/>
                        </a:rPr>
                        <a:t>Gen AI</a:t>
                      </a:r>
                      <a:endParaRPr lang="en-US" sz="1050" b="0" i="0" u="none" strike="noStrike">
                        <a:solidFill>
                          <a:schemeClr val="bg1"/>
                        </a:solidFill>
                        <a:effectLst/>
                        <a:latin typeface="Aptos Narrow" panose="020B0004020202020204" pitchFamily="34" charset="0"/>
                      </a:endParaRPr>
                    </a:p>
                  </a:txBody>
                  <a:tcPr/>
                </a:tc>
                <a:tc>
                  <a:txBody>
                    <a:bodyPr/>
                    <a:lstStyle/>
                    <a:p>
                      <a:pPr algn="l" fontAlgn="b"/>
                      <a:r>
                        <a:rPr lang="en-US" sz="1050" b="0" u="none" strike="noStrike">
                          <a:solidFill>
                            <a:schemeClr val="tx2"/>
                          </a:solidFill>
                          <a:effectLst/>
                        </a:rPr>
                        <a:t>Creates content (text, code, images, video) based on learned patterns</a:t>
                      </a:r>
                      <a:endParaRPr lang="en-US" sz="1050" b="0" i="0" u="none" strike="noStrike">
                        <a:solidFill>
                          <a:schemeClr val="tx2"/>
                        </a:solidFill>
                        <a:effectLst/>
                        <a:latin typeface="Aptos Narrow" panose="020B0004020202020204" pitchFamily="34" charset="0"/>
                      </a:endParaRPr>
                    </a:p>
                  </a:txBody>
                  <a:tcPr/>
                </a:tc>
                <a:tc>
                  <a:txBody>
                    <a:bodyPr/>
                    <a:lstStyle/>
                    <a:p>
                      <a:pPr algn="l" fontAlgn="b"/>
                      <a:r>
                        <a:rPr lang="en-US" sz="1050" b="0" u="none" strike="noStrike">
                          <a:solidFill>
                            <a:schemeClr val="tx2"/>
                          </a:solidFill>
                          <a:effectLst/>
                        </a:rPr>
                        <a:t>Short-term memory; stateless across sessions</a:t>
                      </a:r>
                      <a:endParaRPr lang="en-US" sz="1050" b="0" i="0" u="none" strike="noStrike">
                        <a:solidFill>
                          <a:schemeClr val="tx2"/>
                        </a:solidFill>
                        <a:effectLst/>
                        <a:latin typeface="Aptos Narrow" panose="020B0004020202020204" pitchFamily="34" charset="0"/>
                      </a:endParaRPr>
                    </a:p>
                  </a:txBody>
                  <a:tcPr/>
                </a:tc>
                <a:tc>
                  <a:txBody>
                    <a:bodyPr/>
                    <a:lstStyle/>
                    <a:p>
                      <a:pPr algn="l" fontAlgn="b"/>
                      <a:r>
                        <a:rPr lang="en-US" sz="1050" b="0" u="none" strike="noStrike">
                          <a:solidFill>
                            <a:schemeClr val="tx2"/>
                          </a:solidFill>
                          <a:effectLst/>
                        </a:rPr>
                        <a:t>Reactive; responds only to explicit prompts</a:t>
                      </a:r>
                      <a:endParaRPr lang="en-US" sz="1050" b="0" i="0" u="none" strike="noStrike">
                        <a:solidFill>
                          <a:schemeClr val="tx2"/>
                        </a:solidFill>
                        <a:effectLst/>
                        <a:latin typeface="Aptos Narrow" panose="020B0004020202020204" pitchFamily="34" charset="0"/>
                      </a:endParaRPr>
                    </a:p>
                  </a:txBody>
                  <a:tcPr/>
                </a:tc>
                <a:tc>
                  <a:txBody>
                    <a:bodyPr/>
                    <a:lstStyle/>
                    <a:p>
                      <a:pPr algn="l" fontAlgn="b"/>
                      <a:r>
                        <a:rPr lang="en-US" sz="1050" b="0" u="none" strike="noStrike">
                          <a:solidFill>
                            <a:schemeClr val="tx2"/>
                          </a:solidFill>
                          <a:effectLst/>
                        </a:rPr>
                        <a:t>Uses APIs and plugins for limited tasks</a:t>
                      </a:r>
                      <a:endParaRPr lang="en-US" sz="1050" b="0" i="0" u="none" strike="noStrike">
                        <a:solidFill>
                          <a:schemeClr val="tx2"/>
                        </a:solidFill>
                        <a:effectLst/>
                        <a:latin typeface="Aptos Narrow" panose="020B0004020202020204" pitchFamily="34" charset="0"/>
                      </a:endParaRPr>
                    </a:p>
                  </a:txBody>
                  <a:tcPr/>
                </a:tc>
                <a:tc>
                  <a:txBody>
                    <a:bodyPr/>
                    <a:lstStyle/>
                    <a:p>
                      <a:pPr algn="l" fontAlgn="b"/>
                      <a:r>
                        <a:rPr lang="en-US" sz="1050" b="0" u="none" strike="noStrike">
                          <a:solidFill>
                            <a:schemeClr val="tx2"/>
                          </a:solidFill>
                          <a:effectLst/>
                        </a:rPr>
                        <a:t>Static; improved only through developer retraining</a:t>
                      </a:r>
                      <a:endParaRPr lang="en-US" sz="1050" b="0" i="0" u="none" strike="noStrike">
                        <a:solidFill>
                          <a:schemeClr val="tx2"/>
                        </a:solidFill>
                        <a:effectLst/>
                        <a:latin typeface="Aptos Narrow" panose="020B0004020202020204" pitchFamily="34" charset="0"/>
                      </a:endParaRPr>
                    </a:p>
                  </a:txBody>
                  <a:tcPr/>
                </a:tc>
                <a:tc>
                  <a:txBody>
                    <a:bodyPr/>
                    <a:lstStyle/>
                    <a:p>
                      <a:pPr algn="l" fontAlgn="b"/>
                      <a:r>
                        <a:rPr lang="en-US" sz="1050" b="0" u="none" strike="noStrike">
                          <a:solidFill>
                            <a:schemeClr val="tx2"/>
                          </a:solidFill>
                          <a:effectLst/>
                        </a:rPr>
                        <a:t>Content creation, summarization, translation, media generation</a:t>
                      </a:r>
                      <a:endParaRPr lang="en-US" sz="1050" b="0" i="0" u="none" strike="noStrike">
                        <a:solidFill>
                          <a:schemeClr val="tx2"/>
                        </a:solidFill>
                        <a:effectLst/>
                        <a:latin typeface="Aptos Narrow" panose="020B0004020202020204" pitchFamily="34" charset="0"/>
                      </a:endParaRPr>
                    </a:p>
                  </a:txBody>
                  <a:tcPr/>
                </a:tc>
                <a:tc>
                  <a:txBody>
                    <a:bodyPr/>
                    <a:lstStyle/>
                    <a:p>
                      <a:pPr algn="l" fontAlgn="b"/>
                      <a:r>
                        <a:rPr lang="en-US" sz="1050" b="0" u="none" strike="noStrike">
                          <a:solidFill>
                            <a:schemeClr val="tx2"/>
                          </a:solidFill>
                          <a:effectLst/>
                        </a:rPr>
                        <a:t>Boosts productivity in content and communication tasks</a:t>
                      </a:r>
                      <a:endParaRPr lang="en-US" sz="1050" b="0" i="0" u="none" strike="noStrike">
                        <a:solidFill>
                          <a:schemeClr val="tx2"/>
                        </a:solidFill>
                        <a:effectLst/>
                        <a:latin typeface="Aptos Narrow" panose="020B0004020202020204" pitchFamily="34" charset="0"/>
                      </a:endParaRPr>
                    </a:p>
                  </a:txBody>
                  <a:tcPr/>
                </a:tc>
                <a:tc>
                  <a:txBody>
                    <a:bodyPr/>
                    <a:lstStyle/>
                    <a:p>
                      <a:pPr algn="l" fontAlgn="b"/>
                      <a:r>
                        <a:rPr lang="en-US" sz="1050" b="0" u="none" strike="noStrike">
                          <a:solidFill>
                            <a:schemeClr val="tx2"/>
                          </a:solidFill>
                          <a:effectLst/>
                        </a:rPr>
                        <a:t>No true decision-making; responds to queries</a:t>
                      </a:r>
                      <a:endParaRPr lang="en-US" sz="1050" b="0" i="0" u="none" strike="noStrike">
                        <a:solidFill>
                          <a:schemeClr val="tx2"/>
                        </a:solidFill>
                        <a:effectLst/>
                        <a:latin typeface="Aptos Narrow" panose="020B0004020202020204" pitchFamily="34" charset="0"/>
                      </a:endParaRPr>
                    </a:p>
                  </a:txBody>
                  <a:tcPr/>
                </a:tc>
                <a:tc>
                  <a:txBody>
                    <a:bodyPr/>
                    <a:lstStyle/>
                    <a:p>
                      <a:pPr algn="l" fontAlgn="b"/>
                      <a:r>
                        <a:rPr lang="en-US" sz="1050" b="0" u="none" strike="noStrike">
                          <a:solidFill>
                            <a:schemeClr val="tx2"/>
                          </a:solidFill>
                          <a:effectLst/>
                        </a:rPr>
                        <a:t>Limited; needs retraining to adjust</a:t>
                      </a:r>
                      <a:endParaRPr lang="en-US" sz="1050" b="0" i="0" u="none" strike="noStrike">
                        <a:solidFill>
                          <a:schemeClr val="tx2"/>
                        </a:solidFill>
                        <a:effectLst/>
                        <a:latin typeface="Aptos Narrow" panose="020B0004020202020204" pitchFamily="34" charset="0"/>
                      </a:endParaRPr>
                    </a:p>
                  </a:txBody>
                  <a:tcPr/>
                </a:tc>
                <a:tc>
                  <a:txBody>
                    <a:bodyPr/>
                    <a:lstStyle/>
                    <a:p>
                      <a:pPr algn="l" fontAlgn="b"/>
                      <a:r>
                        <a:rPr lang="en-US" sz="1050" b="0" u="none" strike="noStrike">
                          <a:solidFill>
                            <a:schemeClr val="tx2"/>
                          </a:solidFill>
                          <a:effectLst/>
                        </a:rPr>
                        <a:t>Prompt-driven, needs explicit instructions</a:t>
                      </a:r>
                      <a:endParaRPr lang="en-US" sz="1050" b="0" i="0" u="none" strike="noStrike">
                        <a:solidFill>
                          <a:schemeClr val="tx2"/>
                        </a:solidFill>
                        <a:effectLst/>
                        <a:latin typeface="Aptos Narrow" panose="020B0004020202020204" pitchFamily="34" charset="0"/>
                      </a:endParaRPr>
                    </a:p>
                  </a:txBody>
                  <a:tcPr/>
                </a:tc>
                <a:tc>
                  <a:txBody>
                    <a:bodyPr/>
                    <a:lstStyle/>
                    <a:p>
                      <a:pPr algn="l" fontAlgn="b"/>
                      <a:r>
                        <a:rPr lang="en-US" sz="1050" b="0" u="none" strike="noStrike">
                          <a:solidFill>
                            <a:schemeClr val="tx2"/>
                          </a:solidFill>
                          <a:effectLst/>
                        </a:rPr>
                        <a:t>Task-level execution</a:t>
                      </a:r>
                      <a:endParaRPr lang="en-US" sz="1050" b="0" i="0" u="none" strike="noStrike">
                        <a:solidFill>
                          <a:schemeClr val="tx2"/>
                        </a:solidFill>
                        <a:effectLst/>
                        <a:latin typeface="Aptos Narrow" panose="020B0004020202020204" pitchFamily="34" charset="0"/>
                      </a:endParaRPr>
                    </a:p>
                  </a:txBody>
                  <a:tcPr/>
                </a:tc>
                <a:extLst>
                  <a:ext uri="{0D108BD9-81ED-4DB2-BD59-A6C34878D82A}">
                    <a16:rowId xmlns:a16="http://schemas.microsoft.com/office/drawing/2014/main" val="1650201640"/>
                  </a:ext>
                </a:extLst>
              </a:tr>
              <a:tr h="1158467">
                <a:tc>
                  <a:txBody>
                    <a:bodyPr/>
                    <a:lstStyle/>
                    <a:p>
                      <a:pPr algn="l" fontAlgn="b"/>
                      <a:r>
                        <a:rPr lang="en-US" sz="1050" b="0" u="none" strike="noStrike">
                          <a:solidFill>
                            <a:schemeClr val="bg1"/>
                          </a:solidFill>
                          <a:effectLst/>
                        </a:rPr>
                        <a:t>Agentic AI</a:t>
                      </a:r>
                      <a:endParaRPr lang="en-US" sz="1050" b="0" i="0" u="none" strike="noStrike">
                        <a:solidFill>
                          <a:schemeClr val="bg1"/>
                        </a:solidFill>
                        <a:effectLst/>
                        <a:latin typeface="Aptos Narrow" panose="020B0004020202020204" pitchFamily="34" charset="0"/>
                      </a:endParaRPr>
                    </a:p>
                  </a:txBody>
                  <a:tcPr/>
                </a:tc>
                <a:tc>
                  <a:txBody>
                    <a:bodyPr/>
                    <a:lstStyle/>
                    <a:p>
                      <a:pPr algn="l" fontAlgn="b"/>
                      <a:r>
                        <a:rPr lang="en-US" sz="1050" b="0" u="none" strike="noStrike">
                          <a:solidFill>
                            <a:schemeClr val="tx2"/>
                          </a:solidFill>
                          <a:effectLst/>
                        </a:rPr>
                        <a:t>Plans, decides, and executes tasks autonomously to achieve goals</a:t>
                      </a:r>
                      <a:endParaRPr lang="en-US" sz="1050" b="0" i="0" u="none" strike="noStrike">
                        <a:solidFill>
                          <a:schemeClr val="tx2"/>
                        </a:solidFill>
                        <a:effectLst/>
                        <a:latin typeface="Aptos Narrow" panose="020B0004020202020204" pitchFamily="34" charset="0"/>
                      </a:endParaRPr>
                    </a:p>
                  </a:txBody>
                  <a:tcPr/>
                </a:tc>
                <a:tc>
                  <a:txBody>
                    <a:bodyPr/>
                    <a:lstStyle/>
                    <a:p>
                      <a:pPr algn="l" fontAlgn="b"/>
                      <a:r>
                        <a:rPr lang="en-US" sz="1050" b="0" u="none" strike="noStrike">
                          <a:solidFill>
                            <a:schemeClr val="tx2"/>
                          </a:solidFill>
                          <a:effectLst/>
                        </a:rPr>
                        <a:t>Persistent memory; adapts over time with previous interactions</a:t>
                      </a:r>
                      <a:endParaRPr lang="en-US" sz="1050" b="0" i="0" u="none" strike="noStrike">
                        <a:solidFill>
                          <a:schemeClr val="tx2"/>
                        </a:solidFill>
                        <a:effectLst/>
                        <a:latin typeface="Aptos Narrow" panose="020B0004020202020204" pitchFamily="34" charset="0"/>
                      </a:endParaRPr>
                    </a:p>
                  </a:txBody>
                  <a:tcPr/>
                </a:tc>
                <a:tc>
                  <a:txBody>
                    <a:bodyPr/>
                    <a:lstStyle/>
                    <a:p>
                      <a:pPr algn="l" fontAlgn="b"/>
                      <a:r>
                        <a:rPr lang="en-US" sz="1050" b="0" u="none" strike="noStrike">
                          <a:solidFill>
                            <a:schemeClr val="tx2"/>
                          </a:solidFill>
                          <a:effectLst/>
                        </a:rPr>
                        <a:t>Proactive; self-initiates actions with minimal human input</a:t>
                      </a:r>
                      <a:endParaRPr lang="en-US" sz="1050" b="0" i="0" u="none" strike="noStrike">
                        <a:solidFill>
                          <a:schemeClr val="tx2"/>
                        </a:solidFill>
                        <a:effectLst/>
                        <a:latin typeface="Aptos Narrow" panose="020B0004020202020204" pitchFamily="34" charset="0"/>
                      </a:endParaRPr>
                    </a:p>
                  </a:txBody>
                  <a:tcPr/>
                </a:tc>
                <a:tc>
                  <a:txBody>
                    <a:bodyPr/>
                    <a:lstStyle/>
                    <a:p>
                      <a:pPr algn="l" fontAlgn="b"/>
                      <a:r>
                        <a:rPr lang="en-US" sz="1050" b="0" u="none" strike="noStrike">
                          <a:solidFill>
                            <a:schemeClr val="tx2"/>
                          </a:solidFill>
                          <a:effectLst/>
                        </a:rPr>
                        <a:t>Deep integration with APIs, databases, and enterprise systems</a:t>
                      </a:r>
                      <a:endParaRPr lang="en-US" sz="1050" b="0" i="0" u="none" strike="noStrike">
                        <a:solidFill>
                          <a:schemeClr val="tx2"/>
                        </a:solidFill>
                        <a:effectLst/>
                        <a:latin typeface="Aptos Narrow" panose="020B0004020202020204" pitchFamily="34" charset="0"/>
                      </a:endParaRPr>
                    </a:p>
                  </a:txBody>
                  <a:tcPr/>
                </a:tc>
                <a:tc>
                  <a:txBody>
                    <a:bodyPr/>
                    <a:lstStyle/>
                    <a:p>
                      <a:pPr algn="l" fontAlgn="b"/>
                      <a:r>
                        <a:rPr lang="en-US" sz="1050" b="0" u="none" strike="noStrike">
                          <a:solidFill>
                            <a:schemeClr val="tx2"/>
                          </a:solidFill>
                          <a:effectLst/>
                        </a:rPr>
                        <a:t>Dynamic; evolves via feedback and environmental adaptation</a:t>
                      </a:r>
                      <a:endParaRPr lang="en-US" sz="1050" b="0" i="0" u="none" strike="noStrike">
                        <a:solidFill>
                          <a:schemeClr val="tx2"/>
                        </a:solidFill>
                        <a:effectLst/>
                        <a:latin typeface="Aptos Narrow" panose="020B0004020202020204" pitchFamily="34" charset="0"/>
                      </a:endParaRPr>
                    </a:p>
                  </a:txBody>
                  <a:tcPr/>
                </a:tc>
                <a:tc>
                  <a:txBody>
                    <a:bodyPr/>
                    <a:lstStyle/>
                    <a:p>
                      <a:pPr algn="l" fontAlgn="b"/>
                      <a:r>
                        <a:rPr lang="en-US" sz="1050" b="0" u="none" strike="noStrike">
                          <a:solidFill>
                            <a:schemeClr val="tx2"/>
                          </a:solidFill>
                          <a:effectLst/>
                        </a:rPr>
                        <a:t>Workflow automation, multi-agent coordination, decision support</a:t>
                      </a:r>
                      <a:endParaRPr lang="en-US" sz="1050" b="0" i="0" u="none" strike="noStrike">
                        <a:solidFill>
                          <a:schemeClr val="tx2"/>
                        </a:solidFill>
                        <a:effectLst/>
                        <a:latin typeface="Aptos Narrow" panose="020B0004020202020204" pitchFamily="34" charset="0"/>
                      </a:endParaRPr>
                    </a:p>
                  </a:txBody>
                  <a:tcPr/>
                </a:tc>
                <a:tc>
                  <a:txBody>
                    <a:bodyPr/>
                    <a:lstStyle/>
                    <a:p>
                      <a:pPr algn="l" fontAlgn="b"/>
                      <a:r>
                        <a:rPr lang="en-US" sz="1050" b="0" u="none" strike="noStrike">
                          <a:solidFill>
                            <a:schemeClr val="tx2"/>
                          </a:solidFill>
                          <a:effectLst/>
                        </a:rPr>
                        <a:t>Reduces operational overhead, improves decision velocity</a:t>
                      </a:r>
                      <a:endParaRPr lang="en-US" sz="1050" b="0" i="0" u="none" strike="noStrike">
                        <a:solidFill>
                          <a:schemeClr val="tx2"/>
                        </a:solidFill>
                        <a:effectLst/>
                        <a:latin typeface="Aptos Narrow" panose="020B0004020202020204" pitchFamily="34" charset="0"/>
                      </a:endParaRPr>
                    </a:p>
                  </a:txBody>
                  <a:tcPr/>
                </a:tc>
                <a:tc>
                  <a:txBody>
                    <a:bodyPr/>
                    <a:lstStyle/>
                    <a:p>
                      <a:pPr algn="l" fontAlgn="b"/>
                      <a:r>
                        <a:rPr lang="en-US" sz="1050" b="0" u="none" strike="noStrike">
                          <a:solidFill>
                            <a:schemeClr val="tx2"/>
                          </a:solidFill>
                          <a:effectLst/>
                        </a:rPr>
                        <a:t>Makes autonomous decisions to achieve defined goals</a:t>
                      </a:r>
                      <a:endParaRPr lang="en-US" sz="1050" b="0" i="0" u="none" strike="noStrike">
                        <a:solidFill>
                          <a:schemeClr val="tx2"/>
                        </a:solidFill>
                        <a:effectLst/>
                        <a:latin typeface="Aptos Narrow" panose="020B0004020202020204" pitchFamily="34" charset="0"/>
                      </a:endParaRPr>
                    </a:p>
                  </a:txBody>
                  <a:tcPr/>
                </a:tc>
                <a:tc>
                  <a:txBody>
                    <a:bodyPr/>
                    <a:lstStyle/>
                    <a:p>
                      <a:pPr algn="l" fontAlgn="b"/>
                      <a:r>
                        <a:rPr lang="en-US" sz="1050" b="0" u="none" strike="noStrike">
                          <a:solidFill>
                            <a:schemeClr val="tx2"/>
                          </a:solidFill>
                          <a:effectLst/>
                        </a:rPr>
                        <a:t>Adapts in real time based on outcome feedback</a:t>
                      </a:r>
                      <a:endParaRPr lang="en-US" sz="1050" b="0" i="0" u="none" strike="noStrike">
                        <a:solidFill>
                          <a:schemeClr val="tx2"/>
                        </a:solidFill>
                        <a:effectLst/>
                        <a:latin typeface="Aptos Narrow" panose="020B0004020202020204" pitchFamily="34" charset="0"/>
                      </a:endParaRPr>
                    </a:p>
                  </a:txBody>
                  <a:tcPr/>
                </a:tc>
                <a:tc>
                  <a:txBody>
                    <a:bodyPr/>
                    <a:lstStyle/>
                    <a:p>
                      <a:pPr algn="l" fontAlgn="b"/>
                      <a:r>
                        <a:rPr lang="en-US" sz="1050" b="0" u="none" strike="noStrike">
                          <a:solidFill>
                            <a:schemeClr val="tx2"/>
                          </a:solidFill>
                          <a:effectLst/>
                        </a:rPr>
                        <a:t>Can initiate interaction and ask for clarification</a:t>
                      </a:r>
                      <a:endParaRPr lang="en-US" sz="1050" b="0" i="0" u="none" strike="noStrike">
                        <a:solidFill>
                          <a:schemeClr val="tx2"/>
                        </a:solidFill>
                        <a:effectLst/>
                        <a:latin typeface="Aptos Narrow" panose="020B0004020202020204" pitchFamily="34" charset="0"/>
                      </a:endParaRPr>
                    </a:p>
                  </a:txBody>
                  <a:tcPr/>
                </a:tc>
                <a:tc>
                  <a:txBody>
                    <a:bodyPr/>
                    <a:lstStyle/>
                    <a:p>
                      <a:pPr algn="l" fontAlgn="b"/>
                      <a:r>
                        <a:rPr lang="en-US" sz="1050" b="0" u="none" strike="noStrike">
                          <a:solidFill>
                            <a:schemeClr val="tx2"/>
                          </a:solidFill>
                          <a:effectLst/>
                        </a:rPr>
                        <a:t>End-to-end workflow execution</a:t>
                      </a:r>
                      <a:endParaRPr lang="en-US" sz="1050" b="0" i="0" u="none" strike="noStrike">
                        <a:solidFill>
                          <a:schemeClr val="tx2"/>
                        </a:solidFill>
                        <a:effectLst/>
                        <a:latin typeface="Aptos Narrow" panose="020B0004020202020204" pitchFamily="34" charset="0"/>
                      </a:endParaRPr>
                    </a:p>
                  </a:txBody>
                  <a:tcPr/>
                </a:tc>
                <a:extLst>
                  <a:ext uri="{0D108BD9-81ED-4DB2-BD59-A6C34878D82A}">
                    <a16:rowId xmlns:a16="http://schemas.microsoft.com/office/drawing/2014/main" val="2885324783"/>
                  </a:ext>
                </a:extLst>
              </a:tr>
            </a:tbl>
          </a:graphicData>
        </a:graphic>
      </p:graphicFrame>
    </p:spTree>
    <p:extLst>
      <p:ext uri="{BB962C8B-B14F-4D97-AF65-F5344CB8AC3E}">
        <p14:creationId xmlns:p14="http://schemas.microsoft.com/office/powerpoint/2010/main" val="195672850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2573E64-4A6F-07B5-C70A-7A525517A799}"/>
              </a:ext>
            </a:extLst>
          </p:cNvPr>
          <p:cNvSpPr>
            <a:spLocks noGrp="1"/>
          </p:cNvSpPr>
          <p:nvPr>
            <p:ph type="title"/>
          </p:nvPr>
        </p:nvSpPr>
        <p:spPr/>
        <p:txBody>
          <a:bodyPr/>
          <a:lstStyle/>
          <a:p>
            <a:r>
              <a:rPr lang="en-US" sz="2400"/>
              <a:t>AI Agent vs. Traditional AI models/Chatbot</a:t>
            </a:r>
          </a:p>
        </p:txBody>
      </p:sp>
      <p:grpSp>
        <p:nvGrpSpPr>
          <p:cNvPr id="5" name="Group 4">
            <a:extLst>
              <a:ext uri="{FF2B5EF4-FFF2-40B4-BE49-F238E27FC236}">
                <a16:creationId xmlns:a16="http://schemas.microsoft.com/office/drawing/2014/main" id="{8400FEA0-1745-91A8-C029-5FA2E7D87F3B}"/>
              </a:ext>
            </a:extLst>
          </p:cNvPr>
          <p:cNvGrpSpPr/>
          <p:nvPr/>
        </p:nvGrpSpPr>
        <p:grpSpPr>
          <a:xfrm>
            <a:off x="692521" y="1057497"/>
            <a:ext cx="2991450" cy="579119"/>
            <a:chOff x="1766577" y="779133"/>
            <a:chExt cx="1704355" cy="389566"/>
          </a:xfrm>
          <a:solidFill>
            <a:srgbClr val="7030A0"/>
          </a:solidFill>
        </p:grpSpPr>
        <p:sp>
          <p:nvSpPr>
            <p:cNvPr id="6" name="Rounded Rectangle 1">
              <a:extLst>
                <a:ext uri="{FF2B5EF4-FFF2-40B4-BE49-F238E27FC236}">
                  <a16:creationId xmlns:a16="http://schemas.microsoft.com/office/drawing/2014/main" id="{6FAA3D9A-EA9B-8C8C-A1ED-7C9E252BE954}"/>
                </a:ext>
              </a:extLst>
            </p:cNvPr>
            <p:cNvSpPr/>
            <p:nvPr/>
          </p:nvSpPr>
          <p:spPr>
            <a:xfrm>
              <a:off x="1766577" y="779133"/>
              <a:ext cx="1704355" cy="389566"/>
            </a:xfrm>
            <a:custGeom>
              <a:avLst/>
              <a:gdLst/>
              <a:ahLst/>
              <a:cxnLst/>
              <a:rect l="0" t="0" r="0" b="0"/>
              <a:pathLst>
                <a:path w="1704355" h="389566">
                  <a:moveTo>
                    <a:pt x="0" y="48695"/>
                  </a:moveTo>
                  <a:cubicBezTo>
                    <a:pt x="0" y="21801"/>
                    <a:pt x="21801" y="0"/>
                    <a:pt x="48695" y="0"/>
                  </a:cubicBezTo>
                  <a:lnTo>
                    <a:pt x="97391" y="0"/>
                  </a:lnTo>
                  <a:lnTo>
                    <a:pt x="97391" y="97391"/>
                  </a:lnTo>
                  <a:lnTo>
                    <a:pt x="0" y="97391"/>
                  </a:lnTo>
                  <a:lnTo>
                    <a:pt x="0" y="48695"/>
                  </a:lnTo>
                  <a:close/>
                  <a:moveTo>
                    <a:pt x="97391" y="0"/>
                  </a:moveTo>
                  <a:lnTo>
                    <a:pt x="97391" y="97391"/>
                  </a:lnTo>
                  <a:lnTo>
                    <a:pt x="1606963" y="97391"/>
                  </a:lnTo>
                  <a:lnTo>
                    <a:pt x="1606963" y="0"/>
                  </a:lnTo>
                  <a:lnTo>
                    <a:pt x="97391" y="0"/>
                  </a:lnTo>
                  <a:close/>
                  <a:moveTo>
                    <a:pt x="1704355" y="48695"/>
                  </a:moveTo>
                  <a:cubicBezTo>
                    <a:pt x="1704355" y="21801"/>
                    <a:pt x="1682553" y="0"/>
                    <a:pt x="1655659" y="0"/>
                  </a:cubicBezTo>
                  <a:lnTo>
                    <a:pt x="1606963" y="0"/>
                  </a:lnTo>
                  <a:lnTo>
                    <a:pt x="1606963" y="97391"/>
                  </a:lnTo>
                  <a:lnTo>
                    <a:pt x="1704355" y="97391"/>
                  </a:lnTo>
                  <a:lnTo>
                    <a:pt x="1704355" y="48695"/>
                  </a:lnTo>
                  <a:close/>
                  <a:moveTo>
                    <a:pt x="1704355" y="97391"/>
                  </a:moveTo>
                  <a:lnTo>
                    <a:pt x="0" y="97391"/>
                  </a:lnTo>
                  <a:lnTo>
                    <a:pt x="0" y="292175"/>
                  </a:lnTo>
                  <a:lnTo>
                    <a:pt x="1704355" y="292175"/>
                  </a:lnTo>
                  <a:lnTo>
                    <a:pt x="1704355" y="97391"/>
                  </a:lnTo>
                  <a:close/>
                  <a:moveTo>
                    <a:pt x="0" y="340871"/>
                  </a:moveTo>
                  <a:cubicBezTo>
                    <a:pt x="0" y="367764"/>
                    <a:pt x="21801" y="389566"/>
                    <a:pt x="48695" y="389566"/>
                  </a:cubicBezTo>
                  <a:lnTo>
                    <a:pt x="97391" y="389566"/>
                  </a:lnTo>
                  <a:lnTo>
                    <a:pt x="97391" y="292175"/>
                  </a:lnTo>
                  <a:lnTo>
                    <a:pt x="0" y="292175"/>
                  </a:lnTo>
                  <a:lnTo>
                    <a:pt x="0" y="340871"/>
                  </a:lnTo>
                  <a:close/>
                  <a:moveTo>
                    <a:pt x="1606963" y="389566"/>
                  </a:moveTo>
                  <a:lnTo>
                    <a:pt x="1606963" y="292175"/>
                  </a:lnTo>
                  <a:lnTo>
                    <a:pt x="97391" y="292175"/>
                  </a:lnTo>
                  <a:lnTo>
                    <a:pt x="97391" y="389566"/>
                  </a:lnTo>
                  <a:lnTo>
                    <a:pt x="1606963" y="389566"/>
                  </a:lnTo>
                  <a:close/>
                  <a:moveTo>
                    <a:pt x="1655659" y="389566"/>
                  </a:moveTo>
                  <a:cubicBezTo>
                    <a:pt x="1682553" y="389566"/>
                    <a:pt x="1704355" y="367764"/>
                    <a:pt x="1704355" y="340871"/>
                  </a:cubicBezTo>
                  <a:lnTo>
                    <a:pt x="1704355" y="292175"/>
                  </a:lnTo>
                  <a:lnTo>
                    <a:pt x="1606963" y="292175"/>
                  </a:lnTo>
                  <a:lnTo>
                    <a:pt x="1606963" y="389566"/>
                  </a:lnTo>
                  <a:lnTo>
                    <a:pt x="1655659" y="389566"/>
                  </a:lnTo>
                  <a:close/>
                </a:path>
              </a:pathLst>
            </a:custGeom>
            <a:grpFill/>
            <a:ln>
              <a:noFill/>
            </a:ln>
          </p:spPr>
          <p:txBody>
            <a:bodyPr rtlCol="0" anchor="ctr"/>
            <a:lstStyle/>
            <a:p>
              <a:pPr algn="ctr"/>
              <a:endParaRPr/>
            </a:p>
          </p:txBody>
        </p:sp>
        <p:sp>
          <p:nvSpPr>
            <p:cNvPr id="7" name="Rounded Rectangle 2">
              <a:extLst>
                <a:ext uri="{FF2B5EF4-FFF2-40B4-BE49-F238E27FC236}">
                  <a16:creationId xmlns:a16="http://schemas.microsoft.com/office/drawing/2014/main" id="{6D67A0CD-03ED-4147-2012-1C6274D91634}"/>
                </a:ext>
              </a:extLst>
            </p:cNvPr>
            <p:cNvSpPr/>
            <p:nvPr/>
          </p:nvSpPr>
          <p:spPr>
            <a:xfrm>
              <a:off x="1766577" y="779133"/>
              <a:ext cx="1704355" cy="389566"/>
            </a:xfrm>
            <a:custGeom>
              <a:avLst/>
              <a:gdLst/>
              <a:ahLst/>
              <a:cxnLst/>
              <a:rect l="0" t="0" r="0" b="0"/>
              <a:pathLst>
                <a:path w="1704355" h="389566">
                  <a:moveTo>
                    <a:pt x="0" y="97391"/>
                  </a:moveTo>
                  <a:lnTo>
                    <a:pt x="0" y="48695"/>
                  </a:lnTo>
                  <a:cubicBezTo>
                    <a:pt x="0" y="21801"/>
                    <a:pt x="21801" y="0"/>
                    <a:pt x="48695" y="0"/>
                  </a:cubicBezTo>
                  <a:lnTo>
                    <a:pt x="97391" y="0"/>
                  </a:lnTo>
                  <a:moveTo>
                    <a:pt x="1704355" y="97391"/>
                  </a:moveTo>
                  <a:lnTo>
                    <a:pt x="1704355" y="292175"/>
                  </a:lnTo>
                  <a:moveTo>
                    <a:pt x="0" y="292175"/>
                  </a:moveTo>
                  <a:lnTo>
                    <a:pt x="0" y="97391"/>
                  </a:lnTo>
                  <a:moveTo>
                    <a:pt x="97391" y="0"/>
                  </a:moveTo>
                  <a:lnTo>
                    <a:pt x="1606963" y="0"/>
                  </a:lnTo>
                  <a:moveTo>
                    <a:pt x="0" y="292175"/>
                  </a:moveTo>
                  <a:lnTo>
                    <a:pt x="0" y="340871"/>
                  </a:lnTo>
                  <a:cubicBezTo>
                    <a:pt x="0" y="367764"/>
                    <a:pt x="21801" y="389566"/>
                    <a:pt x="48695" y="389566"/>
                  </a:cubicBezTo>
                  <a:lnTo>
                    <a:pt x="97391" y="389566"/>
                  </a:lnTo>
                  <a:moveTo>
                    <a:pt x="1704355" y="97391"/>
                  </a:moveTo>
                  <a:lnTo>
                    <a:pt x="1704355" y="48695"/>
                  </a:lnTo>
                  <a:cubicBezTo>
                    <a:pt x="1704355" y="21801"/>
                    <a:pt x="1682553" y="0"/>
                    <a:pt x="1655659" y="0"/>
                  </a:cubicBezTo>
                  <a:lnTo>
                    <a:pt x="1606963" y="0"/>
                  </a:lnTo>
                  <a:moveTo>
                    <a:pt x="1606963" y="389566"/>
                  </a:moveTo>
                  <a:lnTo>
                    <a:pt x="97391" y="389566"/>
                  </a:lnTo>
                  <a:moveTo>
                    <a:pt x="1704355" y="292175"/>
                  </a:moveTo>
                  <a:lnTo>
                    <a:pt x="1704355" y="340871"/>
                  </a:lnTo>
                  <a:cubicBezTo>
                    <a:pt x="1704355" y="367764"/>
                    <a:pt x="1682553" y="389566"/>
                    <a:pt x="1655659" y="389566"/>
                  </a:cubicBezTo>
                  <a:lnTo>
                    <a:pt x="1606963" y="389566"/>
                  </a:lnTo>
                </a:path>
              </a:pathLst>
            </a:custGeom>
            <a:grpFill/>
            <a:ln w="6086">
              <a:solidFill>
                <a:srgbClr val="5D157D"/>
              </a:solidFill>
            </a:ln>
          </p:spPr>
          <p:txBody>
            <a:bodyPr rtlCol="0" anchor="ctr"/>
            <a:lstStyle/>
            <a:p>
              <a:pPr algn="ctr"/>
              <a:endParaRPr/>
            </a:p>
          </p:txBody>
        </p:sp>
      </p:grpSp>
      <p:grpSp>
        <p:nvGrpSpPr>
          <p:cNvPr id="8" name="Group 7">
            <a:extLst>
              <a:ext uri="{FF2B5EF4-FFF2-40B4-BE49-F238E27FC236}">
                <a16:creationId xmlns:a16="http://schemas.microsoft.com/office/drawing/2014/main" id="{FC164B7F-CE34-C982-C393-FD2D581C8A1B}"/>
              </a:ext>
            </a:extLst>
          </p:cNvPr>
          <p:cNvGrpSpPr/>
          <p:nvPr/>
        </p:nvGrpSpPr>
        <p:grpSpPr>
          <a:xfrm>
            <a:off x="692521" y="1781398"/>
            <a:ext cx="2991450" cy="1013460"/>
            <a:chOff x="1766577" y="1266092"/>
            <a:chExt cx="1704355" cy="681742"/>
          </a:xfrm>
        </p:grpSpPr>
        <p:sp>
          <p:nvSpPr>
            <p:cNvPr id="9" name="Rounded Rectangle 4">
              <a:extLst>
                <a:ext uri="{FF2B5EF4-FFF2-40B4-BE49-F238E27FC236}">
                  <a16:creationId xmlns:a16="http://schemas.microsoft.com/office/drawing/2014/main" id="{88EDA51A-BDCE-B2D3-D97B-FACBFD6507DF}"/>
                </a:ext>
              </a:extLst>
            </p:cNvPr>
            <p:cNvSpPr/>
            <p:nvPr/>
          </p:nvSpPr>
          <p:spPr>
            <a:xfrm>
              <a:off x="1766577" y="1266092"/>
              <a:ext cx="1704355" cy="681742"/>
            </a:xfrm>
            <a:custGeom>
              <a:avLst/>
              <a:gdLst/>
              <a:ahLst/>
              <a:cxnLst/>
              <a:rect l="0" t="0" r="0" b="0"/>
              <a:pathLst>
                <a:path w="1704355" h="681742">
                  <a:moveTo>
                    <a:pt x="0" y="48695"/>
                  </a:moveTo>
                  <a:cubicBezTo>
                    <a:pt x="0" y="21801"/>
                    <a:pt x="21801" y="0"/>
                    <a:pt x="48695" y="0"/>
                  </a:cubicBezTo>
                  <a:lnTo>
                    <a:pt x="97391" y="0"/>
                  </a:lnTo>
                  <a:lnTo>
                    <a:pt x="97391" y="97391"/>
                  </a:lnTo>
                  <a:lnTo>
                    <a:pt x="0" y="97391"/>
                  </a:lnTo>
                  <a:lnTo>
                    <a:pt x="0" y="48695"/>
                  </a:lnTo>
                  <a:close/>
                  <a:moveTo>
                    <a:pt x="97391" y="0"/>
                  </a:moveTo>
                  <a:lnTo>
                    <a:pt x="97391" y="97391"/>
                  </a:lnTo>
                  <a:lnTo>
                    <a:pt x="1606963" y="97391"/>
                  </a:lnTo>
                  <a:lnTo>
                    <a:pt x="1606963" y="0"/>
                  </a:lnTo>
                  <a:lnTo>
                    <a:pt x="97391" y="0"/>
                  </a:lnTo>
                  <a:close/>
                  <a:moveTo>
                    <a:pt x="1704355" y="48695"/>
                  </a:moveTo>
                  <a:cubicBezTo>
                    <a:pt x="1704355" y="21801"/>
                    <a:pt x="1682553" y="0"/>
                    <a:pt x="1655659" y="0"/>
                  </a:cubicBezTo>
                  <a:lnTo>
                    <a:pt x="1606963" y="0"/>
                  </a:lnTo>
                  <a:lnTo>
                    <a:pt x="1606963" y="97391"/>
                  </a:lnTo>
                  <a:lnTo>
                    <a:pt x="1704355" y="97391"/>
                  </a:lnTo>
                  <a:lnTo>
                    <a:pt x="1704355" y="48695"/>
                  </a:lnTo>
                  <a:close/>
                  <a:moveTo>
                    <a:pt x="1704355" y="97391"/>
                  </a:moveTo>
                  <a:lnTo>
                    <a:pt x="0" y="97391"/>
                  </a:lnTo>
                  <a:lnTo>
                    <a:pt x="0" y="584350"/>
                  </a:lnTo>
                  <a:lnTo>
                    <a:pt x="1704355" y="584350"/>
                  </a:lnTo>
                  <a:lnTo>
                    <a:pt x="1704355" y="97391"/>
                  </a:lnTo>
                  <a:close/>
                  <a:moveTo>
                    <a:pt x="0" y="633046"/>
                  </a:moveTo>
                  <a:cubicBezTo>
                    <a:pt x="0" y="659940"/>
                    <a:pt x="21801" y="681742"/>
                    <a:pt x="48695" y="681742"/>
                  </a:cubicBezTo>
                  <a:lnTo>
                    <a:pt x="97391" y="681742"/>
                  </a:lnTo>
                  <a:lnTo>
                    <a:pt x="97391" y="584350"/>
                  </a:lnTo>
                  <a:lnTo>
                    <a:pt x="0" y="584350"/>
                  </a:lnTo>
                  <a:lnTo>
                    <a:pt x="0" y="633046"/>
                  </a:lnTo>
                  <a:close/>
                  <a:moveTo>
                    <a:pt x="1606963" y="681742"/>
                  </a:moveTo>
                  <a:lnTo>
                    <a:pt x="1606963" y="584350"/>
                  </a:lnTo>
                  <a:lnTo>
                    <a:pt x="97391" y="584350"/>
                  </a:lnTo>
                  <a:lnTo>
                    <a:pt x="97391" y="681742"/>
                  </a:lnTo>
                  <a:lnTo>
                    <a:pt x="1606963" y="681742"/>
                  </a:lnTo>
                  <a:close/>
                  <a:moveTo>
                    <a:pt x="1655659" y="681742"/>
                  </a:moveTo>
                  <a:cubicBezTo>
                    <a:pt x="1682553" y="681742"/>
                    <a:pt x="1704355" y="659940"/>
                    <a:pt x="1704355" y="633046"/>
                  </a:cubicBezTo>
                  <a:lnTo>
                    <a:pt x="1704355" y="584350"/>
                  </a:lnTo>
                  <a:lnTo>
                    <a:pt x="1606963" y="584350"/>
                  </a:lnTo>
                  <a:lnTo>
                    <a:pt x="1606963" y="681742"/>
                  </a:lnTo>
                  <a:lnTo>
                    <a:pt x="1655659" y="681742"/>
                  </a:lnTo>
                  <a:close/>
                </a:path>
              </a:pathLst>
            </a:custGeom>
            <a:solidFill>
              <a:srgbClr val="9C51BE"/>
            </a:solidFill>
            <a:ln>
              <a:noFill/>
            </a:ln>
          </p:spPr>
          <p:txBody>
            <a:bodyPr rtlCol="0" anchor="ctr"/>
            <a:lstStyle/>
            <a:p>
              <a:pPr algn="ctr"/>
              <a:endParaRPr sz="3200"/>
            </a:p>
          </p:txBody>
        </p:sp>
        <p:sp>
          <p:nvSpPr>
            <p:cNvPr id="10" name="Rounded Rectangle 5">
              <a:extLst>
                <a:ext uri="{FF2B5EF4-FFF2-40B4-BE49-F238E27FC236}">
                  <a16:creationId xmlns:a16="http://schemas.microsoft.com/office/drawing/2014/main" id="{A9FD583A-F355-00DD-BD19-F87510DE2D13}"/>
                </a:ext>
              </a:extLst>
            </p:cNvPr>
            <p:cNvSpPr/>
            <p:nvPr/>
          </p:nvSpPr>
          <p:spPr>
            <a:xfrm>
              <a:off x="1766577" y="1266092"/>
              <a:ext cx="1704355" cy="681742"/>
            </a:xfrm>
            <a:custGeom>
              <a:avLst/>
              <a:gdLst/>
              <a:ahLst/>
              <a:cxnLst/>
              <a:rect l="0" t="0" r="0" b="0"/>
              <a:pathLst>
                <a:path w="1704355" h="681742">
                  <a:moveTo>
                    <a:pt x="0" y="97391"/>
                  </a:moveTo>
                  <a:lnTo>
                    <a:pt x="0" y="48695"/>
                  </a:lnTo>
                  <a:cubicBezTo>
                    <a:pt x="0" y="21801"/>
                    <a:pt x="21801" y="0"/>
                    <a:pt x="48695" y="0"/>
                  </a:cubicBezTo>
                  <a:lnTo>
                    <a:pt x="97391" y="0"/>
                  </a:lnTo>
                  <a:moveTo>
                    <a:pt x="1704355" y="97391"/>
                  </a:moveTo>
                  <a:lnTo>
                    <a:pt x="1704355" y="584350"/>
                  </a:lnTo>
                  <a:moveTo>
                    <a:pt x="0" y="584350"/>
                  </a:moveTo>
                  <a:lnTo>
                    <a:pt x="0" y="97391"/>
                  </a:lnTo>
                  <a:moveTo>
                    <a:pt x="97391" y="0"/>
                  </a:moveTo>
                  <a:lnTo>
                    <a:pt x="1606963" y="0"/>
                  </a:lnTo>
                  <a:moveTo>
                    <a:pt x="0" y="584350"/>
                  </a:moveTo>
                  <a:lnTo>
                    <a:pt x="0" y="633046"/>
                  </a:lnTo>
                  <a:cubicBezTo>
                    <a:pt x="0" y="659940"/>
                    <a:pt x="21801" y="681742"/>
                    <a:pt x="48695" y="681742"/>
                  </a:cubicBezTo>
                  <a:lnTo>
                    <a:pt x="97391" y="681742"/>
                  </a:lnTo>
                  <a:moveTo>
                    <a:pt x="1704355" y="97391"/>
                  </a:moveTo>
                  <a:lnTo>
                    <a:pt x="1704355" y="48695"/>
                  </a:lnTo>
                  <a:cubicBezTo>
                    <a:pt x="1704355" y="21801"/>
                    <a:pt x="1682553" y="0"/>
                    <a:pt x="1655659" y="0"/>
                  </a:cubicBezTo>
                  <a:lnTo>
                    <a:pt x="1606963" y="0"/>
                  </a:lnTo>
                  <a:moveTo>
                    <a:pt x="1606963" y="681742"/>
                  </a:moveTo>
                  <a:lnTo>
                    <a:pt x="97391" y="681742"/>
                  </a:lnTo>
                  <a:moveTo>
                    <a:pt x="1704355" y="584350"/>
                  </a:moveTo>
                  <a:lnTo>
                    <a:pt x="1704355" y="633046"/>
                  </a:lnTo>
                  <a:cubicBezTo>
                    <a:pt x="1704355" y="659940"/>
                    <a:pt x="1682553" y="681742"/>
                    <a:pt x="1655659" y="681742"/>
                  </a:cubicBezTo>
                  <a:lnTo>
                    <a:pt x="1606963" y="681742"/>
                  </a:lnTo>
                </a:path>
              </a:pathLst>
            </a:custGeom>
            <a:noFill/>
            <a:ln w="6086">
              <a:solidFill>
                <a:srgbClr val="F0DCF9"/>
              </a:solidFill>
            </a:ln>
          </p:spPr>
          <p:txBody>
            <a:bodyPr rtlCol="0" anchor="ctr"/>
            <a:lstStyle/>
            <a:p>
              <a:pPr algn="ctr"/>
              <a:endParaRPr sz="3200"/>
            </a:p>
          </p:txBody>
        </p:sp>
      </p:grpSp>
      <p:grpSp>
        <p:nvGrpSpPr>
          <p:cNvPr id="11" name="Group 10">
            <a:extLst>
              <a:ext uri="{FF2B5EF4-FFF2-40B4-BE49-F238E27FC236}">
                <a16:creationId xmlns:a16="http://schemas.microsoft.com/office/drawing/2014/main" id="{FC354729-63CF-FBC1-F474-C944130B7CC2}"/>
              </a:ext>
            </a:extLst>
          </p:cNvPr>
          <p:cNvGrpSpPr/>
          <p:nvPr/>
        </p:nvGrpSpPr>
        <p:grpSpPr>
          <a:xfrm>
            <a:off x="692521" y="2939638"/>
            <a:ext cx="2991450" cy="723899"/>
            <a:chOff x="1766577" y="2045226"/>
            <a:chExt cx="1704355" cy="486958"/>
          </a:xfrm>
        </p:grpSpPr>
        <p:sp>
          <p:nvSpPr>
            <p:cNvPr id="12" name="Rounded Rectangle 7">
              <a:extLst>
                <a:ext uri="{FF2B5EF4-FFF2-40B4-BE49-F238E27FC236}">
                  <a16:creationId xmlns:a16="http://schemas.microsoft.com/office/drawing/2014/main" id="{E999E32C-6025-F401-1E9D-C7EF8DCB62C8}"/>
                </a:ext>
              </a:extLst>
            </p:cNvPr>
            <p:cNvSpPr/>
            <p:nvPr/>
          </p:nvSpPr>
          <p:spPr>
            <a:xfrm>
              <a:off x="1766577" y="2045226"/>
              <a:ext cx="1704355" cy="486958"/>
            </a:xfrm>
            <a:custGeom>
              <a:avLst/>
              <a:gdLst/>
              <a:ahLst/>
              <a:cxnLst/>
              <a:rect l="0" t="0" r="0" b="0"/>
              <a:pathLst>
                <a:path w="1704355" h="486958">
                  <a:moveTo>
                    <a:pt x="0" y="48695"/>
                  </a:moveTo>
                  <a:cubicBezTo>
                    <a:pt x="0" y="21801"/>
                    <a:pt x="21801" y="0"/>
                    <a:pt x="48695" y="0"/>
                  </a:cubicBezTo>
                  <a:lnTo>
                    <a:pt x="97391" y="0"/>
                  </a:lnTo>
                  <a:lnTo>
                    <a:pt x="97391" y="97391"/>
                  </a:lnTo>
                  <a:lnTo>
                    <a:pt x="0" y="97391"/>
                  </a:lnTo>
                  <a:lnTo>
                    <a:pt x="0" y="48695"/>
                  </a:lnTo>
                  <a:close/>
                  <a:moveTo>
                    <a:pt x="97391" y="0"/>
                  </a:moveTo>
                  <a:lnTo>
                    <a:pt x="97391" y="97391"/>
                  </a:lnTo>
                  <a:lnTo>
                    <a:pt x="1606963" y="97391"/>
                  </a:lnTo>
                  <a:lnTo>
                    <a:pt x="1606963" y="0"/>
                  </a:lnTo>
                  <a:lnTo>
                    <a:pt x="97391" y="0"/>
                  </a:lnTo>
                  <a:close/>
                  <a:moveTo>
                    <a:pt x="1704355" y="48695"/>
                  </a:moveTo>
                  <a:cubicBezTo>
                    <a:pt x="1704355" y="21801"/>
                    <a:pt x="1682553" y="0"/>
                    <a:pt x="1655659" y="0"/>
                  </a:cubicBezTo>
                  <a:lnTo>
                    <a:pt x="1606963" y="0"/>
                  </a:lnTo>
                  <a:lnTo>
                    <a:pt x="1606963" y="97391"/>
                  </a:lnTo>
                  <a:lnTo>
                    <a:pt x="1704355" y="97391"/>
                  </a:lnTo>
                  <a:lnTo>
                    <a:pt x="1704355" y="48695"/>
                  </a:lnTo>
                  <a:close/>
                  <a:moveTo>
                    <a:pt x="1704355" y="97391"/>
                  </a:moveTo>
                  <a:lnTo>
                    <a:pt x="0" y="97391"/>
                  </a:lnTo>
                  <a:lnTo>
                    <a:pt x="0" y="389566"/>
                  </a:lnTo>
                  <a:lnTo>
                    <a:pt x="1704355" y="389566"/>
                  </a:lnTo>
                  <a:lnTo>
                    <a:pt x="1704355" y="97391"/>
                  </a:lnTo>
                  <a:close/>
                  <a:moveTo>
                    <a:pt x="0" y="438262"/>
                  </a:moveTo>
                  <a:cubicBezTo>
                    <a:pt x="0" y="465156"/>
                    <a:pt x="21801" y="486958"/>
                    <a:pt x="48695" y="486958"/>
                  </a:cubicBezTo>
                  <a:lnTo>
                    <a:pt x="97391" y="486958"/>
                  </a:lnTo>
                  <a:lnTo>
                    <a:pt x="97391" y="389566"/>
                  </a:lnTo>
                  <a:lnTo>
                    <a:pt x="0" y="389566"/>
                  </a:lnTo>
                  <a:lnTo>
                    <a:pt x="0" y="438262"/>
                  </a:lnTo>
                  <a:close/>
                  <a:moveTo>
                    <a:pt x="1606963" y="486958"/>
                  </a:moveTo>
                  <a:lnTo>
                    <a:pt x="1606963" y="389566"/>
                  </a:lnTo>
                  <a:lnTo>
                    <a:pt x="97391" y="389566"/>
                  </a:lnTo>
                  <a:lnTo>
                    <a:pt x="97391" y="486958"/>
                  </a:lnTo>
                  <a:lnTo>
                    <a:pt x="1606963" y="486958"/>
                  </a:lnTo>
                  <a:close/>
                  <a:moveTo>
                    <a:pt x="1655659" y="486958"/>
                  </a:moveTo>
                  <a:cubicBezTo>
                    <a:pt x="1682553" y="486958"/>
                    <a:pt x="1704355" y="465156"/>
                    <a:pt x="1704355" y="438262"/>
                  </a:cubicBezTo>
                  <a:lnTo>
                    <a:pt x="1704355" y="389566"/>
                  </a:lnTo>
                  <a:lnTo>
                    <a:pt x="1606963" y="389566"/>
                  </a:lnTo>
                  <a:lnTo>
                    <a:pt x="1606963" y="486958"/>
                  </a:lnTo>
                  <a:lnTo>
                    <a:pt x="1655659" y="486958"/>
                  </a:lnTo>
                  <a:close/>
                </a:path>
              </a:pathLst>
            </a:custGeom>
            <a:solidFill>
              <a:srgbClr val="B15CD7"/>
            </a:solidFill>
            <a:ln>
              <a:noFill/>
            </a:ln>
          </p:spPr>
          <p:txBody>
            <a:bodyPr rtlCol="0" anchor="ctr"/>
            <a:lstStyle/>
            <a:p>
              <a:pPr algn="ctr"/>
              <a:endParaRPr sz="3200"/>
            </a:p>
          </p:txBody>
        </p:sp>
        <p:sp>
          <p:nvSpPr>
            <p:cNvPr id="13" name="Rounded Rectangle 8">
              <a:extLst>
                <a:ext uri="{FF2B5EF4-FFF2-40B4-BE49-F238E27FC236}">
                  <a16:creationId xmlns:a16="http://schemas.microsoft.com/office/drawing/2014/main" id="{07CFFC39-1946-6470-8DE0-25C87EBD84A5}"/>
                </a:ext>
              </a:extLst>
            </p:cNvPr>
            <p:cNvSpPr/>
            <p:nvPr/>
          </p:nvSpPr>
          <p:spPr>
            <a:xfrm>
              <a:off x="1766577" y="2045226"/>
              <a:ext cx="1704355" cy="486958"/>
            </a:xfrm>
            <a:custGeom>
              <a:avLst/>
              <a:gdLst/>
              <a:ahLst/>
              <a:cxnLst/>
              <a:rect l="0" t="0" r="0" b="0"/>
              <a:pathLst>
                <a:path w="1704355" h="486958">
                  <a:moveTo>
                    <a:pt x="0" y="97391"/>
                  </a:moveTo>
                  <a:lnTo>
                    <a:pt x="0" y="48695"/>
                  </a:lnTo>
                  <a:cubicBezTo>
                    <a:pt x="0" y="21801"/>
                    <a:pt x="21801" y="0"/>
                    <a:pt x="48695" y="0"/>
                  </a:cubicBezTo>
                  <a:lnTo>
                    <a:pt x="97391" y="0"/>
                  </a:lnTo>
                  <a:moveTo>
                    <a:pt x="1704355" y="97391"/>
                  </a:moveTo>
                  <a:lnTo>
                    <a:pt x="1704355" y="389566"/>
                  </a:lnTo>
                  <a:moveTo>
                    <a:pt x="0" y="389566"/>
                  </a:moveTo>
                  <a:lnTo>
                    <a:pt x="0" y="97391"/>
                  </a:lnTo>
                  <a:moveTo>
                    <a:pt x="97391" y="0"/>
                  </a:moveTo>
                  <a:lnTo>
                    <a:pt x="1606963" y="0"/>
                  </a:lnTo>
                  <a:moveTo>
                    <a:pt x="0" y="389566"/>
                  </a:moveTo>
                  <a:lnTo>
                    <a:pt x="0" y="438262"/>
                  </a:lnTo>
                  <a:cubicBezTo>
                    <a:pt x="0" y="465156"/>
                    <a:pt x="21801" y="486958"/>
                    <a:pt x="48695" y="486958"/>
                  </a:cubicBezTo>
                  <a:lnTo>
                    <a:pt x="97391" y="486958"/>
                  </a:lnTo>
                  <a:moveTo>
                    <a:pt x="1704355" y="97391"/>
                  </a:moveTo>
                  <a:lnTo>
                    <a:pt x="1704355" y="48695"/>
                  </a:lnTo>
                  <a:cubicBezTo>
                    <a:pt x="1704355" y="21801"/>
                    <a:pt x="1682553" y="0"/>
                    <a:pt x="1655659" y="0"/>
                  </a:cubicBezTo>
                  <a:lnTo>
                    <a:pt x="1606963" y="0"/>
                  </a:lnTo>
                  <a:moveTo>
                    <a:pt x="1606963" y="486958"/>
                  </a:moveTo>
                  <a:lnTo>
                    <a:pt x="97391" y="486958"/>
                  </a:lnTo>
                  <a:moveTo>
                    <a:pt x="1704355" y="389566"/>
                  </a:moveTo>
                  <a:lnTo>
                    <a:pt x="1704355" y="438262"/>
                  </a:lnTo>
                  <a:cubicBezTo>
                    <a:pt x="1704355" y="465156"/>
                    <a:pt x="1682553" y="486958"/>
                    <a:pt x="1655659" y="486958"/>
                  </a:cubicBezTo>
                  <a:lnTo>
                    <a:pt x="1606963" y="486958"/>
                  </a:lnTo>
                </a:path>
              </a:pathLst>
            </a:custGeom>
            <a:noFill/>
            <a:ln w="6086">
              <a:solidFill>
                <a:srgbClr val="F0DCF9"/>
              </a:solidFill>
            </a:ln>
          </p:spPr>
          <p:txBody>
            <a:bodyPr rtlCol="0" anchor="ctr"/>
            <a:lstStyle/>
            <a:p>
              <a:pPr algn="ctr"/>
              <a:endParaRPr sz="3200"/>
            </a:p>
          </p:txBody>
        </p:sp>
      </p:grpSp>
      <p:grpSp>
        <p:nvGrpSpPr>
          <p:cNvPr id="14" name="Group 13">
            <a:extLst>
              <a:ext uri="{FF2B5EF4-FFF2-40B4-BE49-F238E27FC236}">
                <a16:creationId xmlns:a16="http://schemas.microsoft.com/office/drawing/2014/main" id="{4D1B1AA7-0C68-D18E-3C68-DB0CC57010D6}"/>
              </a:ext>
            </a:extLst>
          </p:cNvPr>
          <p:cNvGrpSpPr/>
          <p:nvPr/>
        </p:nvGrpSpPr>
        <p:grpSpPr>
          <a:xfrm>
            <a:off x="692521" y="3808318"/>
            <a:ext cx="2991450" cy="723899"/>
            <a:chOff x="1766577" y="2629576"/>
            <a:chExt cx="1704355" cy="486958"/>
          </a:xfrm>
        </p:grpSpPr>
        <p:sp>
          <p:nvSpPr>
            <p:cNvPr id="15" name="Rounded Rectangle 10">
              <a:extLst>
                <a:ext uri="{FF2B5EF4-FFF2-40B4-BE49-F238E27FC236}">
                  <a16:creationId xmlns:a16="http://schemas.microsoft.com/office/drawing/2014/main" id="{166FDBF2-916C-8D32-6A78-5BB03BEBD1F2}"/>
                </a:ext>
              </a:extLst>
            </p:cNvPr>
            <p:cNvSpPr/>
            <p:nvPr/>
          </p:nvSpPr>
          <p:spPr>
            <a:xfrm>
              <a:off x="1766577" y="2629576"/>
              <a:ext cx="1704355" cy="486958"/>
            </a:xfrm>
            <a:custGeom>
              <a:avLst/>
              <a:gdLst/>
              <a:ahLst/>
              <a:cxnLst/>
              <a:rect l="0" t="0" r="0" b="0"/>
              <a:pathLst>
                <a:path w="1704355" h="486958">
                  <a:moveTo>
                    <a:pt x="0" y="48695"/>
                  </a:moveTo>
                  <a:cubicBezTo>
                    <a:pt x="0" y="21801"/>
                    <a:pt x="21801" y="0"/>
                    <a:pt x="48695" y="0"/>
                  </a:cubicBezTo>
                  <a:lnTo>
                    <a:pt x="97391" y="0"/>
                  </a:lnTo>
                  <a:lnTo>
                    <a:pt x="97391" y="97391"/>
                  </a:lnTo>
                  <a:lnTo>
                    <a:pt x="0" y="97391"/>
                  </a:lnTo>
                  <a:lnTo>
                    <a:pt x="0" y="48695"/>
                  </a:lnTo>
                  <a:close/>
                  <a:moveTo>
                    <a:pt x="97391" y="0"/>
                  </a:moveTo>
                  <a:lnTo>
                    <a:pt x="97391" y="97391"/>
                  </a:lnTo>
                  <a:lnTo>
                    <a:pt x="1606963" y="97391"/>
                  </a:lnTo>
                  <a:lnTo>
                    <a:pt x="1606963" y="0"/>
                  </a:lnTo>
                  <a:lnTo>
                    <a:pt x="97391" y="0"/>
                  </a:lnTo>
                  <a:close/>
                  <a:moveTo>
                    <a:pt x="1704355" y="48695"/>
                  </a:moveTo>
                  <a:cubicBezTo>
                    <a:pt x="1704355" y="21801"/>
                    <a:pt x="1682553" y="0"/>
                    <a:pt x="1655659" y="0"/>
                  </a:cubicBezTo>
                  <a:lnTo>
                    <a:pt x="1606963" y="0"/>
                  </a:lnTo>
                  <a:lnTo>
                    <a:pt x="1606963" y="97391"/>
                  </a:lnTo>
                  <a:lnTo>
                    <a:pt x="1704355" y="97391"/>
                  </a:lnTo>
                  <a:lnTo>
                    <a:pt x="1704355" y="48695"/>
                  </a:lnTo>
                  <a:close/>
                  <a:moveTo>
                    <a:pt x="1704355" y="97391"/>
                  </a:moveTo>
                  <a:lnTo>
                    <a:pt x="0" y="97391"/>
                  </a:lnTo>
                  <a:lnTo>
                    <a:pt x="0" y="389566"/>
                  </a:lnTo>
                  <a:lnTo>
                    <a:pt x="1704355" y="389566"/>
                  </a:lnTo>
                  <a:lnTo>
                    <a:pt x="1704355" y="97391"/>
                  </a:lnTo>
                  <a:close/>
                  <a:moveTo>
                    <a:pt x="0" y="438262"/>
                  </a:moveTo>
                  <a:cubicBezTo>
                    <a:pt x="0" y="465156"/>
                    <a:pt x="21801" y="486958"/>
                    <a:pt x="48695" y="486958"/>
                  </a:cubicBezTo>
                  <a:lnTo>
                    <a:pt x="97391" y="486958"/>
                  </a:lnTo>
                  <a:lnTo>
                    <a:pt x="97391" y="389566"/>
                  </a:lnTo>
                  <a:lnTo>
                    <a:pt x="0" y="389566"/>
                  </a:lnTo>
                  <a:lnTo>
                    <a:pt x="0" y="438262"/>
                  </a:lnTo>
                  <a:close/>
                  <a:moveTo>
                    <a:pt x="1606963" y="486958"/>
                  </a:moveTo>
                  <a:lnTo>
                    <a:pt x="1606963" y="389566"/>
                  </a:lnTo>
                  <a:lnTo>
                    <a:pt x="97391" y="389566"/>
                  </a:lnTo>
                  <a:lnTo>
                    <a:pt x="97391" y="486958"/>
                  </a:lnTo>
                  <a:lnTo>
                    <a:pt x="1606963" y="486958"/>
                  </a:lnTo>
                  <a:close/>
                  <a:moveTo>
                    <a:pt x="1655659" y="486958"/>
                  </a:moveTo>
                  <a:cubicBezTo>
                    <a:pt x="1682553" y="486958"/>
                    <a:pt x="1704355" y="465156"/>
                    <a:pt x="1704355" y="438262"/>
                  </a:cubicBezTo>
                  <a:lnTo>
                    <a:pt x="1704355" y="389566"/>
                  </a:lnTo>
                  <a:lnTo>
                    <a:pt x="1606963" y="389566"/>
                  </a:lnTo>
                  <a:lnTo>
                    <a:pt x="1606963" y="486958"/>
                  </a:lnTo>
                  <a:lnTo>
                    <a:pt x="1655659" y="486958"/>
                  </a:lnTo>
                  <a:close/>
                </a:path>
              </a:pathLst>
            </a:custGeom>
            <a:solidFill>
              <a:srgbClr val="C165EB"/>
            </a:solidFill>
            <a:ln>
              <a:noFill/>
            </a:ln>
          </p:spPr>
          <p:txBody>
            <a:bodyPr rtlCol="0" anchor="ctr"/>
            <a:lstStyle/>
            <a:p>
              <a:pPr algn="ctr"/>
              <a:endParaRPr sz="3200"/>
            </a:p>
          </p:txBody>
        </p:sp>
        <p:sp>
          <p:nvSpPr>
            <p:cNvPr id="16" name="Rounded Rectangle 11">
              <a:extLst>
                <a:ext uri="{FF2B5EF4-FFF2-40B4-BE49-F238E27FC236}">
                  <a16:creationId xmlns:a16="http://schemas.microsoft.com/office/drawing/2014/main" id="{36A1594E-B14C-E51D-7670-961BC165C680}"/>
                </a:ext>
              </a:extLst>
            </p:cNvPr>
            <p:cNvSpPr/>
            <p:nvPr/>
          </p:nvSpPr>
          <p:spPr>
            <a:xfrm>
              <a:off x="1766577" y="2629576"/>
              <a:ext cx="1704355" cy="486958"/>
            </a:xfrm>
            <a:custGeom>
              <a:avLst/>
              <a:gdLst/>
              <a:ahLst/>
              <a:cxnLst/>
              <a:rect l="0" t="0" r="0" b="0"/>
              <a:pathLst>
                <a:path w="1704355" h="486958">
                  <a:moveTo>
                    <a:pt x="0" y="97391"/>
                  </a:moveTo>
                  <a:lnTo>
                    <a:pt x="0" y="48695"/>
                  </a:lnTo>
                  <a:cubicBezTo>
                    <a:pt x="0" y="21801"/>
                    <a:pt x="21801" y="0"/>
                    <a:pt x="48695" y="0"/>
                  </a:cubicBezTo>
                  <a:lnTo>
                    <a:pt x="97391" y="0"/>
                  </a:lnTo>
                  <a:moveTo>
                    <a:pt x="1704355" y="97391"/>
                  </a:moveTo>
                  <a:lnTo>
                    <a:pt x="1704355" y="389566"/>
                  </a:lnTo>
                  <a:moveTo>
                    <a:pt x="0" y="389566"/>
                  </a:moveTo>
                  <a:lnTo>
                    <a:pt x="0" y="97391"/>
                  </a:lnTo>
                  <a:moveTo>
                    <a:pt x="97391" y="0"/>
                  </a:moveTo>
                  <a:lnTo>
                    <a:pt x="1606963" y="0"/>
                  </a:lnTo>
                  <a:moveTo>
                    <a:pt x="0" y="389566"/>
                  </a:moveTo>
                  <a:lnTo>
                    <a:pt x="0" y="438262"/>
                  </a:lnTo>
                  <a:cubicBezTo>
                    <a:pt x="0" y="465156"/>
                    <a:pt x="21801" y="486958"/>
                    <a:pt x="48695" y="486958"/>
                  </a:cubicBezTo>
                  <a:lnTo>
                    <a:pt x="97391" y="486958"/>
                  </a:lnTo>
                  <a:moveTo>
                    <a:pt x="1704355" y="97391"/>
                  </a:moveTo>
                  <a:lnTo>
                    <a:pt x="1704355" y="48695"/>
                  </a:lnTo>
                  <a:cubicBezTo>
                    <a:pt x="1704355" y="21801"/>
                    <a:pt x="1682553" y="0"/>
                    <a:pt x="1655659" y="0"/>
                  </a:cubicBezTo>
                  <a:lnTo>
                    <a:pt x="1606963" y="0"/>
                  </a:lnTo>
                  <a:moveTo>
                    <a:pt x="1606963" y="486958"/>
                  </a:moveTo>
                  <a:lnTo>
                    <a:pt x="97391" y="486958"/>
                  </a:lnTo>
                  <a:moveTo>
                    <a:pt x="1704355" y="389566"/>
                  </a:moveTo>
                  <a:lnTo>
                    <a:pt x="1704355" y="438262"/>
                  </a:lnTo>
                  <a:cubicBezTo>
                    <a:pt x="1704355" y="465156"/>
                    <a:pt x="1682553" y="486958"/>
                    <a:pt x="1655659" y="486958"/>
                  </a:cubicBezTo>
                  <a:lnTo>
                    <a:pt x="1606963" y="486958"/>
                  </a:lnTo>
                </a:path>
              </a:pathLst>
            </a:custGeom>
            <a:noFill/>
            <a:ln w="6086">
              <a:solidFill>
                <a:srgbClr val="F0DCF9"/>
              </a:solidFill>
            </a:ln>
          </p:spPr>
          <p:txBody>
            <a:bodyPr rtlCol="0" anchor="ctr"/>
            <a:lstStyle/>
            <a:p>
              <a:pPr algn="ctr"/>
              <a:endParaRPr sz="3200"/>
            </a:p>
          </p:txBody>
        </p:sp>
      </p:grpSp>
      <p:grpSp>
        <p:nvGrpSpPr>
          <p:cNvPr id="17" name="Group 16">
            <a:extLst>
              <a:ext uri="{FF2B5EF4-FFF2-40B4-BE49-F238E27FC236}">
                <a16:creationId xmlns:a16="http://schemas.microsoft.com/office/drawing/2014/main" id="{262AC147-C96E-6270-DCAF-ABD3DA95A53A}"/>
              </a:ext>
            </a:extLst>
          </p:cNvPr>
          <p:cNvGrpSpPr/>
          <p:nvPr/>
        </p:nvGrpSpPr>
        <p:grpSpPr>
          <a:xfrm>
            <a:off x="692521" y="4676998"/>
            <a:ext cx="2991450" cy="723899"/>
            <a:chOff x="1766577" y="3213926"/>
            <a:chExt cx="1704355" cy="486958"/>
          </a:xfrm>
        </p:grpSpPr>
        <p:sp>
          <p:nvSpPr>
            <p:cNvPr id="18" name="Rounded Rectangle 13">
              <a:extLst>
                <a:ext uri="{FF2B5EF4-FFF2-40B4-BE49-F238E27FC236}">
                  <a16:creationId xmlns:a16="http://schemas.microsoft.com/office/drawing/2014/main" id="{2271C5D4-4A8C-2CCD-B198-61D5553727D1}"/>
                </a:ext>
              </a:extLst>
            </p:cNvPr>
            <p:cNvSpPr/>
            <p:nvPr/>
          </p:nvSpPr>
          <p:spPr>
            <a:xfrm>
              <a:off x="1766577" y="3213926"/>
              <a:ext cx="1704355" cy="486958"/>
            </a:xfrm>
            <a:custGeom>
              <a:avLst/>
              <a:gdLst/>
              <a:ahLst/>
              <a:cxnLst/>
              <a:rect l="0" t="0" r="0" b="0"/>
              <a:pathLst>
                <a:path w="1704355" h="486958">
                  <a:moveTo>
                    <a:pt x="0" y="48695"/>
                  </a:moveTo>
                  <a:cubicBezTo>
                    <a:pt x="0" y="21801"/>
                    <a:pt x="21801" y="0"/>
                    <a:pt x="48695" y="0"/>
                  </a:cubicBezTo>
                  <a:lnTo>
                    <a:pt x="97391" y="0"/>
                  </a:lnTo>
                  <a:lnTo>
                    <a:pt x="97391" y="97391"/>
                  </a:lnTo>
                  <a:lnTo>
                    <a:pt x="0" y="97391"/>
                  </a:lnTo>
                  <a:lnTo>
                    <a:pt x="0" y="48695"/>
                  </a:lnTo>
                  <a:close/>
                  <a:moveTo>
                    <a:pt x="97391" y="0"/>
                  </a:moveTo>
                  <a:lnTo>
                    <a:pt x="97391" y="97391"/>
                  </a:lnTo>
                  <a:lnTo>
                    <a:pt x="1606963" y="97391"/>
                  </a:lnTo>
                  <a:lnTo>
                    <a:pt x="1606963" y="0"/>
                  </a:lnTo>
                  <a:lnTo>
                    <a:pt x="97391" y="0"/>
                  </a:lnTo>
                  <a:close/>
                  <a:moveTo>
                    <a:pt x="1704355" y="48695"/>
                  </a:moveTo>
                  <a:cubicBezTo>
                    <a:pt x="1704355" y="21801"/>
                    <a:pt x="1682553" y="0"/>
                    <a:pt x="1655659" y="0"/>
                  </a:cubicBezTo>
                  <a:lnTo>
                    <a:pt x="1606963" y="0"/>
                  </a:lnTo>
                  <a:lnTo>
                    <a:pt x="1606963" y="97391"/>
                  </a:lnTo>
                  <a:lnTo>
                    <a:pt x="1704355" y="97391"/>
                  </a:lnTo>
                  <a:lnTo>
                    <a:pt x="1704355" y="48695"/>
                  </a:lnTo>
                  <a:close/>
                  <a:moveTo>
                    <a:pt x="1704355" y="97391"/>
                  </a:moveTo>
                  <a:lnTo>
                    <a:pt x="0" y="97391"/>
                  </a:lnTo>
                  <a:lnTo>
                    <a:pt x="0" y="389566"/>
                  </a:lnTo>
                  <a:lnTo>
                    <a:pt x="1704355" y="389566"/>
                  </a:lnTo>
                  <a:lnTo>
                    <a:pt x="1704355" y="97391"/>
                  </a:lnTo>
                  <a:close/>
                  <a:moveTo>
                    <a:pt x="0" y="438262"/>
                  </a:moveTo>
                  <a:cubicBezTo>
                    <a:pt x="0" y="465156"/>
                    <a:pt x="21801" y="486958"/>
                    <a:pt x="48695" y="486958"/>
                  </a:cubicBezTo>
                  <a:lnTo>
                    <a:pt x="97391" y="486958"/>
                  </a:lnTo>
                  <a:lnTo>
                    <a:pt x="97391" y="389566"/>
                  </a:lnTo>
                  <a:lnTo>
                    <a:pt x="0" y="389566"/>
                  </a:lnTo>
                  <a:lnTo>
                    <a:pt x="0" y="438262"/>
                  </a:lnTo>
                  <a:close/>
                  <a:moveTo>
                    <a:pt x="1606963" y="486958"/>
                  </a:moveTo>
                  <a:lnTo>
                    <a:pt x="1606963" y="389566"/>
                  </a:lnTo>
                  <a:lnTo>
                    <a:pt x="97391" y="389566"/>
                  </a:lnTo>
                  <a:lnTo>
                    <a:pt x="97391" y="486958"/>
                  </a:lnTo>
                  <a:lnTo>
                    <a:pt x="1606963" y="486958"/>
                  </a:lnTo>
                  <a:close/>
                  <a:moveTo>
                    <a:pt x="1655659" y="486958"/>
                  </a:moveTo>
                  <a:cubicBezTo>
                    <a:pt x="1682553" y="486958"/>
                    <a:pt x="1704355" y="465156"/>
                    <a:pt x="1704355" y="438262"/>
                  </a:cubicBezTo>
                  <a:lnTo>
                    <a:pt x="1704355" y="389566"/>
                  </a:lnTo>
                  <a:lnTo>
                    <a:pt x="1606963" y="389566"/>
                  </a:lnTo>
                  <a:lnTo>
                    <a:pt x="1606963" y="486958"/>
                  </a:lnTo>
                  <a:lnTo>
                    <a:pt x="1655659" y="486958"/>
                  </a:lnTo>
                  <a:close/>
                </a:path>
              </a:pathLst>
            </a:custGeom>
            <a:solidFill>
              <a:srgbClr val="D176FB"/>
            </a:solidFill>
            <a:ln>
              <a:noFill/>
            </a:ln>
          </p:spPr>
          <p:txBody>
            <a:bodyPr rtlCol="0" anchor="ctr"/>
            <a:lstStyle/>
            <a:p>
              <a:pPr algn="ctr"/>
              <a:endParaRPr sz="3200"/>
            </a:p>
          </p:txBody>
        </p:sp>
        <p:sp>
          <p:nvSpPr>
            <p:cNvPr id="19" name="Rounded Rectangle 14">
              <a:extLst>
                <a:ext uri="{FF2B5EF4-FFF2-40B4-BE49-F238E27FC236}">
                  <a16:creationId xmlns:a16="http://schemas.microsoft.com/office/drawing/2014/main" id="{21C3F496-35CC-14EF-7251-F85E074E07EC}"/>
                </a:ext>
              </a:extLst>
            </p:cNvPr>
            <p:cNvSpPr/>
            <p:nvPr/>
          </p:nvSpPr>
          <p:spPr>
            <a:xfrm>
              <a:off x="1766577" y="3213926"/>
              <a:ext cx="1704355" cy="486958"/>
            </a:xfrm>
            <a:custGeom>
              <a:avLst/>
              <a:gdLst/>
              <a:ahLst/>
              <a:cxnLst/>
              <a:rect l="0" t="0" r="0" b="0"/>
              <a:pathLst>
                <a:path w="1704355" h="486958">
                  <a:moveTo>
                    <a:pt x="0" y="97391"/>
                  </a:moveTo>
                  <a:lnTo>
                    <a:pt x="0" y="48695"/>
                  </a:lnTo>
                  <a:cubicBezTo>
                    <a:pt x="0" y="21801"/>
                    <a:pt x="21801" y="0"/>
                    <a:pt x="48695" y="0"/>
                  </a:cubicBezTo>
                  <a:lnTo>
                    <a:pt x="97391" y="0"/>
                  </a:lnTo>
                  <a:moveTo>
                    <a:pt x="1704355" y="97391"/>
                  </a:moveTo>
                  <a:lnTo>
                    <a:pt x="1704355" y="389566"/>
                  </a:lnTo>
                  <a:moveTo>
                    <a:pt x="0" y="389566"/>
                  </a:moveTo>
                  <a:lnTo>
                    <a:pt x="0" y="97391"/>
                  </a:lnTo>
                  <a:moveTo>
                    <a:pt x="97391" y="0"/>
                  </a:moveTo>
                  <a:lnTo>
                    <a:pt x="1606963" y="0"/>
                  </a:lnTo>
                  <a:moveTo>
                    <a:pt x="0" y="389566"/>
                  </a:moveTo>
                  <a:lnTo>
                    <a:pt x="0" y="438262"/>
                  </a:lnTo>
                  <a:cubicBezTo>
                    <a:pt x="0" y="465156"/>
                    <a:pt x="21801" y="486958"/>
                    <a:pt x="48695" y="486958"/>
                  </a:cubicBezTo>
                  <a:lnTo>
                    <a:pt x="97391" y="486958"/>
                  </a:lnTo>
                  <a:moveTo>
                    <a:pt x="1704355" y="97391"/>
                  </a:moveTo>
                  <a:lnTo>
                    <a:pt x="1704355" y="48695"/>
                  </a:lnTo>
                  <a:cubicBezTo>
                    <a:pt x="1704355" y="21801"/>
                    <a:pt x="1682553" y="0"/>
                    <a:pt x="1655659" y="0"/>
                  </a:cubicBezTo>
                  <a:lnTo>
                    <a:pt x="1606963" y="0"/>
                  </a:lnTo>
                  <a:moveTo>
                    <a:pt x="1606963" y="486958"/>
                  </a:moveTo>
                  <a:lnTo>
                    <a:pt x="97391" y="486958"/>
                  </a:lnTo>
                  <a:moveTo>
                    <a:pt x="1704355" y="389566"/>
                  </a:moveTo>
                  <a:lnTo>
                    <a:pt x="1704355" y="438262"/>
                  </a:lnTo>
                  <a:cubicBezTo>
                    <a:pt x="1704355" y="465156"/>
                    <a:pt x="1682553" y="486958"/>
                    <a:pt x="1655659" y="486958"/>
                  </a:cubicBezTo>
                  <a:lnTo>
                    <a:pt x="1606963" y="486958"/>
                  </a:lnTo>
                </a:path>
              </a:pathLst>
            </a:custGeom>
            <a:noFill/>
            <a:ln w="6086">
              <a:solidFill>
                <a:srgbClr val="F0DCF9"/>
              </a:solidFill>
            </a:ln>
          </p:spPr>
          <p:txBody>
            <a:bodyPr rtlCol="0" anchor="ctr"/>
            <a:lstStyle/>
            <a:p>
              <a:pPr algn="ctr"/>
              <a:endParaRPr sz="3200"/>
            </a:p>
          </p:txBody>
        </p:sp>
      </p:grpSp>
      <p:grpSp>
        <p:nvGrpSpPr>
          <p:cNvPr id="20" name="Group 19">
            <a:extLst>
              <a:ext uri="{FF2B5EF4-FFF2-40B4-BE49-F238E27FC236}">
                <a16:creationId xmlns:a16="http://schemas.microsoft.com/office/drawing/2014/main" id="{2773BA6A-57D2-DB3F-D898-82E9B70C409A}"/>
              </a:ext>
            </a:extLst>
          </p:cNvPr>
          <p:cNvGrpSpPr/>
          <p:nvPr/>
        </p:nvGrpSpPr>
        <p:grpSpPr>
          <a:xfrm>
            <a:off x="692521" y="5545678"/>
            <a:ext cx="2991450" cy="723899"/>
            <a:chOff x="1766577" y="3798276"/>
            <a:chExt cx="1704355" cy="486958"/>
          </a:xfrm>
        </p:grpSpPr>
        <p:sp>
          <p:nvSpPr>
            <p:cNvPr id="21" name="Rounded Rectangle 16">
              <a:extLst>
                <a:ext uri="{FF2B5EF4-FFF2-40B4-BE49-F238E27FC236}">
                  <a16:creationId xmlns:a16="http://schemas.microsoft.com/office/drawing/2014/main" id="{5CB69B3C-C463-7653-0AE7-A98118CAA53D}"/>
                </a:ext>
              </a:extLst>
            </p:cNvPr>
            <p:cNvSpPr/>
            <p:nvPr/>
          </p:nvSpPr>
          <p:spPr>
            <a:xfrm>
              <a:off x="1766577" y="3798276"/>
              <a:ext cx="1704355" cy="486958"/>
            </a:xfrm>
            <a:custGeom>
              <a:avLst/>
              <a:gdLst/>
              <a:ahLst/>
              <a:cxnLst/>
              <a:rect l="0" t="0" r="0" b="0"/>
              <a:pathLst>
                <a:path w="1704355" h="486958">
                  <a:moveTo>
                    <a:pt x="0" y="48695"/>
                  </a:moveTo>
                  <a:cubicBezTo>
                    <a:pt x="0" y="21801"/>
                    <a:pt x="21801" y="0"/>
                    <a:pt x="48695" y="0"/>
                  </a:cubicBezTo>
                  <a:lnTo>
                    <a:pt x="97391" y="0"/>
                  </a:lnTo>
                  <a:lnTo>
                    <a:pt x="97391" y="97391"/>
                  </a:lnTo>
                  <a:lnTo>
                    <a:pt x="0" y="97391"/>
                  </a:lnTo>
                  <a:lnTo>
                    <a:pt x="0" y="48695"/>
                  </a:lnTo>
                  <a:close/>
                  <a:moveTo>
                    <a:pt x="97391" y="0"/>
                  </a:moveTo>
                  <a:lnTo>
                    <a:pt x="97391" y="97391"/>
                  </a:lnTo>
                  <a:lnTo>
                    <a:pt x="1606963" y="97391"/>
                  </a:lnTo>
                  <a:lnTo>
                    <a:pt x="1606963" y="0"/>
                  </a:lnTo>
                  <a:lnTo>
                    <a:pt x="97391" y="0"/>
                  </a:lnTo>
                  <a:close/>
                  <a:moveTo>
                    <a:pt x="1704355" y="48695"/>
                  </a:moveTo>
                  <a:cubicBezTo>
                    <a:pt x="1704355" y="21801"/>
                    <a:pt x="1682553" y="0"/>
                    <a:pt x="1655659" y="0"/>
                  </a:cubicBezTo>
                  <a:lnTo>
                    <a:pt x="1606963" y="0"/>
                  </a:lnTo>
                  <a:lnTo>
                    <a:pt x="1606963" y="97391"/>
                  </a:lnTo>
                  <a:lnTo>
                    <a:pt x="1704355" y="97391"/>
                  </a:lnTo>
                  <a:lnTo>
                    <a:pt x="1704355" y="48695"/>
                  </a:lnTo>
                  <a:close/>
                  <a:moveTo>
                    <a:pt x="1704355" y="97391"/>
                  </a:moveTo>
                  <a:lnTo>
                    <a:pt x="0" y="97391"/>
                  </a:lnTo>
                  <a:lnTo>
                    <a:pt x="0" y="389566"/>
                  </a:lnTo>
                  <a:lnTo>
                    <a:pt x="1704355" y="389566"/>
                  </a:lnTo>
                  <a:lnTo>
                    <a:pt x="1704355" y="97391"/>
                  </a:lnTo>
                  <a:close/>
                  <a:moveTo>
                    <a:pt x="0" y="438262"/>
                  </a:moveTo>
                  <a:cubicBezTo>
                    <a:pt x="0" y="465156"/>
                    <a:pt x="21801" y="486958"/>
                    <a:pt x="48695" y="486958"/>
                  </a:cubicBezTo>
                  <a:lnTo>
                    <a:pt x="97391" y="486958"/>
                  </a:lnTo>
                  <a:lnTo>
                    <a:pt x="97391" y="389566"/>
                  </a:lnTo>
                  <a:lnTo>
                    <a:pt x="0" y="389566"/>
                  </a:lnTo>
                  <a:lnTo>
                    <a:pt x="0" y="438262"/>
                  </a:lnTo>
                  <a:close/>
                  <a:moveTo>
                    <a:pt x="1606963" y="486958"/>
                  </a:moveTo>
                  <a:lnTo>
                    <a:pt x="1606963" y="389566"/>
                  </a:lnTo>
                  <a:lnTo>
                    <a:pt x="97391" y="389566"/>
                  </a:lnTo>
                  <a:lnTo>
                    <a:pt x="97391" y="486958"/>
                  </a:lnTo>
                  <a:lnTo>
                    <a:pt x="1606963" y="486958"/>
                  </a:lnTo>
                  <a:close/>
                  <a:moveTo>
                    <a:pt x="1655659" y="486958"/>
                  </a:moveTo>
                  <a:cubicBezTo>
                    <a:pt x="1682553" y="486958"/>
                    <a:pt x="1704355" y="465156"/>
                    <a:pt x="1704355" y="438262"/>
                  </a:cubicBezTo>
                  <a:lnTo>
                    <a:pt x="1704355" y="389566"/>
                  </a:lnTo>
                  <a:lnTo>
                    <a:pt x="1606963" y="389566"/>
                  </a:lnTo>
                  <a:lnTo>
                    <a:pt x="1606963" y="486958"/>
                  </a:lnTo>
                  <a:lnTo>
                    <a:pt x="1655659" y="486958"/>
                  </a:lnTo>
                  <a:close/>
                </a:path>
              </a:pathLst>
            </a:custGeom>
            <a:solidFill>
              <a:srgbClr val="E2A3FF"/>
            </a:solidFill>
            <a:ln>
              <a:noFill/>
            </a:ln>
          </p:spPr>
          <p:txBody>
            <a:bodyPr rtlCol="0" anchor="ctr"/>
            <a:lstStyle/>
            <a:p>
              <a:pPr algn="ctr"/>
              <a:endParaRPr sz="3200"/>
            </a:p>
          </p:txBody>
        </p:sp>
        <p:sp>
          <p:nvSpPr>
            <p:cNvPr id="22" name="Rounded Rectangle 17">
              <a:extLst>
                <a:ext uri="{FF2B5EF4-FFF2-40B4-BE49-F238E27FC236}">
                  <a16:creationId xmlns:a16="http://schemas.microsoft.com/office/drawing/2014/main" id="{C993CA8E-FC98-303B-4EDF-02259459F12B}"/>
                </a:ext>
              </a:extLst>
            </p:cNvPr>
            <p:cNvSpPr/>
            <p:nvPr/>
          </p:nvSpPr>
          <p:spPr>
            <a:xfrm>
              <a:off x="1766577" y="3798276"/>
              <a:ext cx="1704355" cy="486958"/>
            </a:xfrm>
            <a:custGeom>
              <a:avLst/>
              <a:gdLst/>
              <a:ahLst/>
              <a:cxnLst/>
              <a:rect l="0" t="0" r="0" b="0"/>
              <a:pathLst>
                <a:path w="1704355" h="486958">
                  <a:moveTo>
                    <a:pt x="0" y="97391"/>
                  </a:moveTo>
                  <a:lnTo>
                    <a:pt x="0" y="48695"/>
                  </a:lnTo>
                  <a:cubicBezTo>
                    <a:pt x="0" y="21801"/>
                    <a:pt x="21801" y="0"/>
                    <a:pt x="48695" y="0"/>
                  </a:cubicBezTo>
                  <a:lnTo>
                    <a:pt x="97391" y="0"/>
                  </a:lnTo>
                  <a:moveTo>
                    <a:pt x="1704355" y="97391"/>
                  </a:moveTo>
                  <a:lnTo>
                    <a:pt x="1704355" y="389566"/>
                  </a:lnTo>
                  <a:moveTo>
                    <a:pt x="0" y="389566"/>
                  </a:moveTo>
                  <a:lnTo>
                    <a:pt x="0" y="97391"/>
                  </a:lnTo>
                  <a:moveTo>
                    <a:pt x="97391" y="0"/>
                  </a:moveTo>
                  <a:lnTo>
                    <a:pt x="1606963" y="0"/>
                  </a:lnTo>
                  <a:moveTo>
                    <a:pt x="0" y="389566"/>
                  </a:moveTo>
                  <a:lnTo>
                    <a:pt x="0" y="438262"/>
                  </a:lnTo>
                  <a:cubicBezTo>
                    <a:pt x="0" y="465156"/>
                    <a:pt x="21801" y="486958"/>
                    <a:pt x="48695" y="486958"/>
                  </a:cubicBezTo>
                  <a:lnTo>
                    <a:pt x="97391" y="486958"/>
                  </a:lnTo>
                  <a:moveTo>
                    <a:pt x="1704355" y="97391"/>
                  </a:moveTo>
                  <a:lnTo>
                    <a:pt x="1704355" y="48695"/>
                  </a:lnTo>
                  <a:cubicBezTo>
                    <a:pt x="1704355" y="21801"/>
                    <a:pt x="1682553" y="0"/>
                    <a:pt x="1655659" y="0"/>
                  </a:cubicBezTo>
                  <a:lnTo>
                    <a:pt x="1606963" y="0"/>
                  </a:lnTo>
                  <a:moveTo>
                    <a:pt x="1606963" y="486958"/>
                  </a:moveTo>
                  <a:lnTo>
                    <a:pt x="97391" y="486958"/>
                  </a:lnTo>
                  <a:moveTo>
                    <a:pt x="1704355" y="389566"/>
                  </a:moveTo>
                  <a:lnTo>
                    <a:pt x="1704355" y="438262"/>
                  </a:lnTo>
                  <a:cubicBezTo>
                    <a:pt x="1704355" y="465156"/>
                    <a:pt x="1682553" y="486958"/>
                    <a:pt x="1655659" y="486958"/>
                  </a:cubicBezTo>
                  <a:lnTo>
                    <a:pt x="1606963" y="486958"/>
                  </a:lnTo>
                </a:path>
              </a:pathLst>
            </a:custGeom>
            <a:noFill/>
            <a:ln w="6086">
              <a:solidFill>
                <a:srgbClr val="F0DCF9"/>
              </a:solidFill>
            </a:ln>
          </p:spPr>
          <p:txBody>
            <a:bodyPr rtlCol="0" anchor="ctr"/>
            <a:lstStyle/>
            <a:p>
              <a:pPr algn="ctr"/>
              <a:endParaRPr sz="3200"/>
            </a:p>
          </p:txBody>
        </p:sp>
      </p:grpSp>
      <p:grpSp>
        <p:nvGrpSpPr>
          <p:cNvPr id="23" name="Group 22">
            <a:extLst>
              <a:ext uri="{FF2B5EF4-FFF2-40B4-BE49-F238E27FC236}">
                <a16:creationId xmlns:a16="http://schemas.microsoft.com/office/drawing/2014/main" id="{57AB8F72-E73D-4DC1-76EB-E39B10ABDDB7}"/>
              </a:ext>
            </a:extLst>
          </p:cNvPr>
          <p:cNvGrpSpPr/>
          <p:nvPr/>
        </p:nvGrpSpPr>
        <p:grpSpPr>
          <a:xfrm>
            <a:off x="3852349" y="1057497"/>
            <a:ext cx="3515888" cy="579119"/>
            <a:chOff x="3568324" y="779133"/>
            <a:chExt cx="1363484" cy="389566"/>
          </a:xfrm>
          <a:solidFill>
            <a:srgbClr val="7030A0"/>
          </a:solidFill>
        </p:grpSpPr>
        <p:sp>
          <p:nvSpPr>
            <p:cNvPr id="24" name="Rounded Rectangle 19">
              <a:extLst>
                <a:ext uri="{FF2B5EF4-FFF2-40B4-BE49-F238E27FC236}">
                  <a16:creationId xmlns:a16="http://schemas.microsoft.com/office/drawing/2014/main" id="{048EFDC0-7680-3067-866A-BD8D63208190}"/>
                </a:ext>
              </a:extLst>
            </p:cNvPr>
            <p:cNvSpPr/>
            <p:nvPr/>
          </p:nvSpPr>
          <p:spPr>
            <a:xfrm>
              <a:off x="3568324" y="779133"/>
              <a:ext cx="1363484" cy="389566"/>
            </a:xfrm>
            <a:custGeom>
              <a:avLst/>
              <a:gdLst/>
              <a:ahLst/>
              <a:cxnLst/>
              <a:rect l="0" t="0" r="0" b="0"/>
              <a:pathLst>
                <a:path w="1363484" h="389566">
                  <a:moveTo>
                    <a:pt x="0" y="48695"/>
                  </a:moveTo>
                  <a:cubicBezTo>
                    <a:pt x="0" y="21801"/>
                    <a:pt x="21801" y="0"/>
                    <a:pt x="48695" y="0"/>
                  </a:cubicBezTo>
                  <a:lnTo>
                    <a:pt x="97391" y="0"/>
                  </a:lnTo>
                  <a:lnTo>
                    <a:pt x="97391" y="97391"/>
                  </a:lnTo>
                  <a:lnTo>
                    <a:pt x="0" y="97391"/>
                  </a:lnTo>
                  <a:lnTo>
                    <a:pt x="0" y="48695"/>
                  </a:lnTo>
                  <a:close/>
                  <a:moveTo>
                    <a:pt x="97391" y="0"/>
                  </a:moveTo>
                  <a:lnTo>
                    <a:pt x="97391" y="97391"/>
                  </a:lnTo>
                  <a:lnTo>
                    <a:pt x="1266092" y="97391"/>
                  </a:lnTo>
                  <a:lnTo>
                    <a:pt x="1266092" y="0"/>
                  </a:lnTo>
                  <a:lnTo>
                    <a:pt x="97391" y="0"/>
                  </a:lnTo>
                  <a:close/>
                  <a:moveTo>
                    <a:pt x="1363484" y="48695"/>
                  </a:moveTo>
                  <a:cubicBezTo>
                    <a:pt x="1363484" y="21801"/>
                    <a:pt x="1341682" y="0"/>
                    <a:pt x="1314788" y="0"/>
                  </a:cubicBezTo>
                  <a:lnTo>
                    <a:pt x="1266092" y="0"/>
                  </a:lnTo>
                  <a:lnTo>
                    <a:pt x="1266092" y="97391"/>
                  </a:lnTo>
                  <a:lnTo>
                    <a:pt x="1363484" y="97391"/>
                  </a:lnTo>
                  <a:lnTo>
                    <a:pt x="1363484" y="48695"/>
                  </a:lnTo>
                  <a:close/>
                  <a:moveTo>
                    <a:pt x="1363484" y="97391"/>
                  </a:moveTo>
                  <a:lnTo>
                    <a:pt x="0" y="97391"/>
                  </a:lnTo>
                  <a:lnTo>
                    <a:pt x="0" y="292175"/>
                  </a:lnTo>
                  <a:lnTo>
                    <a:pt x="1363484" y="292175"/>
                  </a:lnTo>
                  <a:lnTo>
                    <a:pt x="1363484" y="97391"/>
                  </a:lnTo>
                  <a:close/>
                  <a:moveTo>
                    <a:pt x="0" y="340871"/>
                  </a:moveTo>
                  <a:cubicBezTo>
                    <a:pt x="0" y="367764"/>
                    <a:pt x="21801" y="389566"/>
                    <a:pt x="48695" y="389566"/>
                  </a:cubicBezTo>
                  <a:lnTo>
                    <a:pt x="97391" y="389566"/>
                  </a:lnTo>
                  <a:lnTo>
                    <a:pt x="97391" y="292175"/>
                  </a:lnTo>
                  <a:lnTo>
                    <a:pt x="0" y="292175"/>
                  </a:lnTo>
                  <a:lnTo>
                    <a:pt x="0" y="340871"/>
                  </a:lnTo>
                  <a:close/>
                  <a:moveTo>
                    <a:pt x="1266092" y="389566"/>
                  </a:moveTo>
                  <a:lnTo>
                    <a:pt x="1266092" y="292175"/>
                  </a:lnTo>
                  <a:lnTo>
                    <a:pt x="97391" y="292175"/>
                  </a:lnTo>
                  <a:lnTo>
                    <a:pt x="97391" y="389566"/>
                  </a:lnTo>
                  <a:lnTo>
                    <a:pt x="1266092" y="389566"/>
                  </a:lnTo>
                  <a:close/>
                  <a:moveTo>
                    <a:pt x="1314788" y="389566"/>
                  </a:moveTo>
                  <a:cubicBezTo>
                    <a:pt x="1341682" y="389566"/>
                    <a:pt x="1363484" y="367764"/>
                    <a:pt x="1363484" y="340871"/>
                  </a:cubicBezTo>
                  <a:lnTo>
                    <a:pt x="1363484" y="292175"/>
                  </a:lnTo>
                  <a:lnTo>
                    <a:pt x="1266092" y="292175"/>
                  </a:lnTo>
                  <a:lnTo>
                    <a:pt x="1266092" y="389566"/>
                  </a:lnTo>
                  <a:lnTo>
                    <a:pt x="1314788" y="389566"/>
                  </a:lnTo>
                  <a:close/>
                </a:path>
              </a:pathLst>
            </a:custGeom>
            <a:grpFill/>
            <a:ln>
              <a:noFill/>
            </a:ln>
          </p:spPr>
          <p:txBody>
            <a:bodyPr rtlCol="0" anchor="ctr"/>
            <a:lstStyle/>
            <a:p>
              <a:pPr algn="ctr"/>
              <a:endParaRPr/>
            </a:p>
          </p:txBody>
        </p:sp>
        <p:sp>
          <p:nvSpPr>
            <p:cNvPr id="25" name="Rounded Rectangle 20">
              <a:extLst>
                <a:ext uri="{FF2B5EF4-FFF2-40B4-BE49-F238E27FC236}">
                  <a16:creationId xmlns:a16="http://schemas.microsoft.com/office/drawing/2014/main" id="{8319B56B-5B7E-AED1-496A-DE6AAD4B2F7C}"/>
                </a:ext>
              </a:extLst>
            </p:cNvPr>
            <p:cNvSpPr/>
            <p:nvPr/>
          </p:nvSpPr>
          <p:spPr>
            <a:xfrm>
              <a:off x="3568324" y="779133"/>
              <a:ext cx="1363484" cy="389566"/>
            </a:xfrm>
            <a:custGeom>
              <a:avLst/>
              <a:gdLst/>
              <a:ahLst/>
              <a:cxnLst/>
              <a:rect l="0" t="0" r="0" b="0"/>
              <a:pathLst>
                <a:path w="1363484" h="389566">
                  <a:moveTo>
                    <a:pt x="0" y="97391"/>
                  </a:moveTo>
                  <a:lnTo>
                    <a:pt x="0" y="48695"/>
                  </a:lnTo>
                  <a:cubicBezTo>
                    <a:pt x="0" y="21801"/>
                    <a:pt x="21801" y="0"/>
                    <a:pt x="48695" y="0"/>
                  </a:cubicBezTo>
                  <a:lnTo>
                    <a:pt x="97391" y="0"/>
                  </a:lnTo>
                  <a:moveTo>
                    <a:pt x="1363484" y="97391"/>
                  </a:moveTo>
                  <a:lnTo>
                    <a:pt x="1363484" y="292175"/>
                  </a:lnTo>
                  <a:moveTo>
                    <a:pt x="0" y="292175"/>
                  </a:moveTo>
                  <a:lnTo>
                    <a:pt x="0" y="97391"/>
                  </a:lnTo>
                  <a:moveTo>
                    <a:pt x="97391" y="0"/>
                  </a:moveTo>
                  <a:lnTo>
                    <a:pt x="1266092" y="0"/>
                  </a:lnTo>
                  <a:moveTo>
                    <a:pt x="0" y="292175"/>
                  </a:moveTo>
                  <a:lnTo>
                    <a:pt x="0" y="340871"/>
                  </a:lnTo>
                  <a:cubicBezTo>
                    <a:pt x="0" y="367764"/>
                    <a:pt x="21801" y="389566"/>
                    <a:pt x="48695" y="389566"/>
                  </a:cubicBezTo>
                  <a:lnTo>
                    <a:pt x="97391" y="389566"/>
                  </a:lnTo>
                  <a:moveTo>
                    <a:pt x="1363484" y="97391"/>
                  </a:moveTo>
                  <a:lnTo>
                    <a:pt x="1363484" y="48695"/>
                  </a:lnTo>
                  <a:cubicBezTo>
                    <a:pt x="1363484" y="21801"/>
                    <a:pt x="1341682" y="0"/>
                    <a:pt x="1314788" y="0"/>
                  </a:cubicBezTo>
                  <a:lnTo>
                    <a:pt x="1266092" y="0"/>
                  </a:lnTo>
                  <a:moveTo>
                    <a:pt x="1266092" y="389566"/>
                  </a:moveTo>
                  <a:lnTo>
                    <a:pt x="97391" y="389566"/>
                  </a:lnTo>
                  <a:moveTo>
                    <a:pt x="1363484" y="292175"/>
                  </a:moveTo>
                  <a:lnTo>
                    <a:pt x="1363484" y="340871"/>
                  </a:lnTo>
                  <a:cubicBezTo>
                    <a:pt x="1363484" y="367764"/>
                    <a:pt x="1341682" y="389566"/>
                    <a:pt x="1314788" y="389566"/>
                  </a:cubicBezTo>
                  <a:lnTo>
                    <a:pt x="1266092" y="389566"/>
                  </a:lnTo>
                </a:path>
              </a:pathLst>
            </a:custGeom>
            <a:grpFill/>
            <a:ln w="6086">
              <a:solidFill>
                <a:srgbClr val="C769F2"/>
              </a:solidFill>
            </a:ln>
          </p:spPr>
          <p:txBody>
            <a:bodyPr rtlCol="0" anchor="ctr"/>
            <a:lstStyle/>
            <a:p>
              <a:pPr algn="ctr"/>
              <a:endParaRPr/>
            </a:p>
          </p:txBody>
        </p:sp>
      </p:grpSp>
      <p:grpSp>
        <p:nvGrpSpPr>
          <p:cNvPr id="26" name="Group 25">
            <a:extLst>
              <a:ext uri="{FF2B5EF4-FFF2-40B4-BE49-F238E27FC236}">
                <a16:creationId xmlns:a16="http://schemas.microsoft.com/office/drawing/2014/main" id="{356EF0F1-580E-E8B7-F3D8-703F5126592F}"/>
              </a:ext>
            </a:extLst>
          </p:cNvPr>
          <p:cNvGrpSpPr/>
          <p:nvPr/>
        </p:nvGrpSpPr>
        <p:grpSpPr>
          <a:xfrm>
            <a:off x="3852349" y="1781398"/>
            <a:ext cx="3515888" cy="1013460"/>
            <a:chOff x="3568324" y="1266092"/>
            <a:chExt cx="1363484" cy="681742"/>
          </a:xfrm>
        </p:grpSpPr>
        <p:sp>
          <p:nvSpPr>
            <p:cNvPr id="27" name="Rounded Rectangle 22">
              <a:extLst>
                <a:ext uri="{FF2B5EF4-FFF2-40B4-BE49-F238E27FC236}">
                  <a16:creationId xmlns:a16="http://schemas.microsoft.com/office/drawing/2014/main" id="{77463F29-FC6C-7EA2-510F-D33B3D1EB367}"/>
                </a:ext>
              </a:extLst>
            </p:cNvPr>
            <p:cNvSpPr/>
            <p:nvPr/>
          </p:nvSpPr>
          <p:spPr>
            <a:xfrm>
              <a:off x="3568324" y="1266092"/>
              <a:ext cx="1363484" cy="681742"/>
            </a:xfrm>
            <a:custGeom>
              <a:avLst/>
              <a:gdLst/>
              <a:ahLst/>
              <a:cxnLst/>
              <a:rect l="0" t="0" r="0" b="0"/>
              <a:pathLst>
                <a:path w="1363484" h="681742">
                  <a:moveTo>
                    <a:pt x="0" y="48695"/>
                  </a:moveTo>
                  <a:cubicBezTo>
                    <a:pt x="0" y="21801"/>
                    <a:pt x="21801" y="0"/>
                    <a:pt x="48695" y="0"/>
                  </a:cubicBezTo>
                  <a:lnTo>
                    <a:pt x="97391" y="0"/>
                  </a:lnTo>
                  <a:lnTo>
                    <a:pt x="97391" y="97391"/>
                  </a:lnTo>
                  <a:lnTo>
                    <a:pt x="0" y="97391"/>
                  </a:lnTo>
                  <a:lnTo>
                    <a:pt x="0" y="48695"/>
                  </a:lnTo>
                  <a:close/>
                  <a:moveTo>
                    <a:pt x="97391" y="0"/>
                  </a:moveTo>
                  <a:lnTo>
                    <a:pt x="97391" y="97391"/>
                  </a:lnTo>
                  <a:lnTo>
                    <a:pt x="1266092" y="97391"/>
                  </a:lnTo>
                  <a:lnTo>
                    <a:pt x="1266092" y="0"/>
                  </a:lnTo>
                  <a:lnTo>
                    <a:pt x="97391" y="0"/>
                  </a:lnTo>
                  <a:close/>
                  <a:moveTo>
                    <a:pt x="1363484" y="48695"/>
                  </a:moveTo>
                  <a:cubicBezTo>
                    <a:pt x="1363484" y="21801"/>
                    <a:pt x="1341682" y="0"/>
                    <a:pt x="1314788" y="0"/>
                  </a:cubicBezTo>
                  <a:lnTo>
                    <a:pt x="1266092" y="0"/>
                  </a:lnTo>
                  <a:lnTo>
                    <a:pt x="1266092" y="97391"/>
                  </a:lnTo>
                  <a:lnTo>
                    <a:pt x="1363484" y="97391"/>
                  </a:lnTo>
                  <a:lnTo>
                    <a:pt x="1363484" y="48695"/>
                  </a:lnTo>
                  <a:close/>
                  <a:moveTo>
                    <a:pt x="1363484" y="97391"/>
                  </a:moveTo>
                  <a:lnTo>
                    <a:pt x="0" y="97391"/>
                  </a:lnTo>
                  <a:lnTo>
                    <a:pt x="0" y="584350"/>
                  </a:lnTo>
                  <a:lnTo>
                    <a:pt x="1363484" y="584350"/>
                  </a:lnTo>
                  <a:lnTo>
                    <a:pt x="1363484" y="97391"/>
                  </a:lnTo>
                  <a:close/>
                  <a:moveTo>
                    <a:pt x="0" y="633046"/>
                  </a:moveTo>
                  <a:cubicBezTo>
                    <a:pt x="0" y="659940"/>
                    <a:pt x="21801" y="681742"/>
                    <a:pt x="48695" y="681742"/>
                  </a:cubicBezTo>
                  <a:lnTo>
                    <a:pt x="97391" y="681742"/>
                  </a:lnTo>
                  <a:lnTo>
                    <a:pt x="97391" y="584350"/>
                  </a:lnTo>
                  <a:lnTo>
                    <a:pt x="0" y="584350"/>
                  </a:lnTo>
                  <a:lnTo>
                    <a:pt x="0" y="633046"/>
                  </a:lnTo>
                  <a:close/>
                  <a:moveTo>
                    <a:pt x="1266092" y="681742"/>
                  </a:moveTo>
                  <a:lnTo>
                    <a:pt x="1266092" y="584350"/>
                  </a:lnTo>
                  <a:lnTo>
                    <a:pt x="97391" y="584350"/>
                  </a:lnTo>
                  <a:lnTo>
                    <a:pt x="97391" y="681742"/>
                  </a:lnTo>
                  <a:lnTo>
                    <a:pt x="1266092" y="681742"/>
                  </a:lnTo>
                  <a:close/>
                  <a:moveTo>
                    <a:pt x="1314788" y="681742"/>
                  </a:moveTo>
                  <a:cubicBezTo>
                    <a:pt x="1341682" y="681742"/>
                    <a:pt x="1363484" y="659940"/>
                    <a:pt x="1363484" y="633046"/>
                  </a:cubicBezTo>
                  <a:lnTo>
                    <a:pt x="1363484" y="584350"/>
                  </a:lnTo>
                  <a:lnTo>
                    <a:pt x="1266092" y="584350"/>
                  </a:lnTo>
                  <a:lnTo>
                    <a:pt x="1266092" y="681742"/>
                  </a:lnTo>
                  <a:lnTo>
                    <a:pt x="1314788" y="681742"/>
                  </a:lnTo>
                  <a:close/>
                </a:path>
              </a:pathLst>
            </a:custGeom>
            <a:solidFill>
              <a:srgbClr val="9C51BE"/>
            </a:solidFill>
            <a:ln>
              <a:noFill/>
            </a:ln>
          </p:spPr>
          <p:txBody>
            <a:bodyPr rtlCol="0" anchor="ctr"/>
            <a:lstStyle/>
            <a:p>
              <a:pPr algn="ctr"/>
              <a:endParaRPr sz="1400"/>
            </a:p>
          </p:txBody>
        </p:sp>
        <p:sp>
          <p:nvSpPr>
            <p:cNvPr id="28" name="Rounded Rectangle 23">
              <a:extLst>
                <a:ext uri="{FF2B5EF4-FFF2-40B4-BE49-F238E27FC236}">
                  <a16:creationId xmlns:a16="http://schemas.microsoft.com/office/drawing/2014/main" id="{5C7DC95A-FA15-AB88-29DA-A10FE0FD7ED7}"/>
                </a:ext>
              </a:extLst>
            </p:cNvPr>
            <p:cNvSpPr/>
            <p:nvPr/>
          </p:nvSpPr>
          <p:spPr>
            <a:xfrm>
              <a:off x="3568324" y="1266092"/>
              <a:ext cx="1363484" cy="681742"/>
            </a:xfrm>
            <a:custGeom>
              <a:avLst/>
              <a:gdLst/>
              <a:ahLst/>
              <a:cxnLst/>
              <a:rect l="0" t="0" r="0" b="0"/>
              <a:pathLst>
                <a:path w="1363484" h="681742">
                  <a:moveTo>
                    <a:pt x="0" y="97391"/>
                  </a:moveTo>
                  <a:lnTo>
                    <a:pt x="0" y="48695"/>
                  </a:lnTo>
                  <a:cubicBezTo>
                    <a:pt x="0" y="21801"/>
                    <a:pt x="21801" y="0"/>
                    <a:pt x="48695" y="0"/>
                  </a:cubicBezTo>
                  <a:lnTo>
                    <a:pt x="97391" y="0"/>
                  </a:lnTo>
                  <a:moveTo>
                    <a:pt x="1363484" y="97391"/>
                  </a:moveTo>
                  <a:lnTo>
                    <a:pt x="1363484" y="584350"/>
                  </a:lnTo>
                  <a:moveTo>
                    <a:pt x="0" y="584350"/>
                  </a:moveTo>
                  <a:lnTo>
                    <a:pt x="0" y="97391"/>
                  </a:lnTo>
                  <a:moveTo>
                    <a:pt x="97391" y="0"/>
                  </a:moveTo>
                  <a:lnTo>
                    <a:pt x="1266092" y="0"/>
                  </a:lnTo>
                  <a:moveTo>
                    <a:pt x="0" y="584350"/>
                  </a:moveTo>
                  <a:lnTo>
                    <a:pt x="0" y="633046"/>
                  </a:lnTo>
                  <a:cubicBezTo>
                    <a:pt x="0" y="659940"/>
                    <a:pt x="21801" y="681742"/>
                    <a:pt x="48695" y="681742"/>
                  </a:cubicBezTo>
                  <a:lnTo>
                    <a:pt x="97391" y="681742"/>
                  </a:lnTo>
                  <a:moveTo>
                    <a:pt x="1363484" y="97391"/>
                  </a:moveTo>
                  <a:lnTo>
                    <a:pt x="1363484" y="48695"/>
                  </a:lnTo>
                  <a:cubicBezTo>
                    <a:pt x="1363484" y="21801"/>
                    <a:pt x="1341682" y="0"/>
                    <a:pt x="1314788" y="0"/>
                  </a:cubicBezTo>
                  <a:lnTo>
                    <a:pt x="1266092" y="0"/>
                  </a:lnTo>
                  <a:moveTo>
                    <a:pt x="1266092" y="681742"/>
                  </a:moveTo>
                  <a:lnTo>
                    <a:pt x="97391" y="681742"/>
                  </a:lnTo>
                  <a:moveTo>
                    <a:pt x="1363484" y="584350"/>
                  </a:moveTo>
                  <a:lnTo>
                    <a:pt x="1363484" y="633046"/>
                  </a:lnTo>
                  <a:cubicBezTo>
                    <a:pt x="1363484" y="659940"/>
                    <a:pt x="1341682" y="681742"/>
                    <a:pt x="1314788" y="681742"/>
                  </a:cubicBezTo>
                  <a:lnTo>
                    <a:pt x="1266092" y="681742"/>
                  </a:lnTo>
                </a:path>
              </a:pathLst>
            </a:custGeom>
            <a:noFill/>
            <a:ln w="6086">
              <a:solidFill>
                <a:srgbClr val="F0DCF9"/>
              </a:solidFill>
            </a:ln>
          </p:spPr>
          <p:txBody>
            <a:bodyPr rtlCol="0" anchor="ctr"/>
            <a:lstStyle/>
            <a:p>
              <a:pPr algn="ctr"/>
              <a:endParaRPr sz="1400"/>
            </a:p>
          </p:txBody>
        </p:sp>
      </p:grpSp>
      <p:grpSp>
        <p:nvGrpSpPr>
          <p:cNvPr id="29" name="Group 28">
            <a:extLst>
              <a:ext uri="{FF2B5EF4-FFF2-40B4-BE49-F238E27FC236}">
                <a16:creationId xmlns:a16="http://schemas.microsoft.com/office/drawing/2014/main" id="{83F4A08D-712C-F2EE-2539-20E5BD763EA8}"/>
              </a:ext>
            </a:extLst>
          </p:cNvPr>
          <p:cNvGrpSpPr/>
          <p:nvPr/>
        </p:nvGrpSpPr>
        <p:grpSpPr>
          <a:xfrm>
            <a:off x="3852349" y="2939638"/>
            <a:ext cx="3515888" cy="723899"/>
            <a:chOff x="3568324" y="2045226"/>
            <a:chExt cx="1363484" cy="486958"/>
          </a:xfrm>
        </p:grpSpPr>
        <p:sp>
          <p:nvSpPr>
            <p:cNvPr id="30" name="Rounded Rectangle 25">
              <a:extLst>
                <a:ext uri="{FF2B5EF4-FFF2-40B4-BE49-F238E27FC236}">
                  <a16:creationId xmlns:a16="http://schemas.microsoft.com/office/drawing/2014/main" id="{21F41BA2-13D9-FFB7-2072-3B48F4C5F7EA}"/>
                </a:ext>
              </a:extLst>
            </p:cNvPr>
            <p:cNvSpPr/>
            <p:nvPr/>
          </p:nvSpPr>
          <p:spPr>
            <a:xfrm>
              <a:off x="3568324" y="2045226"/>
              <a:ext cx="1363484" cy="486958"/>
            </a:xfrm>
            <a:custGeom>
              <a:avLst/>
              <a:gdLst/>
              <a:ahLst/>
              <a:cxnLst/>
              <a:rect l="0" t="0" r="0" b="0"/>
              <a:pathLst>
                <a:path w="1363484" h="486958">
                  <a:moveTo>
                    <a:pt x="0" y="48695"/>
                  </a:moveTo>
                  <a:cubicBezTo>
                    <a:pt x="0" y="21801"/>
                    <a:pt x="21801" y="0"/>
                    <a:pt x="48695" y="0"/>
                  </a:cubicBezTo>
                  <a:lnTo>
                    <a:pt x="97391" y="0"/>
                  </a:lnTo>
                  <a:lnTo>
                    <a:pt x="97391" y="97391"/>
                  </a:lnTo>
                  <a:lnTo>
                    <a:pt x="0" y="97391"/>
                  </a:lnTo>
                  <a:lnTo>
                    <a:pt x="0" y="48695"/>
                  </a:lnTo>
                  <a:close/>
                  <a:moveTo>
                    <a:pt x="97391" y="0"/>
                  </a:moveTo>
                  <a:lnTo>
                    <a:pt x="97391" y="97391"/>
                  </a:lnTo>
                  <a:lnTo>
                    <a:pt x="1266092" y="97391"/>
                  </a:lnTo>
                  <a:lnTo>
                    <a:pt x="1266092" y="0"/>
                  </a:lnTo>
                  <a:lnTo>
                    <a:pt x="97391" y="0"/>
                  </a:lnTo>
                  <a:close/>
                  <a:moveTo>
                    <a:pt x="1363484" y="48695"/>
                  </a:moveTo>
                  <a:cubicBezTo>
                    <a:pt x="1363484" y="21801"/>
                    <a:pt x="1341682" y="0"/>
                    <a:pt x="1314788" y="0"/>
                  </a:cubicBezTo>
                  <a:lnTo>
                    <a:pt x="1266092" y="0"/>
                  </a:lnTo>
                  <a:lnTo>
                    <a:pt x="1266092" y="97391"/>
                  </a:lnTo>
                  <a:lnTo>
                    <a:pt x="1363484" y="97391"/>
                  </a:lnTo>
                  <a:lnTo>
                    <a:pt x="1363484" y="48695"/>
                  </a:lnTo>
                  <a:close/>
                  <a:moveTo>
                    <a:pt x="1363484" y="97391"/>
                  </a:moveTo>
                  <a:lnTo>
                    <a:pt x="0" y="97391"/>
                  </a:lnTo>
                  <a:lnTo>
                    <a:pt x="0" y="389566"/>
                  </a:lnTo>
                  <a:lnTo>
                    <a:pt x="1363484" y="389566"/>
                  </a:lnTo>
                  <a:lnTo>
                    <a:pt x="1363484" y="97391"/>
                  </a:lnTo>
                  <a:close/>
                  <a:moveTo>
                    <a:pt x="0" y="438262"/>
                  </a:moveTo>
                  <a:cubicBezTo>
                    <a:pt x="0" y="465156"/>
                    <a:pt x="21801" y="486958"/>
                    <a:pt x="48695" y="486958"/>
                  </a:cubicBezTo>
                  <a:lnTo>
                    <a:pt x="97391" y="486958"/>
                  </a:lnTo>
                  <a:lnTo>
                    <a:pt x="97391" y="389566"/>
                  </a:lnTo>
                  <a:lnTo>
                    <a:pt x="0" y="389566"/>
                  </a:lnTo>
                  <a:lnTo>
                    <a:pt x="0" y="438262"/>
                  </a:lnTo>
                  <a:close/>
                  <a:moveTo>
                    <a:pt x="1266092" y="486958"/>
                  </a:moveTo>
                  <a:lnTo>
                    <a:pt x="1266092" y="389566"/>
                  </a:lnTo>
                  <a:lnTo>
                    <a:pt x="97391" y="389566"/>
                  </a:lnTo>
                  <a:lnTo>
                    <a:pt x="97391" y="486958"/>
                  </a:lnTo>
                  <a:lnTo>
                    <a:pt x="1266092" y="486958"/>
                  </a:lnTo>
                  <a:close/>
                  <a:moveTo>
                    <a:pt x="1314788" y="486958"/>
                  </a:moveTo>
                  <a:cubicBezTo>
                    <a:pt x="1341682" y="486958"/>
                    <a:pt x="1363484" y="465156"/>
                    <a:pt x="1363484" y="438262"/>
                  </a:cubicBezTo>
                  <a:lnTo>
                    <a:pt x="1363484" y="389566"/>
                  </a:lnTo>
                  <a:lnTo>
                    <a:pt x="1266092" y="389566"/>
                  </a:lnTo>
                  <a:lnTo>
                    <a:pt x="1266092" y="486958"/>
                  </a:lnTo>
                  <a:lnTo>
                    <a:pt x="1314788" y="486958"/>
                  </a:lnTo>
                  <a:close/>
                </a:path>
              </a:pathLst>
            </a:custGeom>
            <a:solidFill>
              <a:srgbClr val="B15CD7"/>
            </a:solidFill>
            <a:ln>
              <a:noFill/>
            </a:ln>
          </p:spPr>
          <p:txBody>
            <a:bodyPr rtlCol="0" anchor="ctr"/>
            <a:lstStyle/>
            <a:p>
              <a:pPr algn="ctr"/>
              <a:endParaRPr sz="1400"/>
            </a:p>
          </p:txBody>
        </p:sp>
        <p:sp>
          <p:nvSpPr>
            <p:cNvPr id="31" name="Rounded Rectangle 26">
              <a:extLst>
                <a:ext uri="{FF2B5EF4-FFF2-40B4-BE49-F238E27FC236}">
                  <a16:creationId xmlns:a16="http://schemas.microsoft.com/office/drawing/2014/main" id="{6622A802-C78D-B2EE-2979-481789BC1D9E}"/>
                </a:ext>
              </a:extLst>
            </p:cNvPr>
            <p:cNvSpPr/>
            <p:nvPr/>
          </p:nvSpPr>
          <p:spPr>
            <a:xfrm>
              <a:off x="3568324" y="2045226"/>
              <a:ext cx="1363484" cy="486958"/>
            </a:xfrm>
            <a:custGeom>
              <a:avLst/>
              <a:gdLst/>
              <a:ahLst/>
              <a:cxnLst/>
              <a:rect l="0" t="0" r="0" b="0"/>
              <a:pathLst>
                <a:path w="1363484" h="486958">
                  <a:moveTo>
                    <a:pt x="0" y="97391"/>
                  </a:moveTo>
                  <a:lnTo>
                    <a:pt x="0" y="48695"/>
                  </a:lnTo>
                  <a:cubicBezTo>
                    <a:pt x="0" y="21801"/>
                    <a:pt x="21801" y="0"/>
                    <a:pt x="48695" y="0"/>
                  </a:cubicBezTo>
                  <a:lnTo>
                    <a:pt x="97391" y="0"/>
                  </a:lnTo>
                  <a:moveTo>
                    <a:pt x="1363484" y="97391"/>
                  </a:moveTo>
                  <a:lnTo>
                    <a:pt x="1363484" y="389566"/>
                  </a:lnTo>
                  <a:moveTo>
                    <a:pt x="0" y="389566"/>
                  </a:moveTo>
                  <a:lnTo>
                    <a:pt x="0" y="97391"/>
                  </a:lnTo>
                  <a:moveTo>
                    <a:pt x="97391" y="0"/>
                  </a:moveTo>
                  <a:lnTo>
                    <a:pt x="1266092" y="0"/>
                  </a:lnTo>
                  <a:moveTo>
                    <a:pt x="0" y="389566"/>
                  </a:moveTo>
                  <a:lnTo>
                    <a:pt x="0" y="438262"/>
                  </a:lnTo>
                  <a:cubicBezTo>
                    <a:pt x="0" y="465156"/>
                    <a:pt x="21801" y="486958"/>
                    <a:pt x="48695" y="486958"/>
                  </a:cubicBezTo>
                  <a:lnTo>
                    <a:pt x="97391" y="486958"/>
                  </a:lnTo>
                  <a:moveTo>
                    <a:pt x="1363484" y="97391"/>
                  </a:moveTo>
                  <a:lnTo>
                    <a:pt x="1363484" y="48695"/>
                  </a:lnTo>
                  <a:cubicBezTo>
                    <a:pt x="1363484" y="21801"/>
                    <a:pt x="1341682" y="0"/>
                    <a:pt x="1314788" y="0"/>
                  </a:cubicBezTo>
                  <a:lnTo>
                    <a:pt x="1266092" y="0"/>
                  </a:lnTo>
                  <a:moveTo>
                    <a:pt x="1266092" y="486958"/>
                  </a:moveTo>
                  <a:lnTo>
                    <a:pt x="97391" y="486958"/>
                  </a:lnTo>
                  <a:moveTo>
                    <a:pt x="1363484" y="389566"/>
                  </a:moveTo>
                  <a:lnTo>
                    <a:pt x="1363484" y="438262"/>
                  </a:lnTo>
                  <a:cubicBezTo>
                    <a:pt x="1363484" y="465156"/>
                    <a:pt x="1341682" y="486958"/>
                    <a:pt x="1314788" y="486958"/>
                  </a:cubicBezTo>
                  <a:lnTo>
                    <a:pt x="1266092" y="486958"/>
                  </a:lnTo>
                </a:path>
              </a:pathLst>
            </a:custGeom>
            <a:noFill/>
            <a:ln w="6086">
              <a:solidFill>
                <a:srgbClr val="F0DCF9"/>
              </a:solidFill>
            </a:ln>
          </p:spPr>
          <p:txBody>
            <a:bodyPr rtlCol="0" anchor="ctr"/>
            <a:lstStyle/>
            <a:p>
              <a:pPr algn="ctr"/>
              <a:endParaRPr sz="1400"/>
            </a:p>
          </p:txBody>
        </p:sp>
      </p:grpSp>
      <p:grpSp>
        <p:nvGrpSpPr>
          <p:cNvPr id="32" name="Group 31">
            <a:extLst>
              <a:ext uri="{FF2B5EF4-FFF2-40B4-BE49-F238E27FC236}">
                <a16:creationId xmlns:a16="http://schemas.microsoft.com/office/drawing/2014/main" id="{5A2027EE-45C4-516A-0F41-DD9817F61A87}"/>
              </a:ext>
            </a:extLst>
          </p:cNvPr>
          <p:cNvGrpSpPr/>
          <p:nvPr/>
        </p:nvGrpSpPr>
        <p:grpSpPr>
          <a:xfrm>
            <a:off x="3852349" y="3808318"/>
            <a:ext cx="3515888" cy="723899"/>
            <a:chOff x="3568324" y="2629576"/>
            <a:chExt cx="1363484" cy="486958"/>
          </a:xfrm>
        </p:grpSpPr>
        <p:sp>
          <p:nvSpPr>
            <p:cNvPr id="33" name="Rounded Rectangle 28">
              <a:extLst>
                <a:ext uri="{FF2B5EF4-FFF2-40B4-BE49-F238E27FC236}">
                  <a16:creationId xmlns:a16="http://schemas.microsoft.com/office/drawing/2014/main" id="{1B5A4DAF-1905-C413-ED20-2F025D25843B}"/>
                </a:ext>
              </a:extLst>
            </p:cNvPr>
            <p:cNvSpPr/>
            <p:nvPr/>
          </p:nvSpPr>
          <p:spPr>
            <a:xfrm>
              <a:off x="3568324" y="2629576"/>
              <a:ext cx="1363484" cy="486958"/>
            </a:xfrm>
            <a:custGeom>
              <a:avLst/>
              <a:gdLst/>
              <a:ahLst/>
              <a:cxnLst/>
              <a:rect l="0" t="0" r="0" b="0"/>
              <a:pathLst>
                <a:path w="1363484" h="486958">
                  <a:moveTo>
                    <a:pt x="0" y="48695"/>
                  </a:moveTo>
                  <a:cubicBezTo>
                    <a:pt x="0" y="21801"/>
                    <a:pt x="21801" y="0"/>
                    <a:pt x="48695" y="0"/>
                  </a:cubicBezTo>
                  <a:lnTo>
                    <a:pt x="97391" y="0"/>
                  </a:lnTo>
                  <a:lnTo>
                    <a:pt x="97391" y="97391"/>
                  </a:lnTo>
                  <a:lnTo>
                    <a:pt x="0" y="97391"/>
                  </a:lnTo>
                  <a:lnTo>
                    <a:pt x="0" y="48695"/>
                  </a:lnTo>
                  <a:close/>
                  <a:moveTo>
                    <a:pt x="97391" y="0"/>
                  </a:moveTo>
                  <a:lnTo>
                    <a:pt x="97391" y="97391"/>
                  </a:lnTo>
                  <a:lnTo>
                    <a:pt x="1266092" y="97391"/>
                  </a:lnTo>
                  <a:lnTo>
                    <a:pt x="1266092" y="0"/>
                  </a:lnTo>
                  <a:lnTo>
                    <a:pt x="97391" y="0"/>
                  </a:lnTo>
                  <a:close/>
                  <a:moveTo>
                    <a:pt x="1363484" y="48695"/>
                  </a:moveTo>
                  <a:cubicBezTo>
                    <a:pt x="1363484" y="21801"/>
                    <a:pt x="1341682" y="0"/>
                    <a:pt x="1314788" y="0"/>
                  </a:cubicBezTo>
                  <a:lnTo>
                    <a:pt x="1266092" y="0"/>
                  </a:lnTo>
                  <a:lnTo>
                    <a:pt x="1266092" y="97391"/>
                  </a:lnTo>
                  <a:lnTo>
                    <a:pt x="1363484" y="97391"/>
                  </a:lnTo>
                  <a:lnTo>
                    <a:pt x="1363484" y="48695"/>
                  </a:lnTo>
                  <a:close/>
                  <a:moveTo>
                    <a:pt x="1363484" y="97391"/>
                  </a:moveTo>
                  <a:lnTo>
                    <a:pt x="0" y="97391"/>
                  </a:lnTo>
                  <a:lnTo>
                    <a:pt x="0" y="389566"/>
                  </a:lnTo>
                  <a:lnTo>
                    <a:pt x="1363484" y="389566"/>
                  </a:lnTo>
                  <a:lnTo>
                    <a:pt x="1363484" y="97391"/>
                  </a:lnTo>
                  <a:close/>
                  <a:moveTo>
                    <a:pt x="0" y="438262"/>
                  </a:moveTo>
                  <a:cubicBezTo>
                    <a:pt x="0" y="465156"/>
                    <a:pt x="21801" y="486958"/>
                    <a:pt x="48695" y="486958"/>
                  </a:cubicBezTo>
                  <a:lnTo>
                    <a:pt x="97391" y="486958"/>
                  </a:lnTo>
                  <a:lnTo>
                    <a:pt x="97391" y="389566"/>
                  </a:lnTo>
                  <a:lnTo>
                    <a:pt x="0" y="389566"/>
                  </a:lnTo>
                  <a:lnTo>
                    <a:pt x="0" y="438262"/>
                  </a:lnTo>
                  <a:close/>
                  <a:moveTo>
                    <a:pt x="1266092" y="486958"/>
                  </a:moveTo>
                  <a:lnTo>
                    <a:pt x="1266092" y="389566"/>
                  </a:lnTo>
                  <a:lnTo>
                    <a:pt x="97391" y="389566"/>
                  </a:lnTo>
                  <a:lnTo>
                    <a:pt x="97391" y="486958"/>
                  </a:lnTo>
                  <a:lnTo>
                    <a:pt x="1266092" y="486958"/>
                  </a:lnTo>
                  <a:close/>
                  <a:moveTo>
                    <a:pt x="1314788" y="486958"/>
                  </a:moveTo>
                  <a:cubicBezTo>
                    <a:pt x="1341682" y="486958"/>
                    <a:pt x="1363484" y="465156"/>
                    <a:pt x="1363484" y="438262"/>
                  </a:cubicBezTo>
                  <a:lnTo>
                    <a:pt x="1363484" y="389566"/>
                  </a:lnTo>
                  <a:lnTo>
                    <a:pt x="1266092" y="389566"/>
                  </a:lnTo>
                  <a:lnTo>
                    <a:pt x="1266092" y="486958"/>
                  </a:lnTo>
                  <a:lnTo>
                    <a:pt x="1314788" y="486958"/>
                  </a:lnTo>
                  <a:close/>
                </a:path>
              </a:pathLst>
            </a:custGeom>
            <a:solidFill>
              <a:srgbClr val="C165EB"/>
            </a:solidFill>
            <a:ln>
              <a:noFill/>
            </a:ln>
          </p:spPr>
          <p:txBody>
            <a:bodyPr rtlCol="0" anchor="ctr"/>
            <a:lstStyle/>
            <a:p>
              <a:pPr algn="ctr"/>
              <a:endParaRPr sz="1400"/>
            </a:p>
          </p:txBody>
        </p:sp>
        <p:sp>
          <p:nvSpPr>
            <p:cNvPr id="34" name="Rounded Rectangle 29">
              <a:extLst>
                <a:ext uri="{FF2B5EF4-FFF2-40B4-BE49-F238E27FC236}">
                  <a16:creationId xmlns:a16="http://schemas.microsoft.com/office/drawing/2014/main" id="{B82A409C-4857-BFE0-49D3-830400BB7897}"/>
                </a:ext>
              </a:extLst>
            </p:cNvPr>
            <p:cNvSpPr/>
            <p:nvPr/>
          </p:nvSpPr>
          <p:spPr>
            <a:xfrm>
              <a:off x="3568324" y="2629576"/>
              <a:ext cx="1363484" cy="486958"/>
            </a:xfrm>
            <a:custGeom>
              <a:avLst/>
              <a:gdLst/>
              <a:ahLst/>
              <a:cxnLst/>
              <a:rect l="0" t="0" r="0" b="0"/>
              <a:pathLst>
                <a:path w="1363484" h="486958">
                  <a:moveTo>
                    <a:pt x="0" y="97391"/>
                  </a:moveTo>
                  <a:lnTo>
                    <a:pt x="0" y="48695"/>
                  </a:lnTo>
                  <a:cubicBezTo>
                    <a:pt x="0" y="21801"/>
                    <a:pt x="21801" y="0"/>
                    <a:pt x="48695" y="0"/>
                  </a:cubicBezTo>
                  <a:lnTo>
                    <a:pt x="97391" y="0"/>
                  </a:lnTo>
                  <a:moveTo>
                    <a:pt x="1363484" y="97391"/>
                  </a:moveTo>
                  <a:lnTo>
                    <a:pt x="1363484" y="389566"/>
                  </a:lnTo>
                  <a:moveTo>
                    <a:pt x="0" y="389566"/>
                  </a:moveTo>
                  <a:lnTo>
                    <a:pt x="0" y="97391"/>
                  </a:lnTo>
                  <a:moveTo>
                    <a:pt x="97391" y="0"/>
                  </a:moveTo>
                  <a:lnTo>
                    <a:pt x="1266092" y="0"/>
                  </a:lnTo>
                  <a:moveTo>
                    <a:pt x="0" y="389566"/>
                  </a:moveTo>
                  <a:lnTo>
                    <a:pt x="0" y="438262"/>
                  </a:lnTo>
                  <a:cubicBezTo>
                    <a:pt x="0" y="465156"/>
                    <a:pt x="21801" y="486958"/>
                    <a:pt x="48695" y="486958"/>
                  </a:cubicBezTo>
                  <a:lnTo>
                    <a:pt x="97391" y="486958"/>
                  </a:lnTo>
                  <a:moveTo>
                    <a:pt x="1363484" y="97391"/>
                  </a:moveTo>
                  <a:lnTo>
                    <a:pt x="1363484" y="48695"/>
                  </a:lnTo>
                  <a:cubicBezTo>
                    <a:pt x="1363484" y="21801"/>
                    <a:pt x="1341682" y="0"/>
                    <a:pt x="1314788" y="0"/>
                  </a:cubicBezTo>
                  <a:lnTo>
                    <a:pt x="1266092" y="0"/>
                  </a:lnTo>
                  <a:moveTo>
                    <a:pt x="1266092" y="486958"/>
                  </a:moveTo>
                  <a:lnTo>
                    <a:pt x="97391" y="486958"/>
                  </a:lnTo>
                  <a:moveTo>
                    <a:pt x="1363484" y="389566"/>
                  </a:moveTo>
                  <a:lnTo>
                    <a:pt x="1363484" y="438262"/>
                  </a:lnTo>
                  <a:cubicBezTo>
                    <a:pt x="1363484" y="465156"/>
                    <a:pt x="1341682" y="486958"/>
                    <a:pt x="1314788" y="486958"/>
                  </a:cubicBezTo>
                  <a:lnTo>
                    <a:pt x="1266092" y="486958"/>
                  </a:lnTo>
                </a:path>
              </a:pathLst>
            </a:custGeom>
            <a:noFill/>
            <a:ln w="6086">
              <a:solidFill>
                <a:srgbClr val="F0DCF9"/>
              </a:solidFill>
            </a:ln>
          </p:spPr>
          <p:txBody>
            <a:bodyPr rtlCol="0" anchor="ctr"/>
            <a:lstStyle/>
            <a:p>
              <a:pPr algn="ctr"/>
              <a:endParaRPr sz="1400"/>
            </a:p>
          </p:txBody>
        </p:sp>
      </p:grpSp>
      <p:grpSp>
        <p:nvGrpSpPr>
          <p:cNvPr id="35" name="Group 34">
            <a:extLst>
              <a:ext uri="{FF2B5EF4-FFF2-40B4-BE49-F238E27FC236}">
                <a16:creationId xmlns:a16="http://schemas.microsoft.com/office/drawing/2014/main" id="{E41A9391-E003-0682-7FA1-0FA49A7BDCA9}"/>
              </a:ext>
            </a:extLst>
          </p:cNvPr>
          <p:cNvGrpSpPr/>
          <p:nvPr/>
        </p:nvGrpSpPr>
        <p:grpSpPr>
          <a:xfrm>
            <a:off x="3852349" y="4676998"/>
            <a:ext cx="3515888" cy="723899"/>
            <a:chOff x="3568324" y="3213926"/>
            <a:chExt cx="1363484" cy="486958"/>
          </a:xfrm>
        </p:grpSpPr>
        <p:sp>
          <p:nvSpPr>
            <p:cNvPr id="36" name="Rounded Rectangle 31">
              <a:extLst>
                <a:ext uri="{FF2B5EF4-FFF2-40B4-BE49-F238E27FC236}">
                  <a16:creationId xmlns:a16="http://schemas.microsoft.com/office/drawing/2014/main" id="{B610009E-BFA5-DDA8-177E-2F890A532636}"/>
                </a:ext>
              </a:extLst>
            </p:cNvPr>
            <p:cNvSpPr/>
            <p:nvPr/>
          </p:nvSpPr>
          <p:spPr>
            <a:xfrm>
              <a:off x="3568324" y="3213926"/>
              <a:ext cx="1363484" cy="486958"/>
            </a:xfrm>
            <a:custGeom>
              <a:avLst/>
              <a:gdLst/>
              <a:ahLst/>
              <a:cxnLst/>
              <a:rect l="0" t="0" r="0" b="0"/>
              <a:pathLst>
                <a:path w="1363484" h="486958">
                  <a:moveTo>
                    <a:pt x="0" y="48695"/>
                  </a:moveTo>
                  <a:cubicBezTo>
                    <a:pt x="0" y="21801"/>
                    <a:pt x="21801" y="0"/>
                    <a:pt x="48695" y="0"/>
                  </a:cubicBezTo>
                  <a:lnTo>
                    <a:pt x="97391" y="0"/>
                  </a:lnTo>
                  <a:lnTo>
                    <a:pt x="97391" y="97391"/>
                  </a:lnTo>
                  <a:lnTo>
                    <a:pt x="0" y="97391"/>
                  </a:lnTo>
                  <a:lnTo>
                    <a:pt x="0" y="48695"/>
                  </a:lnTo>
                  <a:close/>
                  <a:moveTo>
                    <a:pt x="97391" y="0"/>
                  </a:moveTo>
                  <a:lnTo>
                    <a:pt x="97391" y="97391"/>
                  </a:lnTo>
                  <a:lnTo>
                    <a:pt x="1266092" y="97391"/>
                  </a:lnTo>
                  <a:lnTo>
                    <a:pt x="1266092" y="0"/>
                  </a:lnTo>
                  <a:lnTo>
                    <a:pt x="97391" y="0"/>
                  </a:lnTo>
                  <a:close/>
                  <a:moveTo>
                    <a:pt x="1363484" y="48695"/>
                  </a:moveTo>
                  <a:cubicBezTo>
                    <a:pt x="1363484" y="21801"/>
                    <a:pt x="1341682" y="0"/>
                    <a:pt x="1314788" y="0"/>
                  </a:cubicBezTo>
                  <a:lnTo>
                    <a:pt x="1266092" y="0"/>
                  </a:lnTo>
                  <a:lnTo>
                    <a:pt x="1266092" y="97391"/>
                  </a:lnTo>
                  <a:lnTo>
                    <a:pt x="1363484" y="97391"/>
                  </a:lnTo>
                  <a:lnTo>
                    <a:pt x="1363484" y="48695"/>
                  </a:lnTo>
                  <a:close/>
                  <a:moveTo>
                    <a:pt x="1363484" y="97391"/>
                  </a:moveTo>
                  <a:lnTo>
                    <a:pt x="0" y="97391"/>
                  </a:lnTo>
                  <a:lnTo>
                    <a:pt x="0" y="389566"/>
                  </a:lnTo>
                  <a:lnTo>
                    <a:pt x="1363484" y="389566"/>
                  </a:lnTo>
                  <a:lnTo>
                    <a:pt x="1363484" y="97391"/>
                  </a:lnTo>
                  <a:close/>
                  <a:moveTo>
                    <a:pt x="0" y="438262"/>
                  </a:moveTo>
                  <a:cubicBezTo>
                    <a:pt x="0" y="465156"/>
                    <a:pt x="21801" y="486958"/>
                    <a:pt x="48695" y="486958"/>
                  </a:cubicBezTo>
                  <a:lnTo>
                    <a:pt x="97391" y="486958"/>
                  </a:lnTo>
                  <a:lnTo>
                    <a:pt x="97391" y="389566"/>
                  </a:lnTo>
                  <a:lnTo>
                    <a:pt x="0" y="389566"/>
                  </a:lnTo>
                  <a:lnTo>
                    <a:pt x="0" y="438262"/>
                  </a:lnTo>
                  <a:close/>
                  <a:moveTo>
                    <a:pt x="1266092" y="486958"/>
                  </a:moveTo>
                  <a:lnTo>
                    <a:pt x="1266092" y="389566"/>
                  </a:lnTo>
                  <a:lnTo>
                    <a:pt x="97391" y="389566"/>
                  </a:lnTo>
                  <a:lnTo>
                    <a:pt x="97391" y="486958"/>
                  </a:lnTo>
                  <a:lnTo>
                    <a:pt x="1266092" y="486958"/>
                  </a:lnTo>
                  <a:close/>
                  <a:moveTo>
                    <a:pt x="1314788" y="486958"/>
                  </a:moveTo>
                  <a:cubicBezTo>
                    <a:pt x="1341682" y="486958"/>
                    <a:pt x="1363484" y="465156"/>
                    <a:pt x="1363484" y="438262"/>
                  </a:cubicBezTo>
                  <a:lnTo>
                    <a:pt x="1363484" y="389566"/>
                  </a:lnTo>
                  <a:lnTo>
                    <a:pt x="1266092" y="389566"/>
                  </a:lnTo>
                  <a:lnTo>
                    <a:pt x="1266092" y="486958"/>
                  </a:lnTo>
                  <a:lnTo>
                    <a:pt x="1314788" y="486958"/>
                  </a:lnTo>
                  <a:close/>
                </a:path>
              </a:pathLst>
            </a:custGeom>
            <a:solidFill>
              <a:srgbClr val="D176FB"/>
            </a:solidFill>
            <a:ln>
              <a:noFill/>
            </a:ln>
          </p:spPr>
          <p:txBody>
            <a:bodyPr rtlCol="0" anchor="ctr"/>
            <a:lstStyle/>
            <a:p>
              <a:pPr algn="ctr"/>
              <a:endParaRPr sz="1400"/>
            </a:p>
          </p:txBody>
        </p:sp>
        <p:sp>
          <p:nvSpPr>
            <p:cNvPr id="37" name="Rounded Rectangle 32">
              <a:extLst>
                <a:ext uri="{FF2B5EF4-FFF2-40B4-BE49-F238E27FC236}">
                  <a16:creationId xmlns:a16="http://schemas.microsoft.com/office/drawing/2014/main" id="{CCEB7C48-9238-CA4C-E50F-4EF85E37E189}"/>
                </a:ext>
              </a:extLst>
            </p:cNvPr>
            <p:cNvSpPr/>
            <p:nvPr/>
          </p:nvSpPr>
          <p:spPr>
            <a:xfrm>
              <a:off x="3568324" y="3213926"/>
              <a:ext cx="1363484" cy="486958"/>
            </a:xfrm>
            <a:custGeom>
              <a:avLst/>
              <a:gdLst/>
              <a:ahLst/>
              <a:cxnLst/>
              <a:rect l="0" t="0" r="0" b="0"/>
              <a:pathLst>
                <a:path w="1363484" h="486958">
                  <a:moveTo>
                    <a:pt x="0" y="97391"/>
                  </a:moveTo>
                  <a:lnTo>
                    <a:pt x="0" y="48695"/>
                  </a:lnTo>
                  <a:cubicBezTo>
                    <a:pt x="0" y="21801"/>
                    <a:pt x="21801" y="0"/>
                    <a:pt x="48695" y="0"/>
                  </a:cubicBezTo>
                  <a:lnTo>
                    <a:pt x="97391" y="0"/>
                  </a:lnTo>
                  <a:moveTo>
                    <a:pt x="1363484" y="97391"/>
                  </a:moveTo>
                  <a:lnTo>
                    <a:pt x="1363484" y="389566"/>
                  </a:lnTo>
                  <a:moveTo>
                    <a:pt x="0" y="389566"/>
                  </a:moveTo>
                  <a:lnTo>
                    <a:pt x="0" y="97391"/>
                  </a:lnTo>
                  <a:moveTo>
                    <a:pt x="97391" y="0"/>
                  </a:moveTo>
                  <a:lnTo>
                    <a:pt x="1266092" y="0"/>
                  </a:lnTo>
                  <a:moveTo>
                    <a:pt x="0" y="389566"/>
                  </a:moveTo>
                  <a:lnTo>
                    <a:pt x="0" y="438262"/>
                  </a:lnTo>
                  <a:cubicBezTo>
                    <a:pt x="0" y="465156"/>
                    <a:pt x="21801" y="486958"/>
                    <a:pt x="48695" y="486958"/>
                  </a:cubicBezTo>
                  <a:lnTo>
                    <a:pt x="97391" y="486958"/>
                  </a:lnTo>
                  <a:moveTo>
                    <a:pt x="1363484" y="97391"/>
                  </a:moveTo>
                  <a:lnTo>
                    <a:pt x="1363484" y="48695"/>
                  </a:lnTo>
                  <a:cubicBezTo>
                    <a:pt x="1363484" y="21801"/>
                    <a:pt x="1341682" y="0"/>
                    <a:pt x="1314788" y="0"/>
                  </a:cubicBezTo>
                  <a:lnTo>
                    <a:pt x="1266092" y="0"/>
                  </a:lnTo>
                  <a:moveTo>
                    <a:pt x="1266092" y="486958"/>
                  </a:moveTo>
                  <a:lnTo>
                    <a:pt x="97391" y="486958"/>
                  </a:lnTo>
                  <a:moveTo>
                    <a:pt x="1363484" y="389566"/>
                  </a:moveTo>
                  <a:lnTo>
                    <a:pt x="1363484" y="438262"/>
                  </a:lnTo>
                  <a:cubicBezTo>
                    <a:pt x="1363484" y="465156"/>
                    <a:pt x="1341682" y="486958"/>
                    <a:pt x="1314788" y="486958"/>
                  </a:cubicBezTo>
                  <a:lnTo>
                    <a:pt x="1266092" y="486958"/>
                  </a:lnTo>
                </a:path>
              </a:pathLst>
            </a:custGeom>
            <a:noFill/>
            <a:ln w="6086">
              <a:solidFill>
                <a:srgbClr val="F0DCF9"/>
              </a:solidFill>
            </a:ln>
          </p:spPr>
          <p:txBody>
            <a:bodyPr rtlCol="0" anchor="ctr"/>
            <a:lstStyle/>
            <a:p>
              <a:pPr algn="ctr"/>
              <a:endParaRPr sz="1400"/>
            </a:p>
          </p:txBody>
        </p:sp>
      </p:grpSp>
      <p:grpSp>
        <p:nvGrpSpPr>
          <p:cNvPr id="38" name="Group 37">
            <a:extLst>
              <a:ext uri="{FF2B5EF4-FFF2-40B4-BE49-F238E27FC236}">
                <a16:creationId xmlns:a16="http://schemas.microsoft.com/office/drawing/2014/main" id="{3436DF27-44E1-2746-FF38-85A53D8798BF}"/>
              </a:ext>
            </a:extLst>
          </p:cNvPr>
          <p:cNvGrpSpPr/>
          <p:nvPr/>
        </p:nvGrpSpPr>
        <p:grpSpPr>
          <a:xfrm>
            <a:off x="3852349" y="5545678"/>
            <a:ext cx="3515888" cy="723899"/>
            <a:chOff x="3568324" y="3798276"/>
            <a:chExt cx="1363484" cy="486958"/>
          </a:xfrm>
        </p:grpSpPr>
        <p:sp>
          <p:nvSpPr>
            <p:cNvPr id="39" name="Rounded Rectangle 34">
              <a:extLst>
                <a:ext uri="{FF2B5EF4-FFF2-40B4-BE49-F238E27FC236}">
                  <a16:creationId xmlns:a16="http://schemas.microsoft.com/office/drawing/2014/main" id="{4C67C143-0E54-8187-C3C7-36934D3A2519}"/>
                </a:ext>
              </a:extLst>
            </p:cNvPr>
            <p:cNvSpPr/>
            <p:nvPr/>
          </p:nvSpPr>
          <p:spPr>
            <a:xfrm>
              <a:off x="3568324" y="3798276"/>
              <a:ext cx="1363484" cy="486958"/>
            </a:xfrm>
            <a:custGeom>
              <a:avLst/>
              <a:gdLst/>
              <a:ahLst/>
              <a:cxnLst/>
              <a:rect l="0" t="0" r="0" b="0"/>
              <a:pathLst>
                <a:path w="1363484" h="486958">
                  <a:moveTo>
                    <a:pt x="0" y="48695"/>
                  </a:moveTo>
                  <a:cubicBezTo>
                    <a:pt x="0" y="21801"/>
                    <a:pt x="21801" y="0"/>
                    <a:pt x="48695" y="0"/>
                  </a:cubicBezTo>
                  <a:lnTo>
                    <a:pt x="97391" y="0"/>
                  </a:lnTo>
                  <a:lnTo>
                    <a:pt x="97391" y="97391"/>
                  </a:lnTo>
                  <a:lnTo>
                    <a:pt x="0" y="97391"/>
                  </a:lnTo>
                  <a:lnTo>
                    <a:pt x="0" y="48695"/>
                  </a:lnTo>
                  <a:close/>
                  <a:moveTo>
                    <a:pt x="97391" y="0"/>
                  </a:moveTo>
                  <a:lnTo>
                    <a:pt x="97391" y="97391"/>
                  </a:lnTo>
                  <a:lnTo>
                    <a:pt x="1266092" y="97391"/>
                  </a:lnTo>
                  <a:lnTo>
                    <a:pt x="1266092" y="0"/>
                  </a:lnTo>
                  <a:lnTo>
                    <a:pt x="97391" y="0"/>
                  </a:lnTo>
                  <a:close/>
                  <a:moveTo>
                    <a:pt x="1363484" y="48695"/>
                  </a:moveTo>
                  <a:cubicBezTo>
                    <a:pt x="1363484" y="21801"/>
                    <a:pt x="1341682" y="0"/>
                    <a:pt x="1314788" y="0"/>
                  </a:cubicBezTo>
                  <a:lnTo>
                    <a:pt x="1266092" y="0"/>
                  </a:lnTo>
                  <a:lnTo>
                    <a:pt x="1266092" y="97391"/>
                  </a:lnTo>
                  <a:lnTo>
                    <a:pt x="1363484" y="97391"/>
                  </a:lnTo>
                  <a:lnTo>
                    <a:pt x="1363484" y="48695"/>
                  </a:lnTo>
                  <a:close/>
                  <a:moveTo>
                    <a:pt x="1363484" y="97391"/>
                  </a:moveTo>
                  <a:lnTo>
                    <a:pt x="0" y="97391"/>
                  </a:lnTo>
                  <a:lnTo>
                    <a:pt x="0" y="389566"/>
                  </a:lnTo>
                  <a:lnTo>
                    <a:pt x="1363484" y="389566"/>
                  </a:lnTo>
                  <a:lnTo>
                    <a:pt x="1363484" y="97391"/>
                  </a:lnTo>
                  <a:close/>
                  <a:moveTo>
                    <a:pt x="0" y="438262"/>
                  </a:moveTo>
                  <a:cubicBezTo>
                    <a:pt x="0" y="465156"/>
                    <a:pt x="21801" y="486958"/>
                    <a:pt x="48695" y="486958"/>
                  </a:cubicBezTo>
                  <a:lnTo>
                    <a:pt x="97391" y="486958"/>
                  </a:lnTo>
                  <a:lnTo>
                    <a:pt x="97391" y="389566"/>
                  </a:lnTo>
                  <a:lnTo>
                    <a:pt x="0" y="389566"/>
                  </a:lnTo>
                  <a:lnTo>
                    <a:pt x="0" y="438262"/>
                  </a:lnTo>
                  <a:close/>
                  <a:moveTo>
                    <a:pt x="1266092" y="486958"/>
                  </a:moveTo>
                  <a:lnTo>
                    <a:pt x="1266092" y="389566"/>
                  </a:lnTo>
                  <a:lnTo>
                    <a:pt x="97391" y="389566"/>
                  </a:lnTo>
                  <a:lnTo>
                    <a:pt x="97391" y="486958"/>
                  </a:lnTo>
                  <a:lnTo>
                    <a:pt x="1266092" y="486958"/>
                  </a:lnTo>
                  <a:close/>
                  <a:moveTo>
                    <a:pt x="1314788" y="486958"/>
                  </a:moveTo>
                  <a:cubicBezTo>
                    <a:pt x="1341682" y="486958"/>
                    <a:pt x="1363484" y="465156"/>
                    <a:pt x="1363484" y="438262"/>
                  </a:cubicBezTo>
                  <a:lnTo>
                    <a:pt x="1363484" y="389566"/>
                  </a:lnTo>
                  <a:lnTo>
                    <a:pt x="1266092" y="389566"/>
                  </a:lnTo>
                  <a:lnTo>
                    <a:pt x="1266092" y="486958"/>
                  </a:lnTo>
                  <a:lnTo>
                    <a:pt x="1314788" y="486958"/>
                  </a:lnTo>
                  <a:close/>
                </a:path>
              </a:pathLst>
            </a:custGeom>
            <a:solidFill>
              <a:srgbClr val="E2A3FF"/>
            </a:solidFill>
            <a:ln>
              <a:noFill/>
            </a:ln>
          </p:spPr>
          <p:txBody>
            <a:bodyPr rtlCol="0" anchor="ctr"/>
            <a:lstStyle/>
            <a:p>
              <a:pPr algn="ctr"/>
              <a:endParaRPr sz="1400"/>
            </a:p>
          </p:txBody>
        </p:sp>
        <p:sp>
          <p:nvSpPr>
            <p:cNvPr id="40" name="Rounded Rectangle 35">
              <a:extLst>
                <a:ext uri="{FF2B5EF4-FFF2-40B4-BE49-F238E27FC236}">
                  <a16:creationId xmlns:a16="http://schemas.microsoft.com/office/drawing/2014/main" id="{A0C5B251-E9C1-503A-4808-E9C533EAE675}"/>
                </a:ext>
              </a:extLst>
            </p:cNvPr>
            <p:cNvSpPr/>
            <p:nvPr/>
          </p:nvSpPr>
          <p:spPr>
            <a:xfrm>
              <a:off x="3568324" y="3798276"/>
              <a:ext cx="1363484" cy="486958"/>
            </a:xfrm>
            <a:custGeom>
              <a:avLst/>
              <a:gdLst/>
              <a:ahLst/>
              <a:cxnLst/>
              <a:rect l="0" t="0" r="0" b="0"/>
              <a:pathLst>
                <a:path w="1363484" h="486958">
                  <a:moveTo>
                    <a:pt x="0" y="97391"/>
                  </a:moveTo>
                  <a:lnTo>
                    <a:pt x="0" y="48695"/>
                  </a:lnTo>
                  <a:cubicBezTo>
                    <a:pt x="0" y="21801"/>
                    <a:pt x="21801" y="0"/>
                    <a:pt x="48695" y="0"/>
                  </a:cubicBezTo>
                  <a:lnTo>
                    <a:pt x="97391" y="0"/>
                  </a:lnTo>
                  <a:moveTo>
                    <a:pt x="1363484" y="97391"/>
                  </a:moveTo>
                  <a:lnTo>
                    <a:pt x="1363484" y="389566"/>
                  </a:lnTo>
                  <a:moveTo>
                    <a:pt x="0" y="389566"/>
                  </a:moveTo>
                  <a:lnTo>
                    <a:pt x="0" y="97391"/>
                  </a:lnTo>
                  <a:moveTo>
                    <a:pt x="97391" y="0"/>
                  </a:moveTo>
                  <a:lnTo>
                    <a:pt x="1266092" y="0"/>
                  </a:lnTo>
                  <a:moveTo>
                    <a:pt x="0" y="389566"/>
                  </a:moveTo>
                  <a:lnTo>
                    <a:pt x="0" y="438262"/>
                  </a:lnTo>
                  <a:cubicBezTo>
                    <a:pt x="0" y="465156"/>
                    <a:pt x="21801" y="486958"/>
                    <a:pt x="48695" y="486958"/>
                  </a:cubicBezTo>
                  <a:lnTo>
                    <a:pt x="97391" y="486958"/>
                  </a:lnTo>
                  <a:moveTo>
                    <a:pt x="1363484" y="97391"/>
                  </a:moveTo>
                  <a:lnTo>
                    <a:pt x="1363484" y="48695"/>
                  </a:lnTo>
                  <a:cubicBezTo>
                    <a:pt x="1363484" y="21801"/>
                    <a:pt x="1341682" y="0"/>
                    <a:pt x="1314788" y="0"/>
                  </a:cubicBezTo>
                  <a:lnTo>
                    <a:pt x="1266092" y="0"/>
                  </a:lnTo>
                  <a:moveTo>
                    <a:pt x="1266092" y="486958"/>
                  </a:moveTo>
                  <a:lnTo>
                    <a:pt x="97391" y="486958"/>
                  </a:lnTo>
                  <a:moveTo>
                    <a:pt x="1363484" y="389566"/>
                  </a:moveTo>
                  <a:lnTo>
                    <a:pt x="1363484" y="438262"/>
                  </a:lnTo>
                  <a:cubicBezTo>
                    <a:pt x="1363484" y="465156"/>
                    <a:pt x="1341682" y="486958"/>
                    <a:pt x="1314788" y="486958"/>
                  </a:cubicBezTo>
                  <a:lnTo>
                    <a:pt x="1266092" y="486958"/>
                  </a:lnTo>
                </a:path>
              </a:pathLst>
            </a:custGeom>
            <a:noFill/>
            <a:ln w="6086">
              <a:solidFill>
                <a:srgbClr val="F0DCF9"/>
              </a:solidFill>
            </a:ln>
          </p:spPr>
          <p:txBody>
            <a:bodyPr rtlCol="0" anchor="ctr"/>
            <a:lstStyle/>
            <a:p>
              <a:pPr algn="ctr"/>
              <a:endParaRPr sz="1400"/>
            </a:p>
          </p:txBody>
        </p:sp>
      </p:grpSp>
      <p:grpSp>
        <p:nvGrpSpPr>
          <p:cNvPr id="41" name="Group 40">
            <a:extLst>
              <a:ext uri="{FF2B5EF4-FFF2-40B4-BE49-F238E27FC236}">
                <a16:creationId xmlns:a16="http://schemas.microsoft.com/office/drawing/2014/main" id="{223073F7-6119-43FE-348D-474CECDE6D3B}"/>
              </a:ext>
            </a:extLst>
          </p:cNvPr>
          <p:cNvGrpSpPr/>
          <p:nvPr/>
        </p:nvGrpSpPr>
        <p:grpSpPr>
          <a:xfrm>
            <a:off x="7536615" y="1057497"/>
            <a:ext cx="4064146" cy="579119"/>
            <a:chOff x="5029199" y="779133"/>
            <a:chExt cx="1363484" cy="389566"/>
          </a:xfrm>
          <a:solidFill>
            <a:srgbClr val="7030A0"/>
          </a:solidFill>
        </p:grpSpPr>
        <p:sp>
          <p:nvSpPr>
            <p:cNvPr id="42" name="Rounded Rectangle 37">
              <a:extLst>
                <a:ext uri="{FF2B5EF4-FFF2-40B4-BE49-F238E27FC236}">
                  <a16:creationId xmlns:a16="http://schemas.microsoft.com/office/drawing/2014/main" id="{B4DF1A74-229E-D6D4-5764-65006E3C4FC8}"/>
                </a:ext>
              </a:extLst>
            </p:cNvPr>
            <p:cNvSpPr/>
            <p:nvPr/>
          </p:nvSpPr>
          <p:spPr>
            <a:xfrm>
              <a:off x="5029199" y="779133"/>
              <a:ext cx="1363484" cy="389566"/>
            </a:xfrm>
            <a:custGeom>
              <a:avLst/>
              <a:gdLst/>
              <a:ahLst/>
              <a:cxnLst/>
              <a:rect l="0" t="0" r="0" b="0"/>
              <a:pathLst>
                <a:path w="1363484" h="389566">
                  <a:moveTo>
                    <a:pt x="0" y="48695"/>
                  </a:moveTo>
                  <a:cubicBezTo>
                    <a:pt x="0" y="21801"/>
                    <a:pt x="21801" y="0"/>
                    <a:pt x="48695" y="0"/>
                  </a:cubicBezTo>
                  <a:lnTo>
                    <a:pt x="97391" y="0"/>
                  </a:lnTo>
                  <a:lnTo>
                    <a:pt x="97391" y="97391"/>
                  </a:lnTo>
                  <a:lnTo>
                    <a:pt x="0" y="97391"/>
                  </a:lnTo>
                  <a:lnTo>
                    <a:pt x="0" y="48695"/>
                  </a:lnTo>
                  <a:close/>
                  <a:moveTo>
                    <a:pt x="97391" y="0"/>
                  </a:moveTo>
                  <a:lnTo>
                    <a:pt x="97391" y="97391"/>
                  </a:lnTo>
                  <a:lnTo>
                    <a:pt x="1266092" y="97391"/>
                  </a:lnTo>
                  <a:lnTo>
                    <a:pt x="1266092" y="0"/>
                  </a:lnTo>
                  <a:lnTo>
                    <a:pt x="97391" y="0"/>
                  </a:lnTo>
                  <a:close/>
                  <a:moveTo>
                    <a:pt x="1363484" y="48695"/>
                  </a:moveTo>
                  <a:cubicBezTo>
                    <a:pt x="1363484" y="21801"/>
                    <a:pt x="1341682" y="0"/>
                    <a:pt x="1314788" y="0"/>
                  </a:cubicBezTo>
                  <a:lnTo>
                    <a:pt x="1266092" y="0"/>
                  </a:lnTo>
                  <a:lnTo>
                    <a:pt x="1266092" y="97391"/>
                  </a:lnTo>
                  <a:lnTo>
                    <a:pt x="1363484" y="97391"/>
                  </a:lnTo>
                  <a:lnTo>
                    <a:pt x="1363484" y="48695"/>
                  </a:lnTo>
                  <a:close/>
                  <a:moveTo>
                    <a:pt x="1363484" y="97391"/>
                  </a:moveTo>
                  <a:lnTo>
                    <a:pt x="0" y="97391"/>
                  </a:lnTo>
                  <a:lnTo>
                    <a:pt x="0" y="292175"/>
                  </a:lnTo>
                  <a:lnTo>
                    <a:pt x="1363484" y="292175"/>
                  </a:lnTo>
                  <a:lnTo>
                    <a:pt x="1363484" y="97391"/>
                  </a:lnTo>
                  <a:close/>
                  <a:moveTo>
                    <a:pt x="0" y="340871"/>
                  </a:moveTo>
                  <a:cubicBezTo>
                    <a:pt x="0" y="367764"/>
                    <a:pt x="21801" y="389566"/>
                    <a:pt x="48695" y="389566"/>
                  </a:cubicBezTo>
                  <a:lnTo>
                    <a:pt x="97391" y="389566"/>
                  </a:lnTo>
                  <a:lnTo>
                    <a:pt x="97391" y="292175"/>
                  </a:lnTo>
                  <a:lnTo>
                    <a:pt x="0" y="292175"/>
                  </a:lnTo>
                  <a:lnTo>
                    <a:pt x="0" y="340871"/>
                  </a:lnTo>
                  <a:close/>
                  <a:moveTo>
                    <a:pt x="1266092" y="389566"/>
                  </a:moveTo>
                  <a:lnTo>
                    <a:pt x="1266092" y="292175"/>
                  </a:lnTo>
                  <a:lnTo>
                    <a:pt x="97391" y="292175"/>
                  </a:lnTo>
                  <a:lnTo>
                    <a:pt x="97391" y="389566"/>
                  </a:lnTo>
                  <a:lnTo>
                    <a:pt x="1266092" y="389566"/>
                  </a:lnTo>
                  <a:close/>
                  <a:moveTo>
                    <a:pt x="1314788" y="389566"/>
                  </a:moveTo>
                  <a:cubicBezTo>
                    <a:pt x="1341682" y="389566"/>
                    <a:pt x="1363484" y="367764"/>
                    <a:pt x="1363484" y="340871"/>
                  </a:cubicBezTo>
                  <a:lnTo>
                    <a:pt x="1363484" y="292175"/>
                  </a:lnTo>
                  <a:lnTo>
                    <a:pt x="1266092" y="292175"/>
                  </a:lnTo>
                  <a:lnTo>
                    <a:pt x="1266092" y="389566"/>
                  </a:lnTo>
                  <a:lnTo>
                    <a:pt x="1314788" y="389566"/>
                  </a:lnTo>
                  <a:close/>
                </a:path>
              </a:pathLst>
            </a:custGeom>
            <a:grpFill/>
            <a:ln>
              <a:noFill/>
            </a:ln>
          </p:spPr>
          <p:txBody>
            <a:bodyPr rtlCol="0" anchor="ctr"/>
            <a:lstStyle/>
            <a:p>
              <a:pPr algn="ctr"/>
              <a:endParaRPr/>
            </a:p>
          </p:txBody>
        </p:sp>
        <p:sp>
          <p:nvSpPr>
            <p:cNvPr id="43" name="Rounded Rectangle 38">
              <a:extLst>
                <a:ext uri="{FF2B5EF4-FFF2-40B4-BE49-F238E27FC236}">
                  <a16:creationId xmlns:a16="http://schemas.microsoft.com/office/drawing/2014/main" id="{50EEB8C6-B68B-7FB6-77D5-6B75519E88FD}"/>
                </a:ext>
              </a:extLst>
            </p:cNvPr>
            <p:cNvSpPr/>
            <p:nvPr/>
          </p:nvSpPr>
          <p:spPr>
            <a:xfrm>
              <a:off x="5029199" y="779133"/>
              <a:ext cx="1363484" cy="389566"/>
            </a:xfrm>
            <a:custGeom>
              <a:avLst/>
              <a:gdLst/>
              <a:ahLst/>
              <a:cxnLst/>
              <a:rect l="0" t="0" r="0" b="0"/>
              <a:pathLst>
                <a:path w="1363484" h="389566">
                  <a:moveTo>
                    <a:pt x="0" y="97391"/>
                  </a:moveTo>
                  <a:lnTo>
                    <a:pt x="0" y="48695"/>
                  </a:lnTo>
                  <a:cubicBezTo>
                    <a:pt x="0" y="21801"/>
                    <a:pt x="21801" y="0"/>
                    <a:pt x="48695" y="0"/>
                  </a:cubicBezTo>
                  <a:lnTo>
                    <a:pt x="97391" y="0"/>
                  </a:lnTo>
                  <a:moveTo>
                    <a:pt x="1363484" y="97391"/>
                  </a:moveTo>
                  <a:lnTo>
                    <a:pt x="1363484" y="292175"/>
                  </a:lnTo>
                  <a:moveTo>
                    <a:pt x="0" y="292175"/>
                  </a:moveTo>
                  <a:lnTo>
                    <a:pt x="0" y="97391"/>
                  </a:lnTo>
                  <a:moveTo>
                    <a:pt x="97391" y="0"/>
                  </a:moveTo>
                  <a:lnTo>
                    <a:pt x="1266092" y="0"/>
                  </a:lnTo>
                  <a:moveTo>
                    <a:pt x="0" y="292175"/>
                  </a:moveTo>
                  <a:lnTo>
                    <a:pt x="0" y="340871"/>
                  </a:lnTo>
                  <a:cubicBezTo>
                    <a:pt x="0" y="367764"/>
                    <a:pt x="21801" y="389566"/>
                    <a:pt x="48695" y="389566"/>
                  </a:cubicBezTo>
                  <a:lnTo>
                    <a:pt x="97391" y="389566"/>
                  </a:lnTo>
                  <a:moveTo>
                    <a:pt x="1363484" y="97391"/>
                  </a:moveTo>
                  <a:lnTo>
                    <a:pt x="1363484" y="48695"/>
                  </a:lnTo>
                  <a:cubicBezTo>
                    <a:pt x="1363484" y="21801"/>
                    <a:pt x="1341682" y="0"/>
                    <a:pt x="1314788" y="0"/>
                  </a:cubicBezTo>
                  <a:lnTo>
                    <a:pt x="1266092" y="0"/>
                  </a:lnTo>
                  <a:moveTo>
                    <a:pt x="1266092" y="389566"/>
                  </a:moveTo>
                  <a:lnTo>
                    <a:pt x="97391" y="389566"/>
                  </a:lnTo>
                  <a:moveTo>
                    <a:pt x="1363484" y="292175"/>
                  </a:moveTo>
                  <a:lnTo>
                    <a:pt x="1363484" y="340871"/>
                  </a:lnTo>
                  <a:cubicBezTo>
                    <a:pt x="1363484" y="367764"/>
                    <a:pt x="1341682" y="389566"/>
                    <a:pt x="1314788" y="389566"/>
                  </a:cubicBezTo>
                  <a:lnTo>
                    <a:pt x="1266092" y="389566"/>
                  </a:lnTo>
                </a:path>
              </a:pathLst>
            </a:custGeom>
            <a:grpFill/>
            <a:ln w="6086">
              <a:solidFill>
                <a:srgbClr val="C769F2"/>
              </a:solidFill>
            </a:ln>
          </p:spPr>
          <p:txBody>
            <a:bodyPr rtlCol="0" anchor="ctr"/>
            <a:lstStyle/>
            <a:p>
              <a:pPr algn="ctr"/>
              <a:endParaRPr/>
            </a:p>
          </p:txBody>
        </p:sp>
      </p:grpSp>
      <p:grpSp>
        <p:nvGrpSpPr>
          <p:cNvPr id="44" name="Group 43">
            <a:extLst>
              <a:ext uri="{FF2B5EF4-FFF2-40B4-BE49-F238E27FC236}">
                <a16:creationId xmlns:a16="http://schemas.microsoft.com/office/drawing/2014/main" id="{F95A6900-8966-CB38-BB0D-CBEDECB7E0D8}"/>
              </a:ext>
            </a:extLst>
          </p:cNvPr>
          <p:cNvGrpSpPr/>
          <p:nvPr/>
        </p:nvGrpSpPr>
        <p:grpSpPr>
          <a:xfrm>
            <a:off x="7536615" y="1781398"/>
            <a:ext cx="4064146" cy="1013460"/>
            <a:chOff x="5029199" y="1266092"/>
            <a:chExt cx="1363484" cy="681742"/>
          </a:xfrm>
        </p:grpSpPr>
        <p:sp>
          <p:nvSpPr>
            <p:cNvPr id="45" name="Rounded Rectangle 40">
              <a:extLst>
                <a:ext uri="{FF2B5EF4-FFF2-40B4-BE49-F238E27FC236}">
                  <a16:creationId xmlns:a16="http://schemas.microsoft.com/office/drawing/2014/main" id="{42DB0F02-D9E8-A9A7-806C-D443F7F1A6D5}"/>
                </a:ext>
              </a:extLst>
            </p:cNvPr>
            <p:cNvSpPr/>
            <p:nvPr/>
          </p:nvSpPr>
          <p:spPr>
            <a:xfrm>
              <a:off x="5029199" y="1266092"/>
              <a:ext cx="1363484" cy="681742"/>
            </a:xfrm>
            <a:custGeom>
              <a:avLst/>
              <a:gdLst/>
              <a:ahLst/>
              <a:cxnLst/>
              <a:rect l="0" t="0" r="0" b="0"/>
              <a:pathLst>
                <a:path w="1363484" h="681742">
                  <a:moveTo>
                    <a:pt x="0" y="48695"/>
                  </a:moveTo>
                  <a:cubicBezTo>
                    <a:pt x="0" y="21801"/>
                    <a:pt x="21801" y="0"/>
                    <a:pt x="48695" y="0"/>
                  </a:cubicBezTo>
                  <a:lnTo>
                    <a:pt x="97391" y="0"/>
                  </a:lnTo>
                  <a:lnTo>
                    <a:pt x="97391" y="97391"/>
                  </a:lnTo>
                  <a:lnTo>
                    <a:pt x="0" y="97391"/>
                  </a:lnTo>
                  <a:lnTo>
                    <a:pt x="0" y="48695"/>
                  </a:lnTo>
                  <a:close/>
                  <a:moveTo>
                    <a:pt x="97391" y="0"/>
                  </a:moveTo>
                  <a:lnTo>
                    <a:pt x="97391" y="97391"/>
                  </a:lnTo>
                  <a:lnTo>
                    <a:pt x="1266092" y="97391"/>
                  </a:lnTo>
                  <a:lnTo>
                    <a:pt x="1266092" y="0"/>
                  </a:lnTo>
                  <a:lnTo>
                    <a:pt x="97391" y="0"/>
                  </a:lnTo>
                  <a:close/>
                  <a:moveTo>
                    <a:pt x="1363484" y="48695"/>
                  </a:moveTo>
                  <a:cubicBezTo>
                    <a:pt x="1363484" y="21801"/>
                    <a:pt x="1341682" y="0"/>
                    <a:pt x="1314788" y="0"/>
                  </a:cubicBezTo>
                  <a:lnTo>
                    <a:pt x="1266092" y="0"/>
                  </a:lnTo>
                  <a:lnTo>
                    <a:pt x="1266092" y="97391"/>
                  </a:lnTo>
                  <a:lnTo>
                    <a:pt x="1363484" y="97391"/>
                  </a:lnTo>
                  <a:lnTo>
                    <a:pt x="1363484" y="48695"/>
                  </a:lnTo>
                  <a:close/>
                  <a:moveTo>
                    <a:pt x="1363484" y="97391"/>
                  </a:moveTo>
                  <a:lnTo>
                    <a:pt x="0" y="97391"/>
                  </a:lnTo>
                  <a:lnTo>
                    <a:pt x="0" y="584350"/>
                  </a:lnTo>
                  <a:lnTo>
                    <a:pt x="1363484" y="584350"/>
                  </a:lnTo>
                  <a:lnTo>
                    <a:pt x="1363484" y="97391"/>
                  </a:lnTo>
                  <a:close/>
                  <a:moveTo>
                    <a:pt x="0" y="633046"/>
                  </a:moveTo>
                  <a:cubicBezTo>
                    <a:pt x="0" y="659940"/>
                    <a:pt x="21801" y="681742"/>
                    <a:pt x="48695" y="681742"/>
                  </a:cubicBezTo>
                  <a:lnTo>
                    <a:pt x="97391" y="681742"/>
                  </a:lnTo>
                  <a:lnTo>
                    <a:pt x="97391" y="584350"/>
                  </a:lnTo>
                  <a:lnTo>
                    <a:pt x="0" y="584350"/>
                  </a:lnTo>
                  <a:lnTo>
                    <a:pt x="0" y="633046"/>
                  </a:lnTo>
                  <a:close/>
                  <a:moveTo>
                    <a:pt x="1266092" y="681742"/>
                  </a:moveTo>
                  <a:lnTo>
                    <a:pt x="1266092" y="584350"/>
                  </a:lnTo>
                  <a:lnTo>
                    <a:pt x="97391" y="584350"/>
                  </a:lnTo>
                  <a:lnTo>
                    <a:pt x="97391" y="681742"/>
                  </a:lnTo>
                  <a:lnTo>
                    <a:pt x="1266092" y="681742"/>
                  </a:lnTo>
                  <a:close/>
                  <a:moveTo>
                    <a:pt x="1314788" y="681742"/>
                  </a:moveTo>
                  <a:cubicBezTo>
                    <a:pt x="1341682" y="681742"/>
                    <a:pt x="1363484" y="659940"/>
                    <a:pt x="1363484" y="633046"/>
                  </a:cubicBezTo>
                  <a:lnTo>
                    <a:pt x="1363484" y="584350"/>
                  </a:lnTo>
                  <a:lnTo>
                    <a:pt x="1266092" y="584350"/>
                  </a:lnTo>
                  <a:lnTo>
                    <a:pt x="1266092" y="681742"/>
                  </a:lnTo>
                  <a:lnTo>
                    <a:pt x="1314788" y="681742"/>
                  </a:lnTo>
                  <a:close/>
                </a:path>
              </a:pathLst>
            </a:custGeom>
            <a:solidFill>
              <a:srgbClr val="9C51BE"/>
            </a:solidFill>
            <a:ln>
              <a:noFill/>
            </a:ln>
          </p:spPr>
          <p:txBody>
            <a:bodyPr rtlCol="0" anchor="ctr"/>
            <a:lstStyle/>
            <a:p>
              <a:pPr algn="ctr"/>
              <a:endParaRPr sz="3200"/>
            </a:p>
          </p:txBody>
        </p:sp>
        <p:sp>
          <p:nvSpPr>
            <p:cNvPr id="46" name="Rounded Rectangle 41">
              <a:extLst>
                <a:ext uri="{FF2B5EF4-FFF2-40B4-BE49-F238E27FC236}">
                  <a16:creationId xmlns:a16="http://schemas.microsoft.com/office/drawing/2014/main" id="{9B3A1F2B-F9F6-315F-B5DB-5726B47F0DC6}"/>
                </a:ext>
              </a:extLst>
            </p:cNvPr>
            <p:cNvSpPr/>
            <p:nvPr/>
          </p:nvSpPr>
          <p:spPr>
            <a:xfrm>
              <a:off x="5029199" y="1266092"/>
              <a:ext cx="1363484" cy="681742"/>
            </a:xfrm>
            <a:custGeom>
              <a:avLst/>
              <a:gdLst/>
              <a:ahLst/>
              <a:cxnLst/>
              <a:rect l="0" t="0" r="0" b="0"/>
              <a:pathLst>
                <a:path w="1363484" h="681742">
                  <a:moveTo>
                    <a:pt x="0" y="97391"/>
                  </a:moveTo>
                  <a:lnTo>
                    <a:pt x="0" y="48695"/>
                  </a:lnTo>
                  <a:cubicBezTo>
                    <a:pt x="0" y="21801"/>
                    <a:pt x="21801" y="0"/>
                    <a:pt x="48695" y="0"/>
                  </a:cubicBezTo>
                  <a:lnTo>
                    <a:pt x="97391" y="0"/>
                  </a:lnTo>
                  <a:moveTo>
                    <a:pt x="1363484" y="97391"/>
                  </a:moveTo>
                  <a:lnTo>
                    <a:pt x="1363484" y="584350"/>
                  </a:lnTo>
                  <a:moveTo>
                    <a:pt x="0" y="584350"/>
                  </a:moveTo>
                  <a:lnTo>
                    <a:pt x="0" y="97391"/>
                  </a:lnTo>
                  <a:moveTo>
                    <a:pt x="97391" y="0"/>
                  </a:moveTo>
                  <a:lnTo>
                    <a:pt x="1266092" y="0"/>
                  </a:lnTo>
                  <a:moveTo>
                    <a:pt x="0" y="584350"/>
                  </a:moveTo>
                  <a:lnTo>
                    <a:pt x="0" y="633046"/>
                  </a:lnTo>
                  <a:cubicBezTo>
                    <a:pt x="0" y="659940"/>
                    <a:pt x="21801" y="681742"/>
                    <a:pt x="48695" y="681742"/>
                  </a:cubicBezTo>
                  <a:lnTo>
                    <a:pt x="97391" y="681742"/>
                  </a:lnTo>
                  <a:moveTo>
                    <a:pt x="1363484" y="97391"/>
                  </a:moveTo>
                  <a:lnTo>
                    <a:pt x="1363484" y="48695"/>
                  </a:lnTo>
                  <a:cubicBezTo>
                    <a:pt x="1363484" y="21801"/>
                    <a:pt x="1341682" y="0"/>
                    <a:pt x="1314788" y="0"/>
                  </a:cubicBezTo>
                  <a:lnTo>
                    <a:pt x="1266092" y="0"/>
                  </a:lnTo>
                  <a:moveTo>
                    <a:pt x="1266092" y="681742"/>
                  </a:moveTo>
                  <a:lnTo>
                    <a:pt x="97391" y="681742"/>
                  </a:lnTo>
                  <a:moveTo>
                    <a:pt x="1363484" y="584350"/>
                  </a:moveTo>
                  <a:lnTo>
                    <a:pt x="1363484" y="633046"/>
                  </a:lnTo>
                  <a:cubicBezTo>
                    <a:pt x="1363484" y="659940"/>
                    <a:pt x="1341682" y="681742"/>
                    <a:pt x="1314788" y="681742"/>
                  </a:cubicBezTo>
                  <a:lnTo>
                    <a:pt x="1266092" y="681742"/>
                  </a:lnTo>
                </a:path>
              </a:pathLst>
            </a:custGeom>
            <a:noFill/>
            <a:ln w="6086">
              <a:solidFill>
                <a:srgbClr val="F0DCF9"/>
              </a:solidFill>
            </a:ln>
          </p:spPr>
          <p:txBody>
            <a:bodyPr rtlCol="0" anchor="ctr"/>
            <a:lstStyle/>
            <a:p>
              <a:pPr algn="ctr"/>
              <a:endParaRPr sz="3200"/>
            </a:p>
          </p:txBody>
        </p:sp>
      </p:grpSp>
      <p:grpSp>
        <p:nvGrpSpPr>
          <p:cNvPr id="47" name="Group 46">
            <a:extLst>
              <a:ext uri="{FF2B5EF4-FFF2-40B4-BE49-F238E27FC236}">
                <a16:creationId xmlns:a16="http://schemas.microsoft.com/office/drawing/2014/main" id="{C3F06B02-A4BE-DEC9-D170-97F93BFE2E86}"/>
              </a:ext>
            </a:extLst>
          </p:cNvPr>
          <p:cNvGrpSpPr/>
          <p:nvPr/>
        </p:nvGrpSpPr>
        <p:grpSpPr>
          <a:xfrm>
            <a:off x="7536615" y="2939638"/>
            <a:ext cx="4064146" cy="723899"/>
            <a:chOff x="5029199" y="2045226"/>
            <a:chExt cx="1363484" cy="486958"/>
          </a:xfrm>
        </p:grpSpPr>
        <p:sp>
          <p:nvSpPr>
            <p:cNvPr id="48" name="Rounded Rectangle 43">
              <a:extLst>
                <a:ext uri="{FF2B5EF4-FFF2-40B4-BE49-F238E27FC236}">
                  <a16:creationId xmlns:a16="http://schemas.microsoft.com/office/drawing/2014/main" id="{1CE97E2E-AA05-1D03-B853-B0C924535903}"/>
                </a:ext>
              </a:extLst>
            </p:cNvPr>
            <p:cNvSpPr/>
            <p:nvPr/>
          </p:nvSpPr>
          <p:spPr>
            <a:xfrm>
              <a:off x="5029199" y="2045226"/>
              <a:ext cx="1363484" cy="486958"/>
            </a:xfrm>
            <a:custGeom>
              <a:avLst/>
              <a:gdLst/>
              <a:ahLst/>
              <a:cxnLst/>
              <a:rect l="0" t="0" r="0" b="0"/>
              <a:pathLst>
                <a:path w="1363484" h="486958">
                  <a:moveTo>
                    <a:pt x="0" y="48695"/>
                  </a:moveTo>
                  <a:cubicBezTo>
                    <a:pt x="0" y="21801"/>
                    <a:pt x="21801" y="0"/>
                    <a:pt x="48695" y="0"/>
                  </a:cubicBezTo>
                  <a:lnTo>
                    <a:pt x="97391" y="0"/>
                  </a:lnTo>
                  <a:lnTo>
                    <a:pt x="97391" y="97391"/>
                  </a:lnTo>
                  <a:lnTo>
                    <a:pt x="0" y="97391"/>
                  </a:lnTo>
                  <a:lnTo>
                    <a:pt x="0" y="48695"/>
                  </a:lnTo>
                  <a:close/>
                  <a:moveTo>
                    <a:pt x="97391" y="0"/>
                  </a:moveTo>
                  <a:lnTo>
                    <a:pt x="97391" y="97391"/>
                  </a:lnTo>
                  <a:lnTo>
                    <a:pt x="1266092" y="97391"/>
                  </a:lnTo>
                  <a:lnTo>
                    <a:pt x="1266092" y="0"/>
                  </a:lnTo>
                  <a:lnTo>
                    <a:pt x="97391" y="0"/>
                  </a:lnTo>
                  <a:close/>
                  <a:moveTo>
                    <a:pt x="1363484" y="48695"/>
                  </a:moveTo>
                  <a:cubicBezTo>
                    <a:pt x="1363484" y="21801"/>
                    <a:pt x="1341682" y="0"/>
                    <a:pt x="1314788" y="0"/>
                  </a:cubicBezTo>
                  <a:lnTo>
                    <a:pt x="1266092" y="0"/>
                  </a:lnTo>
                  <a:lnTo>
                    <a:pt x="1266092" y="97391"/>
                  </a:lnTo>
                  <a:lnTo>
                    <a:pt x="1363484" y="97391"/>
                  </a:lnTo>
                  <a:lnTo>
                    <a:pt x="1363484" y="48695"/>
                  </a:lnTo>
                  <a:close/>
                  <a:moveTo>
                    <a:pt x="1363484" y="97391"/>
                  </a:moveTo>
                  <a:lnTo>
                    <a:pt x="0" y="97391"/>
                  </a:lnTo>
                  <a:lnTo>
                    <a:pt x="0" y="389566"/>
                  </a:lnTo>
                  <a:lnTo>
                    <a:pt x="1363484" y="389566"/>
                  </a:lnTo>
                  <a:lnTo>
                    <a:pt x="1363484" y="97391"/>
                  </a:lnTo>
                  <a:close/>
                  <a:moveTo>
                    <a:pt x="0" y="438262"/>
                  </a:moveTo>
                  <a:cubicBezTo>
                    <a:pt x="0" y="465156"/>
                    <a:pt x="21801" y="486958"/>
                    <a:pt x="48695" y="486958"/>
                  </a:cubicBezTo>
                  <a:lnTo>
                    <a:pt x="97391" y="486958"/>
                  </a:lnTo>
                  <a:lnTo>
                    <a:pt x="97391" y="389566"/>
                  </a:lnTo>
                  <a:lnTo>
                    <a:pt x="0" y="389566"/>
                  </a:lnTo>
                  <a:lnTo>
                    <a:pt x="0" y="438262"/>
                  </a:lnTo>
                  <a:close/>
                  <a:moveTo>
                    <a:pt x="1266092" y="486958"/>
                  </a:moveTo>
                  <a:lnTo>
                    <a:pt x="1266092" y="389566"/>
                  </a:lnTo>
                  <a:lnTo>
                    <a:pt x="97391" y="389566"/>
                  </a:lnTo>
                  <a:lnTo>
                    <a:pt x="97391" y="486958"/>
                  </a:lnTo>
                  <a:lnTo>
                    <a:pt x="1266092" y="486958"/>
                  </a:lnTo>
                  <a:close/>
                  <a:moveTo>
                    <a:pt x="1314788" y="486958"/>
                  </a:moveTo>
                  <a:cubicBezTo>
                    <a:pt x="1341682" y="486958"/>
                    <a:pt x="1363484" y="465156"/>
                    <a:pt x="1363484" y="438262"/>
                  </a:cubicBezTo>
                  <a:lnTo>
                    <a:pt x="1363484" y="389566"/>
                  </a:lnTo>
                  <a:lnTo>
                    <a:pt x="1266092" y="389566"/>
                  </a:lnTo>
                  <a:lnTo>
                    <a:pt x="1266092" y="486958"/>
                  </a:lnTo>
                  <a:lnTo>
                    <a:pt x="1314788" y="486958"/>
                  </a:lnTo>
                  <a:close/>
                </a:path>
              </a:pathLst>
            </a:custGeom>
            <a:solidFill>
              <a:srgbClr val="B15CD7"/>
            </a:solidFill>
            <a:ln>
              <a:noFill/>
            </a:ln>
          </p:spPr>
          <p:txBody>
            <a:bodyPr rtlCol="0" anchor="ctr"/>
            <a:lstStyle/>
            <a:p>
              <a:pPr algn="ctr"/>
              <a:endParaRPr sz="3200"/>
            </a:p>
          </p:txBody>
        </p:sp>
        <p:sp>
          <p:nvSpPr>
            <p:cNvPr id="49" name="Rounded Rectangle 44">
              <a:extLst>
                <a:ext uri="{FF2B5EF4-FFF2-40B4-BE49-F238E27FC236}">
                  <a16:creationId xmlns:a16="http://schemas.microsoft.com/office/drawing/2014/main" id="{B9F1091F-BCA0-D481-95F4-EF6DA98C2BA2}"/>
                </a:ext>
              </a:extLst>
            </p:cNvPr>
            <p:cNvSpPr/>
            <p:nvPr/>
          </p:nvSpPr>
          <p:spPr>
            <a:xfrm>
              <a:off x="5029199" y="2045226"/>
              <a:ext cx="1363484" cy="486958"/>
            </a:xfrm>
            <a:custGeom>
              <a:avLst/>
              <a:gdLst/>
              <a:ahLst/>
              <a:cxnLst/>
              <a:rect l="0" t="0" r="0" b="0"/>
              <a:pathLst>
                <a:path w="1363484" h="486958">
                  <a:moveTo>
                    <a:pt x="0" y="97391"/>
                  </a:moveTo>
                  <a:lnTo>
                    <a:pt x="0" y="48695"/>
                  </a:lnTo>
                  <a:cubicBezTo>
                    <a:pt x="0" y="21801"/>
                    <a:pt x="21801" y="0"/>
                    <a:pt x="48695" y="0"/>
                  </a:cubicBezTo>
                  <a:lnTo>
                    <a:pt x="97391" y="0"/>
                  </a:lnTo>
                  <a:moveTo>
                    <a:pt x="1363484" y="97391"/>
                  </a:moveTo>
                  <a:lnTo>
                    <a:pt x="1363484" y="389566"/>
                  </a:lnTo>
                  <a:moveTo>
                    <a:pt x="0" y="389566"/>
                  </a:moveTo>
                  <a:lnTo>
                    <a:pt x="0" y="97391"/>
                  </a:lnTo>
                  <a:moveTo>
                    <a:pt x="97391" y="0"/>
                  </a:moveTo>
                  <a:lnTo>
                    <a:pt x="1266092" y="0"/>
                  </a:lnTo>
                  <a:moveTo>
                    <a:pt x="0" y="389566"/>
                  </a:moveTo>
                  <a:lnTo>
                    <a:pt x="0" y="438262"/>
                  </a:lnTo>
                  <a:cubicBezTo>
                    <a:pt x="0" y="465156"/>
                    <a:pt x="21801" y="486958"/>
                    <a:pt x="48695" y="486958"/>
                  </a:cubicBezTo>
                  <a:lnTo>
                    <a:pt x="97391" y="486958"/>
                  </a:lnTo>
                  <a:moveTo>
                    <a:pt x="1363484" y="97391"/>
                  </a:moveTo>
                  <a:lnTo>
                    <a:pt x="1363484" y="48695"/>
                  </a:lnTo>
                  <a:cubicBezTo>
                    <a:pt x="1363484" y="21801"/>
                    <a:pt x="1341682" y="0"/>
                    <a:pt x="1314788" y="0"/>
                  </a:cubicBezTo>
                  <a:lnTo>
                    <a:pt x="1266092" y="0"/>
                  </a:lnTo>
                  <a:moveTo>
                    <a:pt x="1266092" y="486958"/>
                  </a:moveTo>
                  <a:lnTo>
                    <a:pt x="97391" y="486958"/>
                  </a:lnTo>
                  <a:moveTo>
                    <a:pt x="1363484" y="389566"/>
                  </a:moveTo>
                  <a:lnTo>
                    <a:pt x="1363484" y="438262"/>
                  </a:lnTo>
                  <a:cubicBezTo>
                    <a:pt x="1363484" y="465156"/>
                    <a:pt x="1341682" y="486958"/>
                    <a:pt x="1314788" y="486958"/>
                  </a:cubicBezTo>
                  <a:lnTo>
                    <a:pt x="1266092" y="486958"/>
                  </a:lnTo>
                </a:path>
              </a:pathLst>
            </a:custGeom>
            <a:noFill/>
            <a:ln w="6086">
              <a:solidFill>
                <a:srgbClr val="F0DCF9"/>
              </a:solidFill>
            </a:ln>
          </p:spPr>
          <p:txBody>
            <a:bodyPr rtlCol="0" anchor="ctr"/>
            <a:lstStyle/>
            <a:p>
              <a:pPr algn="ctr"/>
              <a:endParaRPr sz="3200"/>
            </a:p>
          </p:txBody>
        </p:sp>
      </p:grpSp>
      <p:grpSp>
        <p:nvGrpSpPr>
          <p:cNvPr id="50" name="Group 49">
            <a:extLst>
              <a:ext uri="{FF2B5EF4-FFF2-40B4-BE49-F238E27FC236}">
                <a16:creationId xmlns:a16="http://schemas.microsoft.com/office/drawing/2014/main" id="{E8400D2C-2A00-F583-D976-FDFD1BD6A0F4}"/>
              </a:ext>
            </a:extLst>
          </p:cNvPr>
          <p:cNvGrpSpPr/>
          <p:nvPr/>
        </p:nvGrpSpPr>
        <p:grpSpPr>
          <a:xfrm>
            <a:off x="7536615" y="3808318"/>
            <a:ext cx="4064146" cy="723899"/>
            <a:chOff x="5029199" y="2629576"/>
            <a:chExt cx="1363484" cy="486958"/>
          </a:xfrm>
        </p:grpSpPr>
        <p:sp>
          <p:nvSpPr>
            <p:cNvPr id="51" name="Rounded Rectangle 46">
              <a:extLst>
                <a:ext uri="{FF2B5EF4-FFF2-40B4-BE49-F238E27FC236}">
                  <a16:creationId xmlns:a16="http://schemas.microsoft.com/office/drawing/2014/main" id="{D9FA2714-60FD-03DA-805A-B3A2F3AC3D03}"/>
                </a:ext>
              </a:extLst>
            </p:cNvPr>
            <p:cNvSpPr/>
            <p:nvPr/>
          </p:nvSpPr>
          <p:spPr>
            <a:xfrm>
              <a:off x="5029199" y="2629576"/>
              <a:ext cx="1363484" cy="486958"/>
            </a:xfrm>
            <a:custGeom>
              <a:avLst/>
              <a:gdLst/>
              <a:ahLst/>
              <a:cxnLst/>
              <a:rect l="0" t="0" r="0" b="0"/>
              <a:pathLst>
                <a:path w="1363484" h="486958">
                  <a:moveTo>
                    <a:pt x="0" y="48695"/>
                  </a:moveTo>
                  <a:cubicBezTo>
                    <a:pt x="0" y="21801"/>
                    <a:pt x="21801" y="0"/>
                    <a:pt x="48695" y="0"/>
                  </a:cubicBezTo>
                  <a:lnTo>
                    <a:pt x="97391" y="0"/>
                  </a:lnTo>
                  <a:lnTo>
                    <a:pt x="97391" y="97391"/>
                  </a:lnTo>
                  <a:lnTo>
                    <a:pt x="0" y="97391"/>
                  </a:lnTo>
                  <a:lnTo>
                    <a:pt x="0" y="48695"/>
                  </a:lnTo>
                  <a:close/>
                  <a:moveTo>
                    <a:pt x="97391" y="0"/>
                  </a:moveTo>
                  <a:lnTo>
                    <a:pt x="97391" y="97391"/>
                  </a:lnTo>
                  <a:lnTo>
                    <a:pt x="1266092" y="97391"/>
                  </a:lnTo>
                  <a:lnTo>
                    <a:pt x="1266092" y="0"/>
                  </a:lnTo>
                  <a:lnTo>
                    <a:pt x="97391" y="0"/>
                  </a:lnTo>
                  <a:close/>
                  <a:moveTo>
                    <a:pt x="1363484" y="48695"/>
                  </a:moveTo>
                  <a:cubicBezTo>
                    <a:pt x="1363484" y="21801"/>
                    <a:pt x="1341682" y="0"/>
                    <a:pt x="1314788" y="0"/>
                  </a:cubicBezTo>
                  <a:lnTo>
                    <a:pt x="1266092" y="0"/>
                  </a:lnTo>
                  <a:lnTo>
                    <a:pt x="1266092" y="97391"/>
                  </a:lnTo>
                  <a:lnTo>
                    <a:pt x="1363484" y="97391"/>
                  </a:lnTo>
                  <a:lnTo>
                    <a:pt x="1363484" y="48695"/>
                  </a:lnTo>
                  <a:close/>
                  <a:moveTo>
                    <a:pt x="1363484" y="97391"/>
                  </a:moveTo>
                  <a:lnTo>
                    <a:pt x="0" y="97391"/>
                  </a:lnTo>
                  <a:lnTo>
                    <a:pt x="0" y="389566"/>
                  </a:lnTo>
                  <a:lnTo>
                    <a:pt x="1363484" y="389566"/>
                  </a:lnTo>
                  <a:lnTo>
                    <a:pt x="1363484" y="97391"/>
                  </a:lnTo>
                  <a:close/>
                  <a:moveTo>
                    <a:pt x="0" y="438262"/>
                  </a:moveTo>
                  <a:cubicBezTo>
                    <a:pt x="0" y="465156"/>
                    <a:pt x="21801" y="486958"/>
                    <a:pt x="48695" y="486958"/>
                  </a:cubicBezTo>
                  <a:lnTo>
                    <a:pt x="97391" y="486958"/>
                  </a:lnTo>
                  <a:lnTo>
                    <a:pt x="97391" y="389566"/>
                  </a:lnTo>
                  <a:lnTo>
                    <a:pt x="0" y="389566"/>
                  </a:lnTo>
                  <a:lnTo>
                    <a:pt x="0" y="438262"/>
                  </a:lnTo>
                  <a:close/>
                  <a:moveTo>
                    <a:pt x="1266092" y="486958"/>
                  </a:moveTo>
                  <a:lnTo>
                    <a:pt x="1266092" y="389566"/>
                  </a:lnTo>
                  <a:lnTo>
                    <a:pt x="97391" y="389566"/>
                  </a:lnTo>
                  <a:lnTo>
                    <a:pt x="97391" y="486958"/>
                  </a:lnTo>
                  <a:lnTo>
                    <a:pt x="1266092" y="486958"/>
                  </a:lnTo>
                  <a:close/>
                  <a:moveTo>
                    <a:pt x="1314788" y="486958"/>
                  </a:moveTo>
                  <a:cubicBezTo>
                    <a:pt x="1341682" y="486958"/>
                    <a:pt x="1363484" y="465156"/>
                    <a:pt x="1363484" y="438262"/>
                  </a:cubicBezTo>
                  <a:lnTo>
                    <a:pt x="1363484" y="389566"/>
                  </a:lnTo>
                  <a:lnTo>
                    <a:pt x="1266092" y="389566"/>
                  </a:lnTo>
                  <a:lnTo>
                    <a:pt x="1266092" y="486958"/>
                  </a:lnTo>
                  <a:lnTo>
                    <a:pt x="1314788" y="486958"/>
                  </a:lnTo>
                  <a:close/>
                </a:path>
              </a:pathLst>
            </a:custGeom>
            <a:solidFill>
              <a:srgbClr val="C165EB"/>
            </a:solidFill>
            <a:ln>
              <a:noFill/>
            </a:ln>
          </p:spPr>
          <p:txBody>
            <a:bodyPr rtlCol="0" anchor="ctr"/>
            <a:lstStyle/>
            <a:p>
              <a:pPr algn="ctr"/>
              <a:endParaRPr sz="3200"/>
            </a:p>
          </p:txBody>
        </p:sp>
        <p:sp>
          <p:nvSpPr>
            <p:cNvPr id="52" name="Rounded Rectangle 47">
              <a:extLst>
                <a:ext uri="{FF2B5EF4-FFF2-40B4-BE49-F238E27FC236}">
                  <a16:creationId xmlns:a16="http://schemas.microsoft.com/office/drawing/2014/main" id="{8A237815-FF1C-50A8-F768-52BA384165EC}"/>
                </a:ext>
              </a:extLst>
            </p:cNvPr>
            <p:cNvSpPr/>
            <p:nvPr/>
          </p:nvSpPr>
          <p:spPr>
            <a:xfrm>
              <a:off x="5029199" y="2629576"/>
              <a:ext cx="1363484" cy="486958"/>
            </a:xfrm>
            <a:custGeom>
              <a:avLst/>
              <a:gdLst/>
              <a:ahLst/>
              <a:cxnLst/>
              <a:rect l="0" t="0" r="0" b="0"/>
              <a:pathLst>
                <a:path w="1363484" h="486958">
                  <a:moveTo>
                    <a:pt x="0" y="97391"/>
                  </a:moveTo>
                  <a:lnTo>
                    <a:pt x="0" y="48695"/>
                  </a:lnTo>
                  <a:cubicBezTo>
                    <a:pt x="0" y="21801"/>
                    <a:pt x="21801" y="0"/>
                    <a:pt x="48695" y="0"/>
                  </a:cubicBezTo>
                  <a:lnTo>
                    <a:pt x="97391" y="0"/>
                  </a:lnTo>
                  <a:moveTo>
                    <a:pt x="1363484" y="97391"/>
                  </a:moveTo>
                  <a:lnTo>
                    <a:pt x="1363484" y="389566"/>
                  </a:lnTo>
                  <a:moveTo>
                    <a:pt x="0" y="389566"/>
                  </a:moveTo>
                  <a:lnTo>
                    <a:pt x="0" y="97391"/>
                  </a:lnTo>
                  <a:moveTo>
                    <a:pt x="97391" y="0"/>
                  </a:moveTo>
                  <a:lnTo>
                    <a:pt x="1266092" y="0"/>
                  </a:lnTo>
                  <a:moveTo>
                    <a:pt x="0" y="389566"/>
                  </a:moveTo>
                  <a:lnTo>
                    <a:pt x="0" y="438262"/>
                  </a:lnTo>
                  <a:cubicBezTo>
                    <a:pt x="0" y="465156"/>
                    <a:pt x="21801" y="486958"/>
                    <a:pt x="48695" y="486958"/>
                  </a:cubicBezTo>
                  <a:lnTo>
                    <a:pt x="97391" y="486958"/>
                  </a:lnTo>
                  <a:moveTo>
                    <a:pt x="1363484" y="97391"/>
                  </a:moveTo>
                  <a:lnTo>
                    <a:pt x="1363484" y="48695"/>
                  </a:lnTo>
                  <a:cubicBezTo>
                    <a:pt x="1363484" y="21801"/>
                    <a:pt x="1341682" y="0"/>
                    <a:pt x="1314788" y="0"/>
                  </a:cubicBezTo>
                  <a:lnTo>
                    <a:pt x="1266092" y="0"/>
                  </a:lnTo>
                  <a:moveTo>
                    <a:pt x="1266092" y="486958"/>
                  </a:moveTo>
                  <a:lnTo>
                    <a:pt x="97391" y="486958"/>
                  </a:lnTo>
                  <a:moveTo>
                    <a:pt x="1363484" y="389566"/>
                  </a:moveTo>
                  <a:lnTo>
                    <a:pt x="1363484" y="438262"/>
                  </a:lnTo>
                  <a:cubicBezTo>
                    <a:pt x="1363484" y="465156"/>
                    <a:pt x="1341682" y="486958"/>
                    <a:pt x="1314788" y="486958"/>
                  </a:cubicBezTo>
                  <a:lnTo>
                    <a:pt x="1266092" y="486958"/>
                  </a:lnTo>
                </a:path>
              </a:pathLst>
            </a:custGeom>
            <a:noFill/>
            <a:ln w="6086">
              <a:solidFill>
                <a:srgbClr val="F0DCF9"/>
              </a:solidFill>
            </a:ln>
          </p:spPr>
          <p:txBody>
            <a:bodyPr rtlCol="0" anchor="ctr"/>
            <a:lstStyle/>
            <a:p>
              <a:pPr algn="ctr"/>
              <a:endParaRPr sz="3200"/>
            </a:p>
          </p:txBody>
        </p:sp>
      </p:grpSp>
      <p:grpSp>
        <p:nvGrpSpPr>
          <p:cNvPr id="53" name="Group 52">
            <a:extLst>
              <a:ext uri="{FF2B5EF4-FFF2-40B4-BE49-F238E27FC236}">
                <a16:creationId xmlns:a16="http://schemas.microsoft.com/office/drawing/2014/main" id="{B7577223-58F1-C88B-CF9D-33CDCD798636}"/>
              </a:ext>
            </a:extLst>
          </p:cNvPr>
          <p:cNvGrpSpPr/>
          <p:nvPr/>
        </p:nvGrpSpPr>
        <p:grpSpPr>
          <a:xfrm>
            <a:off x="7536615" y="4676998"/>
            <a:ext cx="4064146" cy="723899"/>
            <a:chOff x="5029199" y="3213926"/>
            <a:chExt cx="1363484" cy="486958"/>
          </a:xfrm>
        </p:grpSpPr>
        <p:sp>
          <p:nvSpPr>
            <p:cNvPr id="54" name="Rounded Rectangle 49">
              <a:extLst>
                <a:ext uri="{FF2B5EF4-FFF2-40B4-BE49-F238E27FC236}">
                  <a16:creationId xmlns:a16="http://schemas.microsoft.com/office/drawing/2014/main" id="{AFFFE340-0A13-045E-C1BA-CE08843568C5}"/>
                </a:ext>
              </a:extLst>
            </p:cNvPr>
            <p:cNvSpPr/>
            <p:nvPr/>
          </p:nvSpPr>
          <p:spPr>
            <a:xfrm>
              <a:off x="5029199" y="3213926"/>
              <a:ext cx="1363484" cy="486958"/>
            </a:xfrm>
            <a:custGeom>
              <a:avLst/>
              <a:gdLst/>
              <a:ahLst/>
              <a:cxnLst/>
              <a:rect l="0" t="0" r="0" b="0"/>
              <a:pathLst>
                <a:path w="1363484" h="486958">
                  <a:moveTo>
                    <a:pt x="0" y="48695"/>
                  </a:moveTo>
                  <a:cubicBezTo>
                    <a:pt x="0" y="21801"/>
                    <a:pt x="21801" y="0"/>
                    <a:pt x="48695" y="0"/>
                  </a:cubicBezTo>
                  <a:lnTo>
                    <a:pt x="97391" y="0"/>
                  </a:lnTo>
                  <a:lnTo>
                    <a:pt x="97391" y="97391"/>
                  </a:lnTo>
                  <a:lnTo>
                    <a:pt x="0" y="97391"/>
                  </a:lnTo>
                  <a:lnTo>
                    <a:pt x="0" y="48695"/>
                  </a:lnTo>
                  <a:close/>
                  <a:moveTo>
                    <a:pt x="97391" y="0"/>
                  </a:moveTo>
                  <a:lnTo>
                    <a:pt x="97391" y="97391"/>
                  </a:lnTo>
                  <a:lnTo>
                    <a:pt x="1266092" y="97391"/>
                  </a:lnTo>
                  <a:lnTo>
                    <a:pt x="1266092" y="0"/>
                  </a:lnTo>
                  <a:lnTo>
                    <a:pt x="97391" y="0"/>
                  </a:lnTo>
                  <a:close/>
                  <a:moveTo>
                    <a:pt x="1363484" y="48695"/>
                  </a:moveTo>
                  <a:cubicBezTo>
                    <a:pt x="1363484" y="21801"/>
                    <a:pt x="1341682" y="0"/>
                    <a:pt x="1314788" y="0"/>
                  </a:cubicBezTo>
                  <a:lnTo>
                    <a:pt x="1266092" y="0"/>
                  </a:lnTo>
                  <a:lnTo>
                    <a:pt x="1266092" y="97391"/>
                  </a:lnTo>
                  <a:lnTo>
                    <a:pt x="1363484" y="97391"/>
                  </a:lnTo>
                  <a:lnTo>
                    <a:pt x="1363484" y="48695"/>
                  </a:lnTo>
                  <a:close/>
                  <a:moveTo>
                    <a:pt x="1363484" y="97391"/>
                  </a:moveTo>
                  <a:lnTo>
                    <a:pt x="0" y="97391"/>
                  </a:lnTo>
                  <a:lnTo>
                    <a:pt x="0" y="389566"/>
                  </a:lnTo>
                  <a:lnTo>
                    <a:pt x="1363484" y="389566"/>
                  </a:lnTo>
                  <a:lnTo>
                    <a:pt x="1363484" y="97391"/>
                  </a:lnTo>
                  <a:close/>
                  <a:moveTo>
                    <a:pt x="0" y="438262"/>
                  </a:moveTo>
                  <a:cubicBezTo>
                    <a:pt x="0" y="465156"/>
                    <a:pt x="21801" y="486958"/>
                    <a:pt x="48695" y="486958"/>
                  </a:cubicBezTo>
                  <a:lnTo>
                    <a:pt x="97391" y="486958"/>
                  </a:lnTo>
                  <a:lnTo>
                    <a:pt x="97391" y="389566"/>
                  </a:lnTo>
                  <a:lnTo>
                    <a:pt x="0" y="389566"/>
                  </a:lnTo>
                  <a:lnTo>
                    <a:pt x="0" y="438262"/>
                  </a:lnTo>
                  <a:close/>
                  <a:moveTo>
                    <a:pt x="1266092" y="486958"/>
                  </a:moveTo>
                  <a:lnTo>
                    <a:pt x="1266092" y="389566"/>
                  </a:lnTo>
                  <a:lnTo>
                    <a:pt x="97391" y="389566"/>
                  </a:lnTo>
                  <a:lnTo>
                    <a:pt x="97391" y="486958"/>
                  </a:lnTo>
                  <a:lnTo>
                    <a:pt x="1266092" y="486958"/>
                  </a:lnTo>
                  <a:close/>
                  <a:moveTo>
                    <a:pt x="1314788" y="486958"/>
                  </a:moveTo>
                  <a:cubicBezTo>
                    <a:pt x="1341682" y="486958"/>
                    <a:pt x="1363484" y="465156"/>
                    <a:pt x="1363484" y="438262"/>
                  </a:cubicBezTo>
                  <a:lnTo>
                    <a:pt x="1363484" y="389566"/>
                  </a:lnTo>
                  <a:lnTo>
                    <a:pt x="1266092" y="389566"/>
                  </a:lnTo>
                  <a:lnTo>
                    <a:pt x="1266092" y="486958"/>
                  </a:lnTo>
                  <a:lnTo>
                    <a:pt x="1314788" y="486958"/>
                  </a:lnTo>
                  <a:close/>
                </a:path>
              </a:pathLst>
            </a:custGeom>
            <a:solidFill>
              <a:srgbClr val="D176FB"/>
            </a:solidFill>
            <a:ln>
              <a:noFill/>
            </a:ln>
          </p:spPr>
          <p:txBody>
            <a:bodyPr rtlCol="0" anchor="ctr"/>
            <a:lstStyle/>
            <a:p>
              <a:pPr algn="ctr"/>
              <a:endParaRPr sz="3200"/>
            </a:p>
          </p:txBody>
        </p:sp>
        <p:sp>
          <p:nvSpPr>
            <p:cNvPr id="55" name="Rounded Rectangle 50">
              <a:extLst>
                <a:ext uri="{FF2B5EF4-FFF2-40B4-BE49-F238E27FC236}">
                  <a16:creationId xmlns:a16="http://schemas.microsoft.com/office/drawing/2014/main" id="{D305728C-1FF9-75C3-E0DC-D4CBFD1FE0FE}"/>
                </a:ext>
              </a:extLst>
            </p:cNvPr>
            <p:cNvSpPr/>
            <p:nvPr/>
          </p:nvSpPr>
          <p:spPr>
            <a:xfrm>
              <a:off x="5029199" y="3213926"/>
              <a:ext cx="1363484" cy="486958"/>
            </a:xfrm>
            <a:custGeom>
              <a:avLst/>
              <a:gdLst/>
              <a:ahLst/>
              <a:cxnLst/>
              <a:rect l="0" t="0" r="0" b="0"/>
              <a:pathLst>
                <a:path w="1363484" h="486958">
                  <a:moveTo>
                    <a:pt x="0" y="97391"/>
                  </a:moveTo>
                  <a:lnTo>
                    <a:pt x="0" y="48695"/>
                  </a:lnTo>
                  <a:cubicBezTo>
                    <a:pt x="0" y="21801"/>
                    <a:pt x="21801" y="0"/>
                    <a:pt x="48695" y="0"/>
                  </a:cubicBezTo>
                  <a:lnTo>
                    <a:pt x="97391" y="0"/>
                  </a:lnTo>
                  <a:moveTo>
                    <a:pt x="1363484" y="97391"/>
                  </a:moveTo>
                  <a:lnTo>
                    <a:pt x="1363484" y="389566"/>
                  </a:lnTo>
                  <a:moveTo>
                    <a:pt x="0" y="389566"/>
                  </a:moveTo>
                  <a:lnTo>
                    <a:pt x="0" y="97391"/>
                  </a:lnTo>
                  <a:moveTo>
                    <a:pt x="97391" y="0"/>
                  </a:moveTo>
                  <a:lnTo>
                    <a:pt x="1266092" y="0"/>
                  </a:lnTo>
                  <a:moveTo>
                    <a:pt x="0" y="389566"/>
                  </a:moveTo>
                  <a:lnTo>
                    <a:pt x="0" y="438262"/>
                  </a:lnTo>
                  <a:cubicBezTo>
                    <a:pt x="0" y="465156"/>
                    <a:pt x="21801" y="486958"/>
                    <a:pt x="48695" y="486958"/>
                  </a:cubicBezTo>
                  <a:lnTo>
                    <a:pt x="97391" y="486958"/>
                  </a:lnTo>
                  <a:moveTo>
                    <a:pt x="1363484" y="97391"/>
                  </a:moveTo>
                  <a:lnTo>
                    <a:pt x="1363484" y="48695"/>
                  </a:lnTo>
                  <a:cubicBezTo>
                    <a:pt x="1363484" y="21801"/>
                    <a:pt x="1341682" y="0"/>
                    <a:pt x="1314788" y="0"/>
                  </a:cubicBezTo>
                  <a:lnTo>
                    <a:pt x="1266092" y="0"/>
                  </a:lnTo>
                  <a:moveTo>
                    <a:pt x="1266092" y="486958"/>
                  </a:moveTo>
                  <a:lnTo>
                    <a:pt x="97391" y="486958"/>
                  </a:lnTo>
                  <a:moveTo>
                    <a:pt x="1363484" y="389566"/>
                  </a:moveTo>
                  <a:lnTo>
                    <a:pt x="1363484" y="438262"/>
                  </a:lnTo>
                  <a:cubicBezTo>
                    <a:pt x="1363484" y="465156"/>
                    <a:pt x="1341682" y="486958"/>
                    <a:pt x="1314788" y="486958"/>
                  </a:cubicBezTo>
                  <a:lnTo>
                    <a:pt x="1266092" y="486958"/>
                  </a:lnTo>
                </a:path>
              </a:pathLst>
            </a:custGeom>
            <a:noFill/>
            <a:ln w="6086">
              <a:solidFill>
                <a:srgbClr val="F0DCF9"/>
              </a:solidFill>
            </a:ln>
          </p:spPr>
          <p:txBody>
            <a:bodyPr rtlCol="0" anchor="ctr"/>
            <a:lstStyle/>
            <a:p>
              <a:pPr algn="ctr"/>
              <a:endParaRPr sz="3200"/>
            </a:p>
          </p:txBody>
        </p:sp>
      </p:grpSp>
      <p:grpSp>
        <p:nvGrpSpPr>
          <p:cNvPr id="56" name="Group 55">
            <a:extLst>
              <a:ext uri="{FF2B5EF4-FFF2-40B4-BE49-F238E27FC236}">
                <a16:creationId xmlns:a16="http://schemas.microsoft.com/office/drawing/2014/main" id="{A4E1147A-3BF0-1756-D5C7-87796A550606}"/>
              </a:ext>
            </a:extLst>
          </p:cNvPr>
          <p:cNvGrpSpPr/>
          <p:nvPr/>
        </p:nvGrpSpPr>
        <p:grpSpPr>
          <a:xfrm>
            <a:off x="7536615" y="5545678"/>
            <a:ext cx="4064146" cy="723899"/>
            <a:chOff x="5029199" y="3798276"/>
            <a:chExt cx="1363484" cy="486958"/>
          </a:xfrm>
        </p:grpSpPr>
        <p:sp>
          <p:nvSpPr>
            <p:cNvPr id="57" name="Rounded Rectangle 52">
              <a:extLst>
                <a:ext uri="{FF2B5EF4-FFF2-40B4-BE49-F238E27FC236}">
                  <a16:creationId xmlns:a16="http://schemas.microsoft.com/office/drawing/2014/main" id="{7092AFDB-08A9-89B3-8EA3-DD70992FC14B}"/>
                </a:ext>
              </a:extLst>
            </p:cNvPr>
            <p:cNvSpPr/>
            <p:nvPr/>
          </p:nvSpPr>
          <p:spPr>
            <a:xfrm>
              <a:off x="5029199" y="3798276"/>
              <a:ext cx="1363484" cy="486958"/>
            </a:xfrm>
            <a:custGeom>
              <a:avLst/>
              <a:gdLst/>
              <a:ahLst/>
              <a:cxnLst/>
              <a:rect l="0" t="0" r="0" b="0"/>
              <a:pathLst>
                <a:path w="1363484" h="486958">
                  <a:moveTo>
                    <a:pt x="0" y="48695"/>
                  </a:moveTo>
                  <a:cubicBezTo>
                    <a:pt x="0" y="21801"/>
                    <a:pt x="21801" y="0"/>
                    <a:pt x="48695" y="0"/>
                  </a:cubicBezTo>
                  <a:lnTo>
                    <a:pt x="97391" y="0"/>
                  </a:lnTo>
                  <a:lnTo>
                    <a:pt x="97391" y="97391"/>
                  </a:lnTo>
                  <a:lnTo>
                    <a:pt x="0" y="97391"/>
                  </a:lnTo>
                  <a:lnTo>
                    <a:pt x="0" y="48695"/>
                  </a:lnTo>
                  <a:close/>
                  <a:moveTo>
                    <a:pt x="97391" y="0"/>
                  </a:moveTo>
                  <a:lnTo>
                    <a:pt x="97391" y="97391"/>
                  </a:lnTo>
                  <a:lnTo>
                    <a:pt x="1266092" y="97391"/>
                  </a:lnTo>
                  <a:lnTo>
                    <a:pt x="1266092" y="0"/>
                  </a:lnTo>
                  <a:lnTo>
                    <a:pt x="97391" y="0"/>
                  </a:lnTo>
                  <a:close/>
                  <a:moveTo>
                    <a:pt x="1363484" y="48695"/>
                  </a:moveTo>
                  <a:cubicBezTo>
                    <a:pt x="1363484" y="21801"/>
                    <a:pt x="1341682" y="0"/>
                    <a:pt x="1314788" y="0"/>
                  </a:cubicBezTo>
                  <a:lnTo>
                    <a:pt x="1266092" y="0"/>
                  </a:lnTo>
                  <a:lnTo>
                    <a:pt x="1266092" y="97391"/>
                  </a:lnTo>
                  <a:lnTo>
                    <a:pt x="1363484" y="97391"/>
                  </a:lnTo>
                  <a:lnTo>
                    <a:pt x="1363484" y="48695"/>
                  </a:lnTo>
                  <a:close/>
                  <a:moveTo>
                    <a:pt x="1363484" y="97391"/>
                  </a:moveTo>
                  <a:lnTo>
                    <a:pt x="0" y="97391"/>
                  </a:lnTo>
                  <a:lnTo>
                    <a:pt x="0" y="389566"/>
                  </a:lnTo>
                  <a:lnTo>
                    <a:pt x="1363484" y="389566"/>
                  </a:lnTo>
                  <a:lnTo>
                    <a:pt x="1363484" y="97391"/>
                  </a:lnTo>
                  <a:close/>
                  <a:moveTo>
                    <a:pt x="0" y="438262"/>
                  </a:moveTo>
                  <a:cubicBezTo>
                    <a:pt x="0" y="465156"/>
                    <a:pt x="21801" y="486958"/>
                    <a:pt x="48695" y="486958"/>
                  </a:cubicBezTo>
                  <a:lnTo>
                    <a:pt x="97391" y="486958"/>
                  </a:lnTo>
                  <a:lnTo>
                    <a:pt x="97391" y="389566"/>
                  </a:lnTo>
                  <a:lnTo>
                    <a:pt x="0" y="389566"/>
                  </a:lnTo>
                  <a:lnTo>
                    <a:pt x="0" y="438262"/>
                  </a:lnTo>
                  <a:close/>
                  <a:moveTo>
                    <a:pt x="1266092" y="486958"/>
                  </a:moveTo>
                  <a:lnTo>
                    <a:pt x="1266092" y="389566"/>
                  </a:lnTo>
                  <a:lnTo>
                    <a:pt x="97391" y="389566"/>
                  </a:lnTo>
                  <a:lnTo>
                    <a:pt x="97391" y="486958"/>
                  </a:lnTo>
                  <a:lnTo>
                    <a:pt x="1266092" y="486958"/>
                  </a:lnTo>
                  <a:close/>
                  <a:moveTo>
                    <a:pt x="1314788" y="486958"/>
                  </a:moveTo>
                  <a:cubicBezTo>
                    <a:pt x="1341682" y="486958"/>
                    <a:pt x="1363484" y="465156"/>
                    <a:pt x="1363484" y="438262"/>
                  </a:cubicBezTo>
                  <a:lnTo>
                    <a:pt x="1363484" y="389566"/>
                  </a:lnTo>
                  <a:lnTo>
                    <a:pt x="1266092" y="389566"/>
                  </a:lnTo>
                  <a:lnTo>
                    <a:pt x="1266092" y="486958"/>
                  </a:lnTo>
                  <a:lnTo>
                    <a:pt x="1314788" y="486958"/>
                  </a:lnTo>
                  <a:close/>
                </a:path>
              </a:pathLst>
            </a:custGeom>
            <a:solidFill>
              <a:srgbClr val="E2A3FF"/>
            </a:solidFill>
            <a:ln>
              <a:noFill/>
            </a:ln>
          </p:spPr>
          <p:txBody>
            <a:bodyPr rtlCol="0" anchor="ctr"/>
            <a:lstStyle/>
            <a:p>
              <a:pPr algn="ctr"/>
              <a:endParaRPr sz="3200"/>
            </a:p>
          </p:txBody>
        </p:sp>
        <p:sp>
          <p:nvSpPr>
            <p:cNvPr id="58" name="Rounded Rectangle 53">
              <a:extLst>
                <a:ext uri="{FF2B5EF4-FFF2-40B4-BE49-F238E27FC236}">
                  <a16:creationId xmlns:a16="http://schemas.microsoft.com/office/drawing/2014/main" id="{731459B6-B5FF-6974-2D8D-C5B5C4F1F92B}"/>
                </a:ext>
              </a:extLst>
            </p:cNvPr>
            <p:cNvSpPr/>
            <p:nvPr/>
          </p:nvSpPr>
          <p:spPr>
            <a:xfrm>
              <a:off x="5029199" y="3798276"/>
              <a:ext cx="1363484" cy="486958"/>
            </a:xfrm>
            <a:custGeom>
              <a:avLst/>
              <a:gdLst/>
              <a:ahLst/>
              <a:cxnLst/>
              <a:rect l="0" t="0" r="0" b="0"/>
              <a:pathLst>
                <a:path w="1363484" h="486958">
                  <a:moveTo>
                    <a:pt x="0" y="97391"/>
                  </a:moveTo>
                  <a:lnTo>
                    <a:pt x="0" y="48695"/>
                  </a:lnTo>
                  <a:cubicBezTo>
                    <a:pt x="0" y="21801"/>
                    <a:pt x="21801" y="0"/>
                    <a:pt x="48695" y="0"/>
                  </a:cubicBezTo>
                  <a:lnTo>
                    <a:pt x="97391" y="0"/>
                  </a:lnTo>
                  <a:moveTo>
                    <a:pt x="1363484" y="97391"/>
                  </a:moveTo>
                  <a:lnTo>
                    <a:pt x="1363484" y="389566"/>
                  </a:lnTo>
                  <a:moveTo>
                    <a:pt x="0" y="389566"/>
                  </a:moveTo>
                  <a:lnTo>
                    <a:pt x="0" y="97391"/>
                  </a:lnTo>
                  <a:moveTo>
                    <a:pt x="97391" y="0"/>
                  </a:moveTo>
                  <a:lnTo>
                    <a:pt x="1266092" y="0"/>
                  </a:lnTo>
                  <a:moveTo>
                    <a:pt x="0" y="389566"/>
                  </a:moveTo>
                  <a:lnTo>
                    <a:pt x="0" y="438262"/>
                  </a:lnTo>
                  <a:cubicBezTo>
                    <a:pt x="0" y="465156"/>
                    <a:pt x="21801" y="486958"/>
                    <a:pt x="48695" y="486958"/>
                  </a:cubicBezTo>
                  <a:lnTo>
                    <a:pt x="97391" y="486958"/>
                  </a:lnTo>
                  <a:moveTo>
                    <a:pt x="1363484" y="97391"/>
                  </a:moveTo>
                  <a:lnTo>
                    <a:pt x="1363484" y="48695"/>
                  </a:lnTo>
                  <a:cubicBezTo>
                    <a:pt x="1363484" y="21801"/>
                    <a:pt x="1341682" y="0"/>
                    <a:pt x="1314788" y="0"/>
                  </a:cubicBezTo>
                  <a:lnTo>
                    <a:pt x="1266092" y="0"/>
                  </a:lnTo>
                  <a:moveTo>
                    <a:pt x="1266092" y="486958"/>
                  </a:moveTo>
                  <a:lnTo>
                    <a:pt x="97391" y="486958"/>
                  </a:lnTo>
                  <a:moveTo>
                    <a:pt x="1363484" y="389566"/>
                  </a:moveTo>
                  <a:lnTo>
                    <a:pt x="1363484" y="438262"/>
                  </a:lnTo>
                  <a:cubicBezTo>
                    <a:pt x="1363484" y="465156"/>
                    <a:pt x="1341682" y="486958"/>
                    <a:pt x="1314788" y="486958"/>
                  </a:cubicBezTo>
                  <a:lnTo>
                    <a:pt x="1266092" y="486958"/>
                  </a:lnTo>
                </a:path>
              </a:pathLst>
            </a:custGeom>
            <a:noFill/>
            <a:ln w="6086">
              <a:solidFill>
                <a:srgbClr val="F0DCF9"/>
              </a:solidFill>
            </a:ln>
          </p:spPr>
          <p:txBody>
            <a:bodyPr rtlCol="0" anchor="ctr"/>
            <a:lstStyle/>
            <a:p>
              <a:pPr algn="ctr"/>
              <a:endParaRPr sz="3200"/>
            </a:p>
          </p:txBody>
        </p:sp>
      </p:grpSp>
      <p:sp>
        <p:nvSpPr>
          <p:cNvPr id="59" name="TextBox 58">
            <a:extLst>
              <a:ext uri="{FF2B5EF4-FFF2-40B4-BE49-F238E27FC236}">
                <a16:creationId xmlns:a16="http://schemas.microsoft.com/office/drawing/2014/main" id="{0AF9A33C-7AA1-E6B8-AA34-928437C185F5}"/>
              </a:ext>
            </a:extLst>
          </p:cNvPr>
          <p:cNvSpPr txBox="1"/>
          <p:nvPr/>
        </p:nvSpPr>
        <p:spPr>
          <a:xfrm>
            <a:off x="3852348" y="3090451"/>
            <a:ext cx="3515888" cy="430887"/>
          </a:xfrm>
          <a:prstGeom prst="rect">
            <a:avLst/>
          </a:prstGeom>
          <a:noFill/>
          <a:ln>
            <a:noFill/>
          </a:ln>
        </p:spPr>
        <p:txBody>
          <a:bodyPr wrap="square" lIns="0" tIns="0" rIns="0" bIns="0" anchor="t">
            <a:spAutoFit/>
          </a:bodyPr>
          <a:lstStyle/>
          <a:p>
            <a:pPr algn="ctr"/>
            <a:r>
              <a:rPr sz="1400">
                <a:solidFill>
                  <a:srgbClr val="FFFFFF"/>
                </a:solidFill>
                <a:latin typeface="Arial"/>
              </a:rPr>
              <a:t>Handles multi-step,
advanced tasks</a:t>
            </a:r>
          </a:p>
        </p:txBody>
      </p:sp>
      <p:sp>
        <p:nvSpPr>
          <p:cNvPr id="60" name="TextBox 59">
            <a:extLst>
              <a:ext uri="{FF2B5EF4-FFF2-40B4-BE49-F238E27FC236}">
                <a16:creationId xmlns:a16="http://schemas.microsoft.com/office/drawing/2014/main" id="{A163418C-80BB-4093-5307-B8EDC3AA9048}"/>
              </a:ext>
            </a:extLst>
          </p:cNvPr>
          <p:cNvSpPr txBox="1"/>
          <p:nvPr/>
        </p:nvSpPr>
        <p:spPr>
          <a:xfrm>
            <a:off x="1531870" y="3174876"/>
            <a:ext cx="1717441" cy="215444"/>
          </a:xfrm>
          <a:prstGeom prst="rect">
            <a:avLst/>
          </a:prstGeom>
          <a:noFill/>
          <a:ln>
            <a:noFill/>
          </a:ln>
        </p:spPr>
        <p:txBody>
          <a:bodyPr wrap="square" lIns="0" tIns="0" rIns="0" bIns="0" anchor="t">
            <a:spAutoFit/>
          </a:bodyPr>
          <a:lstStyle/>
          <a:p>
            <a:pPr algn="l"/>
            <a:r>
              <a:rPr sz="1400" b="1">
                <a:solidFill>
                  <a:srgbClr val="FFFFFF"/>
                </a:solidFill>
                <a:latin typeface="Arial"/>
              </a:rPr>
              <a:t>Task Complexity</a:t>
            </a:r>
          </a:p>
        </p:txBody>
      </p:sp>
      <p:sp>
        <p:nvSpPr>
          <p:cNvPr id="61" name="TextBox 60">
            <a:extLst>
              <a:ext uri="{FF2B5EF4-FFF2-40B4-BE49-F238E27FC236}">
                <a16:creationId xmlns:a16="http://schemas.microsoft.com/office/drawing/2014/main" id="{96E1BB5D-BC69-54CF-783A-770DB557FB09}"/>
              </a:ext>
            </a:extLst>
          </p:cNvPr>
          <p:cNvSpPr txBox="1"/>
          <p:nvPr/>
        </p:nvSpPr>
        <p:spPr>
          <a:xfrm>
            <a:off x="7536614" y="3090451"/>
            <a:ext cx="4064146" cy="430887"/>
          </a:xfrm>
          <a:prstGeom prst="rect">
            <a:avLst/>
          </a:prstGeom>
          <a:noFill/>
          <a:ln>
            <a:noFill/>
          </a:ln>
        </p:spPr>
        <p:txBody>
          <a:bodyPr wrap="square" lIns="0" tIns="0" rIns="0" bIns="0" anchor="t">
            <a:spAutoFit/>
          </a:bodyPr>
          <a:lstStyle/>
          <a:p>
            <a:pPr algn="ctr"/>
            <a:r>
              <a:rPr sz="1400">
                <a:solidFill>
                  <a:srgbClr val="FFFFFF"/>
                </a:solidFill>
                <a:latin typeface="Arial"/>
              </a:rPr>
              <a:t>Recommends based
on training data</a:t>
            </a:r>
          </a:p>
        </p:txBody>
      </p:sp>
      <p:sp>
        <p:nvSpPr>
          <p:cNvPr id="62" name="TextBox 61">
            <a:extLst>
              <a:ext uri="{FF2B5EF4-FFF2-40B4-BE49-F238E27FC236}">
                <a16:creationId xmlns:a16="http://schemas.microsoft.com/office/drawing/2014/main" id="{3BB27F22-30BE-933E-2CBF-44D622666C40}"/>
              </a:ext>
            </a:extLst>
          </p:cNvPr>
          <p:cNvSpPr txBox="1"/>
          <p:nvPr/>
        </p:nvSpPr>
        <p:spPr>
          <a:xfrm>
            <a:off x="1531873" y="4043556"/>
            <a:ext cx="913691" cy="215444"/>
          </a:xfrm>
          <a:prstGeom prst="rect">
            <a:avLst/>
          </a:prstGeom>
          <a:noFill/>
          <a:ln>
            <a:noFill/>
          </a:ln>
        </p:spPr>
        <p:txBody>
          <a:bodyPr wrap="square" lIns="0" tIns="0" rIns="0" bIns="0" anchor="t">
            <a:spAutoFit/>
          </a:bodyPr>
          <a:lstStyle/>
          <a:p>
            <a:pPr algn="l"/>
            <a:r>
              <a:rPr sz="1400" b="1">
                <a:solidFill>
                  <a:srgbClr val="FFFFFF"/>
                </a:solidFill>
                <a:latin typeface="Arial"/>
              </a:rPr>
              <a:t>Learning</a:t>
            </a:r>
          </a:p>
        </p:txBody>
      </p:sp>
      <p:sp>
        <p:nvSpPr>
          <p:cNvPr id="63" name="TextBox 62">
            <a:extLst>
              <a:ext uri="{FF2B5EF4-FFF2-40B4-BE49-F238E27FC236}">
                <a16:creationId xmlns:a16="http://schemas.microsoft.com/office/drawing/2014/main" id="{CA87DF17-7EC4-E44D-2848-AD35BCC80948}"/>
              </a:ext>
            </a:extLst>
          </p:cNvPr>
          <p:cNvSpPr txBox="1"/>
          <p:nvPr/>
        </p:nvSpPr>
        <p:spPr>
          <a:xfrm>
            <a:off x="1531873" y="2161416"/>
            <a:ext cx="1061456" cy="215444"/>
          </a:xfrm>
          <a:prstGeom prst="rect">
            <a:avLst/>
          </a:prstGeom>
          <a:noFill/>
          <a:ln>
            <a:noFill/>
          </a:ln>
        </p:spPr>
        <p:txBody>
          <a:bodyPr wrap="square" lIns="0" tIns="0" rIns="0" bIns="0" anchor="t">
            <a:spAutoFit/>
          </a:bodyPr>
          <a:lstStyle/>
          <a:p>
            <a:pPr algn="l"/>
            <a:r>
              <a:rPr sz="1400" b="1">
                <a:solidFill>
                  <a:srgbClr val="FFFFFF"/>
                </a:solidFill>
                <a:latin typeface="Arial"/>
              </a:rPr>
              <a:t>Autonomy</a:t>
            </a:r>
          </a:p>
        </p:txBody>
      </p:sp>
      <p:sp>
        <p:nvSpPr>
          <p:cNvPr id="64" name="TextBox 63">
            <a:extLst>
              <a:ext uri="{FF2B5EF4-FFF2-40B4-BE49-F238E27FC236}">
                <a16:creationId xmlns:a16="http://schemas.microsoft.com/office/drawing/2014/main" id="{6F8F9F21-13C0-D54B-152F-3E8DA687F39D}"/>
              </a:ext>
            </a:extLst>
          </p:cNvPr>
          <p:cNvSpPr txBox="1"/>
          <p:nvPr/>
        </p:nvSpPr>
        <p:spPr>
          <a:xfrm>
            <a:off x="7536613" y="5696492"/>
            <a:ext cx="4064146" cy="430887"/>
          </a:xfrm>
          <a:prstGeom prst="rect">
            <a:avLst/>
          </a:prstGeom>
          <a:noFill/>
          <a:ln>
            <a:noFill/>
          </a:ln>
        </p:spPr>
        <p:txBody>
          <a:bodyPr wrap="square" lIns="0" tIns="0" rIns="0" bIns="0" anchor="t">
            <a:spAutoFit/>
          </a:bodyPr>
          <a:lstStyle/>
          <a:p>
            <a:pPr algn="ctr"/>
            <a:r>
              <a:rPr sz="1400">
                <a:solidFill>
                  <a:srgbClr val="FFFFFF"/>
                </a:solidFill>
                <a:latin typeface="Arial"/>
              </a:rPr>
              <a:t>Recommends an ice
cream maker</a:t>
            </a:r>
          </a:p>
        </p:txBody>
      </p:sp>
      <p:sp>
        <p:nvSpPr>
          <p:cNvPr id="65" name="TextBox 64">
            <a:extLst>
              <a:ext uri="{FF2B5EF4-FFF2-40B4-BE49-F238E27FC236}">
                <a16:creationId xmlns:a16="http://schemas.microsoft.com/office/drawing/2014/main" id="{C4C359F2-31F0-6651-72B9-A769567F966E}"/>
              </a:ext>
            </a:extLst>
          </p:cNvPr>
          <p:cNvSpPr txBox="1"/>
          <p:nvPr/>
        </p:nvSpPr>
        <p:spPr>
          <a:xfrm>
            <a:off x="7536614" y="1968404"/>
            <a:ext cx="4064147" cy="646331"/>
          </a:xfrm>
          <a:prstGeom prst="rect">
            <a:avLst/>
          </a:prstGeom>
          <a:noFill/>
          <a:ln>
            <a:noFill/>
          </a:ln>
        </p:spPr>
        <p:txBody>
          <a:bodyPr wrap="square" lIns="0" tIns="0" rIns="0" bIns="0" anchor="t">
            <a:spAutoFit/>
          </a:bodyPr>
          <a:lstStyle/>
          <a:p>
            <a:pPr algn="ctr"/>
            <a:r>
              <a:rPr sz="1400">
                <a:solidFill>
                  <a:srgbClr val="FFFFFF"/>
                </a:solidFill>
                <a:latin typeface="Arial"/>
              </a:rPr>
              <a:t>Rule-based
systems, static
responses</a:t>
            </a:r>
          </a:p>
        </p:txBody>
      </p:sp>
      <p:sp>
        <p:nvSpPr>
          <p:cNvPr id="66" name="TextBox 65">
            <a:extLst>
              <a:ext uri="{FF2B5EF4-FFF2-40B4-BE49-F238E27FC236}">
                <a16:creationId xmlns:a16="http://schemas.microsoft.com/office/drawing/2014/main" id="{2048968C-9DB7-E7B7-1730-BCCB92881245}"/>
              </a:ext>
            </a:extLst>
          </p:cNvPr>
          <p:cNvSpPr txBox="1"/>
          <p:nvPr/>
        </p:nvSpPr>
        <p:spPr>
          <a:xfrm>
            <a:off x="7536614" y="4067717"/>
            <a:ext cx="4064146" cy="215444"/>
          </a:xfrm>
          <a:prstGeom prst="rect">
            <a:avLst/>
          </a:prstGeom>
          <a:noFill/>
          <a:ln>
            <a:noFill/>
          </a:ln>
        </p:spPr>
        <p:txBody>
          <a:bodyPr wrap="square" lIns="0" tIns="0" rIns="0" bIns="0" anchor="t">
            <a:spAutoFit/>
          </a:bodyPr>
          <a:lstStyle/>
          <a:p>
            <a:pPr algn="ctr"/>
            <a:r>
              <a:rPr sz="1400">
                <a:solidFill>
                  <a:srgbClr val="FFFFFF"/>
                </a:solidFill>
                <a:latin typeface="Arial"/>
              </a:rPr>
              <a:t>Static, rule-based</a:t>
            </a:r>
          </a:p>
        </p:txBody>
      </p:sp>
      <p:sp>
        <p:nvSpPr>
          <p:cNvPr id="67" name="TextBox 66">
            <a:extLst>
              <a:ext uri="{FF2B5EF4-FFF2-40B4-BE49-F238E27FC236}">
                <a16:creationId xmlns:a16="http://schemas.microsoft.com/office/drawing/2014/main" id="{ADC69F37-B8C1-8BD7-C037-9D2A2DB3DB4B}"/>
              </a:ext>
            </a:extLst>
          </p:cNvPr>
          <p:cNvSpPr txBox="1"/>
          <p:nvPr/>
        </p:nvSpPr>
        <p:spPr>
          <a:xfrm>
            <a:off x="3864005" y="1968404"/>
            <a:ext cx="3504232" cy="646331"/>
          </a:xfrm>
          <a:prstGeom prst="rect">
            <a:avLst/>
          </a:prstGeom>
          <a:noFill/>
          <a:ln>
            <a:noFill/>
          </a:ln>
        </p:spPr>
        <p:txBody>
          <a:bodyPr wrap="square" lIns="0" tIns="0" rIns="0" bIns="0" anchor="t">
            <a:spAutoFit/>
          </a:bodyPr>
          <a:lstStyle/>
          <a:p>
            <a:pPr algn="ctr"/>
            <a:r>
              <a:rPr sz="1400">
                <a:solidFill>
                  <a:srgbClr val="FFFFFF"/>
                </a:solidFill>
                <a:latin typeface="Arial"/>
              </a:rPr>
              <a:t>Autonomous
workflows, decision-
making</a:t>
            </a:r>
          </a:p>
        </p:txBody>
      </p:sp>
      <p:sp>
        <p:nvSpPr>
          <p:cNvPr id="68" name="TextBox 67">
            <a:extLst>
              <a:ext uri="{FF2B5EF4-FFF2-40B4-BE49-F238E27FC236}">
                <a16:creationId xmlns:a16="http://schemas.microsoft.com/office/drawing/2014/main" id="{C108DD58-9CF8-8938-55B5-2AD2C443E5FE}"/>
              </a:ext>
            </a:extLst>
          </p:cNvPr>
          <p:cNvSpPr txBox="1"/>
          <p:nvPr/>
        </p:nvSpPr>
        <p:spPr>
          <a:xfrm>
            <a:off x="1531870" y="4912236"/>
            <a:ext cx="1958163" cy="215444"/>
          </a:xfrm>
          <a:prstGeom prst="rect">
            <a:avLst/>
          </a:prstGeom>
          <a:noFill/>
          <a:ln>
            <a:noFill/>
          </a:ln>
        </p:spPr>
        <p:txBody>
          <a:bodyPr wrap="square" lIns="0" tIns="0" rIns="0" bIns="0" anchor="t">
            <a:spAutoFit/>
          </a:bodyPr>
          <a:lstStyle/>
          <a:p>
            <a:pPr algn="l"/>
            <a:r>
              <a:rPr sz="1400" b="1">
                <a:solidFill>
                  <a:srgbClr val="FFFFFF"/>
                </a:solidFill>
                <a:latin typeface="Arial"/>
              </a:rPr>
              <a:t>External Interaction</a:t>
            </a:r>
          </a:p>
        </p:txBody>
      </p:sp>
      <p:sp>
        <p:nvSpPr>
          <p:cNvPr id="69" name="TextBox 68">
            <a:extLst>
              <a:ext uri="{FF2B5EF4-FFF2-40B4-BE49-F238E27FC236}">
                <a16:creationId xmlns:a16="http://schemas.microsoft.com/office/drawing/2014/main" id="{6E8DF328-FF8B-0476-C1C8-DCB0674EAD21}"/>
              </a:ext>
            </a:extLst>
          </p:cNvPr>
          <p:cNvSpPr txBox="1"/>
          <p:nvPr/>
        </p:nvSpPr>
        <p:spPr>
          <a:xfrm>
            <a:off x="3864004" y="4827812"/>
            <a:ext cx="3504231" cy="430887"/>
          </a:xfrm>
          <a:prstGeom prst="rect">
            <a:avLst/>
          </a:prstGeom>
          <a:noFill/>
          <a:ln>
            <a:noFill/>
          </a:ln>
        </p:spPr>
        <p:txBody>
          <a:bodyPr wrap="square" lIns="0" tIns="0" rIns="0" bIns="0" anchor="t">
            <a:spAutoFit/>
          </a:bodyPr>
          <a:lstStyle/>
          <a:p>
            <a:pPr algn="ctr"/>
            <a:r>
              <a:rPr sz="1400">
                <a:solidFill>
                  <a:srgbClr val="FFFFFF"/>
                </a:solidFill>
                <a:latin typeface="Arial"/>
              </a:rPr>
              <a:t>Integrates with
external tools</a:t>
            </a:r>
          </a:p>
        </p:txBody>
      </p:sp>
      <p:sp>
        <p:nvSpPr>
          <p:cNvPr id="70" name="TextBox 69">
            <a:extLst>
              <a:ext uri="{FF2B5EF4-FFF2-40B4-BE49-F238E27FC236}">
                <a16:creationId xmlns:a16="http://schemas.microsoft.com/office/drawing/2014/main" id="{FED92241-7C37-BB34-ABBE-6E6EA41ABF8D}"/>
              </a:ext>
            </a:extLst>
          </p:cNvPr>
          <p:cNvSpPr txBox="1"/>
          <p:nvPr/>
        </p:nvSpPr>
        <p:spPr>
          <a:xfrm>
            <a:off x="7536613" y="1205105"/>
            <a:ext cx="4064145" cy="276999"/>
          </a:xfrm>
          <a:prstGeom prst="rect">
            <a:avLst/>
          </a:prstGeom>
          <a:solidFill>
            <a:srgbClr val="7030A0"/>
          </a:solidFill>
          <a:ln>
            <a:noFill/>
          </a:ln>
        </p:spPr>
        <p:txBody>
          <a:bodyPr wrap="square" lIns="0" tIns="0" rIns="0" bIns="0" anchor="t">
            <a:spAutoFit/>
          </a:bodyPr>
          <a:lstStyle/>
          <a:p>
            <a:pPr algn="ctr"/>
            <a:r>
              <a:rPr lang="en-US" b="1">
                <a:solidFill>
                  <a:srgbClr val="FFFFFF"/>
                </a:solidFill>
                <a:latin typeface="Arial"/>
              </a:rPr>
              <a:t>Traditional AI models/</a:t>
            </a:r>
            <a:r>
              <a:rPr b="1">
                <a:solidFill>
                  <a:srgbClr val="FFFFFF"/>
                </a:solidFill>
                <a:latin typeface="Arial"/>
              </a:rPr>
              <a:t>Chatbot</a:t>
            </a:r>
          </a:p>
        </p:txBody>
      </p:sp>
      <p:sp>
        <p:nvSpPr>
          <p:cNvPr id="71" name="TextBox 70">
            <a:extLst>
              <a:ext uri="{FF2B5EF4-FFF2-40B4-BE49-F238E27FC236}">
                <a16:creationId xmlns:a16="http://schemas.microsoft.com/office/drawing/2014/main" id="{166C9ADF-4701-F03B-ABA5-7360C2AC1B2D}"/>
              </a:ext>
            </a:extLst>
          </p:cNvPr>
          <p:cNvSpPr txBox="1"/>
          <p:nvPr/>
        </p:nvSpPr>
        <p:spPr>
          <a:xfrm>
            <a:off x="7536613" y="4827812"/>
            <a:ext cx="4064146" cy="430887"/>
          </a:xfrm>
          <a:prstGeom prst="rect">
            <a:avLst/>
          </a:prstGeom>
          <a:noFill/>
          <a:ln>
            <a:noFill/>
          </a:ln>
        </p:spPr>
        <p:txBody>
          <a:bodyPr wrap="square" lIns="0" tIns="0" rIns="0" bIns="0" anchor="t">
            <a:spAutoFit/>
          </a:bodyPr>
          <a:lstStyle/>
          <a:p>
            <a:pPr algn="ctr"/>
            <a:r>
              <a:rPr sz="1400">
                <a:solidFill>
                  <a:srgbClr val="FFFFFF"/>
                </a:solidFill>
                <a:latin typeface="Arial"/>
              </a:rPr>
              <a:t>Limited to training
data</a:t>
            </a:r>
          </a:p>
        </p:txBody>
      </p:sp>
      <p:sp>
        <p:nvSpPr>
          <p:cNvPr id="72" name="TextBox 71">
            <a:extLst>
              <a:ext uri="{FF2B5EF4-FFF2-40B4-BE49-F238E27FC236}">
                <a16:creationId xmlns:a16="http://schemas.microsoft.com/office/drawing/2014/main" id="{9E23EC65-CAE3-B1FF-8A2D-8E3A2EAA9675}"/>
              </a:ext>
            </a:extLst>
          </p:cNvPr>
          <p:cNvSpPr txBox="1"/>
          <p:nvPr/>
        </p:nvSpPr>
        <p:spPr>
          <a:xfrm>
            <a:off x="3852348" y="1205105"/>
            <a:ext cx="3515888" cy="276999"/>
          </a:xfrm>
          <a:prstGeom prst="rect">
            <a:avLst/>
          </a:prstGeom>
          <a:solidFill>
            <a:srgbClr val="7030A0"/>
          </a:solidFill>
          <a:ln>
            <a:noFill/>
          </a:ln>
        </p:spPr>
        <p:txBody>
          <a:bodyPr wrap="square" lIns="0" tIns="0" rIns="0" bIns="0" anchor="t">
            <a:spAutoFit/>
          </a:bodyPr>
          <a:lstStyle/>
          <a:p>
            <a:pPr algn="ctr"/>
            <a:r>
              <a:rPr b="1">
                <a:solidFill>
                  <a:srgbClr val="FFFFFF"/>
                </a:solidFill>
                <a:latin typeface="Arial"/>
              </a:rPr>
              <a:t>AI Agent</a:t>
            </a:r>
          </a:p>
        </p:txBody>
      </p:sp>
      <p:sp>
        <p:nvSpPr>
          <p:cNvPr id="73" name="TextBox 72">
            <a:extLst>
              <a:ext uri="{FF2B5EF4-FFF2-40B4-BE49-F238E27FC236}">
                <a16:creationId xmlns:a16="http://schemas.microsoft.com/office/drawing/2014/main" id="{30A0FEB9-18B7-E26B-BF54-AECD4BB0F969}"/>
              </a:ext>
            </a:extLst>
          </p:cNvPr>
          <p:cNvSpPr txBox="1"/>
          <p:nvPr/>
        </p:nvSpPr>
        <p:spPr>
          <a:xfrm>
            <a:off x="1531873" y="5780917"/>
            <a:ext cx="916152" cy="215444"/>
          </a:xfrm>
          <a:prstGeom prst="rect">
            <a:avLst/>
          </a:prstGeom>
          <a:noFill/>
          <a:ln>
            <a:noFill/>
          </a:ln>
        </p:spPr>
        <p:txBody>
          <a:bodyPr wrap="square" lIns="0" tIns="0" rIns="0" bIns="0" anchor="t">
            <a:spAutoFit/>
          </a:bodyPr>
          <a:lstStyle/>
          <a:p>
            <a:pPr algn="l"/>
            <a:r>
              <a:rPr sz="1400" b="1">
                <a:solidFill>
                  <a:srgbClr val="FFFFFF"/>
                </a:solidFill>
                <a:latin typeface="Arial"/>
              </a:rPr>
              <a:t>Example</a:t>
            </a:r>
          </a:p>
        </p:txBody>
      </p:sp>
      <p:sp>
        <p:nvSpPr>
          <p:cNvPr id="74" name="TextBox 73">
            <a:extLst>
              <a:ext uri="{FF2B5EF4-FFF2-40B4-BE49-F238E27FC236}">
                <a16:creationId xmlns:a16="http://schemas.microsoft.com/office/drawing/2014/main" id="{50AE1D93-7449-6053-0D03-FD2BC3C632A0}"/>
              </a:ext>
            </a:extLst>
          </p:cNvPr>
          <p:cNvSpPr txBox="1"/>
          <p:nvPr/>
        </p:nvSpPr>
        <p:spPr>
          <a:xfrm>
            <a:off x="795775" y="1212981"/>
            <a:ext cx="2888195" cy="276999"/>
          </a:xfrm>
          <a:prstGeom prst="rect">
            <a:avLst/>
          </a:prstGeom>
          <a:solidFill>
            <a:srgbClr val="7030A0"/>
          </a:solidFill>
          <a:ln>
            <a:noFill/>
          </a:ln>
        </p:spPr>
        <p:txBody>
          <a:bodyPr wrap="square" lIns="0" tIns="0" rIns="0" bIns="0" anchor="t">
            <a:spAutoFit/>
          </a:bodyPr>
          <a:lstStyle/>
          <a:p>
            <a:pPr algn="ctr"/>
            <a:r>
              <a:rPr b="1">
                <a:solidFill>
                  <a:srgbClr val="FFFFFF"/>
                </a:solidFill>
                <a:latin typeface="Arial"/>
              </a:rPr>
              <a:t>Characteristic</a:t>
            </a:r>
          </a:p>
        </p:txBody>
      </p:sp>
      <p:sp>
        <p:nvSpPr>
          <p:cNvPr id="75" name="TextBox 74">
            <a:extLst>
              <a:ext uri="{FF2B5EF4-FFF2-40B4-BE49-F238E27FC236}">
                <a16:creationId xmlns:a16="http://schemas.microsoft.com/office/drawing/2014/main" id="{FF469945-4A3F-B9A5-EDAF-35226C91B3F5}"/>
              </a:ext>
            </a:extLst>
          </p:cNvPr>
          <p:cNvSpPr txBox="1"/>
          <p:nvPr/>
        </p:nvSpPr>
        <p:spPr>
          <a:xfrm>
            <a:off x="3864004" y="5696492"/>
            <a:ext cx="3504231" cy="430887"/>
          </a:xfrm>
          <a:prstGeom prst="rect">
            <a:avLst/>
          </a:prstGeom>
          <a:noFill/>
          <a:ln>
            <a:noFill/>
          </a:ln>
        </p:spPr>
        <p:txBody>
          <a:bodyPr wrap="square" lIns="0" tIns="0" rIns="0" bIns="0" anchor="t">
            <a:spAutoFit/>
          </a:bodyPr>
          <a:lstStyle/>
          <a:p>
            <a:pPr algn="ctr"/>
            <a:r>
              <a:rPr sz="1400">
                <a:solidFill>
                  <a:srgbClr val="FFFFFF"/>
                </a:solidFill>
                <a:latin typeface="Arial"/>
              </a:rPr>
              <a:t>Completes purchase
independently</a:t>
            </a:r>
          </a:p>
        </p:txBody>
      </p:sp>
      <p:sp>
        <p:nvSpPr>
          <p:cNvPr id="77" name="TextBox 76">
            <a:extLst>
              <a:ext uri="{FF2B5EF4-FFF2-40B4-BE49-F238E27FC236}">
                <a16:creationId xmlns:a16="http://schemas.microsoft.com/office/drawing/2014/main" id="{A209FFF1-B993-598A-67A0-F5DC18EEA2F8}"/>
              </a:ext>
            </a:extLst>
          </p:cNvPr>
          <p:cNvSpPr txBox="1"/>
          <p:nvPr/>
        </p:nvSpPr>
        <p:spPr>
          <a:xfrm>
            <a:off x="3852348" y="3959133"/>
            <a:ext cx="3515888" cy="430887"/>
          </a:xfrm>
          <a:prstGeom prst="rect">
            <a:avLst/>
          </a:prstGeom>
          <a:noFill/>
          <a:ln>
            <a:noFill/>
          </a:ln>
        </p:spPr>
        <p:txBody>
          <a:bodyPr wrap="square" lIns="0" tIns="0" rIns="0" bIns="0" anchor="t">
            <a:spAutoFit/>
          </a:bodyPr>
          <a:lstStyle/>
          <a:p>
            <a:pPr algn="ctr"/>
            <a:r>
              <a:rPr sz="1400">
                <a:solidFill>
                  <a:srgbClr val="FFFFFF"/>
                </a:solidFill>
                <a:latin typeface="Arial"/>
              </a:rPr>
              <a:t>Adapts and
improves over time</a:t>
            </a:r>
          </a:p>
        </p:txBody>
      </p:sp>
      <p:sp>
        <p:nvSpPr>
          <p:cNvPr id="78" name="Rounded Rectangle 74">
            <a:extLst>
              <a:ext uri="{FF2B5EF4-FFF2-40B4-BE49-F238E27FC236}">
                <a16:creationId xmlns:a16="http://schemas.microsoft.com/office/drawing/2014/main" id="{F37C7D2F-D91B-A127-DBB4-8B54FFB2446B}"/>
              </a:ext>
            </a:extLst>
          </p:cNvPr>
          <p:cNvSpPr/>
          <p:nvPr/>
        </p:nvSpPr>
        <p:spPr>
          <a:xfrm>
            <a:off x="891593" y="3098895"/>
            <a:ext cx="325755" cy="405383"/>
          </a:xfrm>
          <a:custGeom>
            <a:avLst/>
            <a:gdLst/>
            <a:ahLst/>
            <a:cxnLst/>
            <a:rect l="0" t="0" r="0" b="0"/>
            <a:pathLst>
              <a:path w="219131" h="272696">
                <a:moveTo>
                  <a:pt x="154609" y="46261"/>
                </a:moveTo>
                <a:lnTo>
                  <a:pt x="200870" y="46261"/>
                </a:lnTo>
                <a:cubicBezTo>
                  <a:pt x="210609" y="46261"/>
                  <a:pt x="219131" y="54782"/>
                  <a:pt x="219131" y="64522"/>
                </a:cubicBezTo>
                <a:lnTo>
                  <a:pt x="219131" y="254435"/>
                </a:lnTo>
                <a:cubicBezTo>
                  <a:pt x="219131" y="264174"/>
                  <a:pt x="210609" y="272696"/>
                  <a:pt x="200870" y="272696"/>
                </a:cubicBezTo>
                <a:lnTo>
                  <a:pt x="18260" y="272696"/>
                </a:lnTo>
                <a:cubicBezTo>
                  <a:pt x="8521" y="272696"/>
                  <a:pt x="0" y="264174"/>
                  <a:pt x="0" y="254435"/>
                </a:cubicBezTo>
                <a:lnTo>
                  <a:pt x="0" y="64522"/>
                </a:lnTo>
                <a:cubicBezTo>
                  <a:pt x="0" y="54782"/>
                  <a:pt x="8521" y="46261"/>
                  <a:pt x="18260" y="46261"/>
                </a:cubicBezTo>
                <a:lnTo>
                  <a:pt x="64521" y="46261"/>
                </a:lnTo>
                <a:cubicBezTo>
                  <a:pt x="64521" y="20695"/>
                  <a:pt x="85217" y="0"/>
                  <a:pt x="110783" y="0"/>
                </a:cubicBezTo>
                <a:cubicBezTo>
                  <a:pt x="135131" y="1217"/>
                  <a:pt x="154609" y="20695"/>
                  <a:pt x="154609" y="46261"/>
                </a:cubicBezTo>
                <a:close/>
                <a:moveTo>
                  <a:pt x="109565" y="36521"/>
                </a:moveTo>
                <a:cubicBezTo>
                  <a:pt x="107130" y="36521"/>
                  <a:pt x="104696" y="37739"/>
                  <a:pt x="104696" y="41391"/>
                </a:cubicBezTo>
                <a:cubicBezTo>
                  <a:pt x="104696" y="43826"/>
                  <a:pt x="107130" y="46261"/>
                  <a:pt x="109565" y="46261"/>
                </a:cubicBezTo>
                <a:moveTo>
                  <a:pt x="109564" y="46261"/>
                </a:moveTo>
                <a:cubicBezTo>
                  <a:pt x="111999" y="46261"/>
                  <a:pt x="114434" y="43826"/>
                  <a:pt x="114434" y="41391"/>
                </a:cubicBezTo>
                <a:cubicBezTo>
                  <a:pt x="114434" y="37739"/>
                  <a:pt x="111999" y="36521"/>
                  <a:pt x="109564" y="36521"/>
                </a:cubicBezTo>
                <a:moveTo>
                  <a:pt x="56001" y="233740"/>
                </a:moveTo>
                <a:cubicBezTo>
                  <a:pt x="68175" y="217913"/>
                  <a:pt x="87653" y="208174"/>
                  <a:pt x="109566" y="208174"/>
                </a:cubicBezTo>
                <a:cubicBezTo>
                  <a:pt x="131480" y="208174"/>
                  <a:pt x="150958" y="217913"/>
                  <a:pt x="163132" y="233740"/>
                </a:cubicBezTo>
                <a:moveTo>
                  <a:pt x="147303" y="153391"/>
                </a:moveTo>
                <a:lnTo>
                  <a:pt x="147303" y="135130"/>
                </a:lnTo>
                <a:cubicBezTo>
                  <a:pt x="147303" y="114435"/>
                  <a:pt x="130260" y="97391"/>
                  <a:pt x="109564" y="97391"/>
                </a:cubicBezTo>
                <a:cubicBezTo>
                  <a:pt x="88868" y="97391"/>
                  <a:pt x="71825" y="114435"/>
                  <a:pt x="71825" y="135130"/>
                </a:cubicBezTo>
                <a:lnTo>
                  <a:pt x="71825" y="153391"/>
                </a:lnTo>
                <a:cubicBezTo>
                  <a:pt x="71825" y="174087"/>
                  <a:pt x="88868" y="191131"/>
                  <a:pt x="109564" y="191131"/>
                </a:cubicBezTo>
                <a:cubicBezTo>
                  <a:pt x="130260" y="191131"/>
                  <a:pt x="147303" y="174087"/>
                  <a:pt x="147303" y="153391"/>
                </a:cubicBezTo>
                <a:close/>
                <a:moveTo>
                  <a:pt x="54782" y="140000"/>
                </a:moveTo>
                <a:lnTo>
                  <a:pt x="164348" y="140000"/>
                </a:lnTo>
                <a:moveTo>
                  <a:pt x="109565" y="81565"/>
                </a:moveTo>
                <a:lnTo>
                  <a:pt x="109565" y="109565"/>
                </a:lnTo>
              </a:path>
            </a:pathLst>
          </a:custGeom>
          <a:noFill/>
          <a:ln w="6086">
            <a:solidFill>
              <a:srgbClr val="FFFFFF"/>
            </a:solidFill>
          </a:ln>
        </p:spPr>
        <p:txBody>
          <a:bodyPr rtlCol="0" anchor="ctr"/>
          <a:lstStyle/>
          <a:p>
            <a:pPr algn="ctr"/>
            <a:endParaRPr sz="3200"/>
          </a:p>
        </p:txBody>
      </p:sp>
      <p:sp>
        <p:nvSpPr>
          <p:cNvPr id="79" name="Rounded Rectangle 75">
            <a:extLst>
              <a:ext uri="{FF2B5EF4-FFF2-40B4-BE49-F238E27FC236}">
                <a16:creationId xmlns:a16="http://schemas.microsoft.com/office/drawing/2014/main" id="{2FF194BE-7C1C-F663-1B63-6BC1AF6B5A03}"/>
              </a:ext>
            </a:extLst>
          </p:cNvPr>
          <p:cNvSpPr/>
          <p:nvPr/>
        </p:nvSpPr>
        <p:spPr>
          <a:xfrm>
            <a:off x="846349" y="3962436"/>
            <a:ext cx="416242" cy="416639"/>
          </a:xfrm>
          <a:custGeom>
            <a:avLst/>
            <a:gdLst/>
            <a:ahLst/>
            <a:cxnLst/>
            <a:rect l="0" t="0" r="0" b="0"/>
            <a:pathLst>
              <a:path w="280001" h="280268">
                <a:moveTo>
                  <a:pt x="109565" y="0"/>
                </a:moveTo>
                <a:lnTo>
                  <a:pt x="109565" y="36521"/>
                </a:lnTo>
                <a:moveTo>
                  <a:pt x="48695" y="194783"/>
                </a:moveTo>
                <a:lnTo>
                  <a:pt x="12173" y="194783"/>
                </a:lnTo>
                <a:cubicBezTo>
                  <a:pt x="5450" y="194783"/>
                  <a:pt x="0" y="189332"/>
                  <a:pt x="0" y="182609"/>
                </a:cubicBezTo>
                <a:lnTo>
                  <a:pt x="0" y="60869"/>
                </a:lnTo>
                <a:cubicBezTo>
                  <a:pt x="0" y="54146"/>
                  <a:pt x="5450" y="48695"/>
                  <a:pt x="12173" y="48695"/>
                </a:cubicBezTo>
                <a:lnTo>
                  <a:pt x="79130" y="48695"/>
                </a:lnTo>
                <a:moveTo>
                  <a:pt x="140000" y="48695"/>
                </a:moveTo>
                <a:lnTo>
                  <a:pt x="206957" y="48695"/>
                </a:lnTo>
                <a:cubicBezTo>
                  <a:pt x="213680" y="48695"/>
                  <a:pt x="219131" y="54146"/>
                  <a:pt x="219131" y="60869"/>
                </a:cubicBezTo>
                <a:lnTo>
                  <a:pt x="219131" y="151784"/>
                </a:lnTo>
                <a:moveTo>
                  <a:pt x="63475" y="206957"/>
                </a:moveTo>
                <a:lnTo>
                  <a:pt x="42608" y="280001"/>
                </a:lnTo>
                <a:moveTo>
                  <a:pt x="140000" y="48695"/>
                </a:moveTo>
                <a:cubicBezTo>
                  <a:pt x="140000" y="41972"/>
                  <a:pt x="134550" y="36521"/>
                  <a:pt x="127826" y="36521"/>
                </a:cubicBezTo>
                <a:lnTo>
                  <a:pt x="91304" y="36521"/>
                </a:lnTo>
                <a:cubicBezTo>
                  <a:pt x="84581" y="36521"/>
                  <a:pt x="79130" y="41972"/>
                  <a:pt x="79130" y="48695"/>
                </a:cubicBezTo>
                <a:cubicBezTo>
                  <a:pt x="79130" y="55419"/>
                  <a:pt x="84581" y="60869"/>
                  <a:pt x="91304" y="60869"/>
                </a:cubicBezTo>
                <a:lnTo>
                  <a:pt x="127826" y="60869"/>
                </a:lnTo>
                <a:cubicBezTo>
                  <a:pt x="134550" y="60869"/>
                  <a:pt x="140000" y="55419"/>
                  <a:pt x="140000" y="48695"/>
                </a:cubicBezTo>
                <a:close/>
                <a:moveTo>
                  <a:pt x="115275" y="182609"/>
                </a:moveTo>
                <a:lnTo>
                  <a:pt x="60869" y="182609"/>
                </a:lnTo>
                <a:cubicBezTo>
                  <a:pt x="54146" y="182609"/>
                  <a:pt x="48695" y="188059"/>
                  <a:pt x="48695" y="194783"/>
                </a:cubicBezTo>
                <a:lnTo>
                  <a:pt x="48695" y="200870"/>
                </a:lnTo>
                <a:cubicBezTo>
                  <a:pt x="48695" y="204232"/>
                  <a:pt x="51421" y="206957"/>
                  <a:pt x="54782" y="206957"/>
                </a:cubicBezTo>
                <a:lnTo>
                  <a:pt x="85595" y="206957"/>
                </a:lnTo>
                <a:moveTo>
                  <a:pt x="194783" y="171129"/>
                </a:moveTo>
                <a:lnTo>
                  <a:pt x="109565" y="204973"/>
                </a:lnTo>
                <a:lnTo>
                  <a:pt x="194783" y="235042"/>
                </a:lnTo>
                <a:lnTo>
                  <a:pt x="280001" y="204973"/>
                </a:lnTo>
                <a:lnTo>
                  <a:pt x="194783" y="171129"/>
                </a:lnTo>
                <a:close/>
                <a:moveTo>
                  <a:pt x="109565" y="204973"/>
                </a:moveTo>
                <a:lnTo>
                  <a:pt x="109565" y="249566"/>
                </a:lnTo>
                <a:moveTo>
                  <a:pt x="146087" y="217865"/>
                </a:moveTo>
                <a:lnTo>
                  <a:pt x="146087" y="256261"/>
                </a:lnTo>
                <a:cubicBezTo>
                  <a:pt x="146071" y="260009"/>
                  <a:pt x="148344" y="263386"/>
                  <a:pt x="151821" y="264783"/>
                </a:cubicBezTo>
                <a:lnTo>
                  <a:pt x="191386" y="279392"/>
                </a:lnTo>
                <a:cubicBezTo>
                  <a:pt x="193566" y="280268"/>
                  <a:pt x="196000" y="280268"/>
                  <a:pt x="198179" y="279392"/>
                </a:cubicBezTo>
                <a:lnTo>
                  <a:pt x="237745" y="264783"/>
                </a:lnTo>
                <a:cubicBezTo>
                  <a:pt x="241222" y="263386"/>
                  <a:pt x="243494" y="260009"/>
                  <a:pt x="243479" y="256261"/>
                </a:cubicBezTo>
                <a:lnTo>
                  <a:pt x="243479" y="217865"/>
                </a:lnTo>
              </a:path>
            </a:pathLst>
          </a:custGeom>
          <a:noFill/>
          <a:ln w="6086">
            <a:solidFill>
              <a:srgbClr val="FFFFFF"/>
            </a:solidFill>
          </a:ln>
        </p:spPr>
        <p:txBody>
          <a:bodyPr rtlCol="0" anchor="ctr"/>
          <a:lstStyle/>
          <a:p>
            <a:pPr algn="ctr"/>
            <a:endParaRPr sz="3200"/>
          </a:p>
        </p:txBody>
      </p:sp>
      <p:sp>
        <p:nvSpPr>
          <p:cNvPr id="80" name="Rounded Rectangle 76">
            <a:extLst>
              <a:ext uri="{FF2B5EF4-FFF2-40B4-BE49-F238E27FC236}">
                <a16:creationId xmlns:a16="http://schemas.microsoft.com/office/drawing/2014/main" id="{3C1C4FFD-78F2-BCCF-A39A-91514A934F3A}"/>
              </a:ext>
            </a:extLst>
          </p:cNvPr>
          <p:cNvSpPr/>
          <p:nvPr/>
        </p:nvSpPr>
        <p:spPr>
          <a:xfrm>
            <a:off x="826029" y="4810500"/>
            <a:ext cx="456882" cy="436568"/>
          </a:xfrm>
          <a:custGeom>
            <a:avLst/>
            <a:gdLst/>
            <a:ahLst/>
            <a:cxnLst/>
            <a:rect l="0" t="0" r="0" b="0"/>
            <a:pathLst>
              <a:path w="307339" h="293674">
                <a:moveTo>
                  <a:pt x="117147" y="159748"/>
                </a:moveTo>
                <a:cubicBezTo>
                  <a:pt x="117147" y="179919"/>
                  <a:pt x="133499" y="196270"/>
                  <a:pt x="153669" y="196270"/>
                </a:cubicBezTo>
                <a:cubicBezTo>
                  <a:pt x="173840" y="196270"/>
                  <a:pt x="190191" y="179919"/>
                  <a:pt x="190191" y="159748"/>
                </a:cubicBezTo>
                <a:cubicBezTo>
                  <a:pt x="190191" y="139578"/>
                  <a:pt x="173840" y="123227"/>
                  <a:pt x="153669" y="123227"/>
                </a:cubicBezTo>
                <a:cubicBezTo>
                  <a:pt x="133499" y="123227"/>
                  <a:pt x="117147" y="139578"/>
                  <a:pt x="117147" y="159748"/>
                </a:cubicBezTo>
                <a:close/>
                <a:moveTo>
                  <a:pt x="208452" y="293674"/>
                </a:moveTo>
                <a:cubicBezTo>
                  <a:pt x="204654" y="252380"/>
                  <a:pt x="181268" y="220630"/>
                  <a:pt x="153669" y="220630"/>
                </a:cubicBezTo>
                <a:cubicBezTo>
                  <a:pt x="126071" y="220630"/>
                  <a:pt x="102685" y="252380"/>
                  <a:pt x="98886" y="293674"/>
                </a:cubicBezTo>
                <a:close/>
                <a:moveTo>
                  <a:pt x="89147" y="218196"/>
                </a:moveTo>
                <a:cubicBezTo>
                  <a:pt x="53458" y="182551"/>
                  <a:pt x="53434" y="124719"/>
                  <a:pt x="89094" y="89045"/>
                </a:cubicBezTo>
                <a:cubicBezTo>
                  <a:pt x="124753" y="53370"/>
                  <a:pt x="182585" y="53370"/>
                  <a:pt x="218245" y="89045"/>
                </a:cubicBezTo>
                <a:cubicBezTo>
                  <a:pt x="253905" y="124719"/>
                  <a:pt x="253881" y="182551"/>
                  <a:pt x="218191" y="218196"/>
                </a:cubicBezTo>
                <a:moveTo>
                  <a:pt x="252668" y="252660"/>
                </a:moveTo>
                <a:cubicBezTo>
                  <a:pt x="307339" y="197986"/>
                  <a:pt x="307337" y="109344"/>
                  <a:pt x="252663" y="54672"/>
                </a:cubicBezTo>
                <a:cubicBezTo>
                  <a:pt x="197990" y="0"/>
                  <a:pt x="109348" y="0"/>
                  <a:pt x="54675" y="54672"/>
                </a:cubicBezTo>
                <a:cubicBezTo>
                  <a:pt x="1" y="109344"/>
                  <a:pt x="0" y="197986"/>
                  <a:pt x="54670" y="252660"/>
                </a:cubicBezTo>
              </a:path>
            </a:pathLst>
          </a:custGeom>
          <a:noFill/>
          <a:ln w="6086">
            <a:solidFill>
              <a:srgbClr val="FFFFFF"/>
            </a:solidFill>
          </a:ln>
        </p:spPr>
        <p:txBody>
          <a:bodyPr rtlCol="0" anchor="ctr"/>
          <a:lstStyle/>
          <a:p>
            <a:pPr algn="ctr"/>
            <a:endParaRPr sz="3200"/>
          </a:p>
        </p:txBody>
      </p:sp>
      <p:sp>
        <p:nvSpPr>
          <p:cNvPr id="81" name="Rounded Rectangle 77">
            <a:extLst>
              <a:ext uri="{FF2B5EF4-FFF2-40B4-BE49-F238E27FC236}">
                <a16:creationId xmlns:a16="http://schemas.microsoft.com/office/drawing/2014/main" id="{82940C73-1757-FA85-A05E-754E733F86A8}"/>
              </a:ext>
            </a:extLst>
          </p:cNvPr>
          <p:cNvSpPr/>
          <p:nvPr/>
        </p:nvSpPr>
        <p:spPr>
          <a:xfrm>
            <a:off x="872555" y="2080007"/>
            <a:ext cx="363832" cy="416242"/>
          </a:xfrm>
          <a:custGeom>
            <a:avLst/>
            <a:gdLst/>
            <a:ahLst/>
            <a:cxnLst/>
            <a:rect l="0" t="0" r="0" b="0"/>
            <a:pathLst>
              <a:path w="244745" h="280001">
                <a:moveTo>
                  <a:pt x="135094" y="117478"/>
                </a:moveTo>
                <a:lnTo>
                  <a:pt x="138381" y="140414"/>
                </a:lnTo>
                <a:cubicBezTo>
                  <a:pt x="139049" y="145145"/>
                  <a:pt x="141636" y="149392"/>
                  <a:pt x="145533" y="152156"/>
                </a:cubicBezTo>
                <a:cubicBezTo>
                  <a:pt x="149430" y="154920"/>
                  <a:pt x="154294" y="155957"/>
                  <a:pt x="158979" y="155023"/>
                </a:cubicBezTo>
                <a:lnTo>
                  <a:pt x="158979" y="155023"/>
                </a:lnTo>
                <a:cubicBezTo>
                  <a:pt x="165859" y="153646"/>
                  <a:pt x="171237" y="148268"/>
                  <a:pt x="172614" y="141388"/>
                </a:cubicBezTo>
                <a:lnTo>
                  <a:pt x="179054" y="109188"/>
                </a:lnTo>
                <a:cubicBezTo>
                  <a:pt x="181035" y="99300"/>
                  <a:pt x="179970" y="89045"/>
                  <a:pt x="175999" y="79775"/>
                </a:cubicBezTo>
                <a:lnTo>
                  <a:pt x="164470" y="52895"/>
                </a:lnTo>
                <a:lnTo>
                  <a:pt x="182098" y="35304"/>
                </a:lnTo>
                <a:moveTo>
                  <a:pt x="146842" y="0"/>
                </a:moveTo>
                <a:lnTo>
                  <a:pt x="107094" y="39760"/>
                </a:lnTo>
                <a:cubicBezTo>
                  <a:pt x="71242" y="77610"/>
                  <a:pt x="61881" y="133401"/>
                  <a:pt x="83416" y="180880"/>
                </a:cubicBezTo>
                <a:moveTo>
                  <a:pt x="179931" y="96381"/>
                </a:moveTo>
                <a:lnTo>
                  <a:pt x="244745" y="160562"/>
                </a:lnTo>
                <a:lnTo>
                  <a:pt x="125866" y="279441"/>
                </a:lnTo>
                <a:lnTo>
                  <a:pt x="97903" y="280001"/>
                </a:lnTo>
                <a:lnTo>
                  <a:pt x="41111" y="223221"/>
                </a:lnTo>
                <a:lnTo>
                  <a:pt x="136567" y="127765"/>
                </a:lnTo>
                <a:moveTo>
                  <a:pt x="0" y="279721"/>
                </a:moveTo>
                <a:lnTo>
                  <a:pt x="223769" y="279721"/>
                </a:lnTo>
              </a:path>
            </a:pathLst>
          </a:custGeom>
          <a:noFill/>
          <a:ln w="6086">
            <a:solidFill>
              <a:srgbClr val="FFFFFF"/>
            </a:solidFill>
          </a:ln>
        </p:spPr>
        <p:txBody>
          <a:bodyPr rtlCol="0" anchor="ctr"/>
          <a:lstStyle/>
          <a:p>
            <a:pPr algn="ctr"/>
            <a:endParaRPr sz="3200"/>
          </a:p>
        </p:txBody>
      </p:sp>
      <p:sp>
        <p:nvSpPr>
          <p:cNvPr id="82" name="Rounded Rectangle 78">
            <a:extLst>
              <a:ext uri="{FF2B5EF4-FFF2-40B4-BE49-F238E27FC236}">
                <a16:creationId xmlns:a16="http://schemas.microsoft.com/office/drawing/2014/main" id="{46D8AE50-D822-B4C3-7B4C-9D9FC22890AE}"/>
              </a:ext>
            </a:extLst>
          </p:cNvPr>
          <p:cNvSpPr/>
          <p:nvPr/>
        </p:nvSpPr>
        <p:spPr>
          <a:xfrm>
            <a:off x="860898" y="5724447"/>
            <a:ext cx="387144" cy="391518"/>
          </a:xfrm>
          <a:custGeom>
            <a:avLst/>
            <a:gdLst/>
            <a:ahLst/>
            <a:cxnLst/>
            <a:rect l="0" t="0" r="0" b="0"/>
            <a:pathLst>
              <a:path w="260427" h="263369">
                <a:moveTo>
                  <a:pt x="258685" y="252037"/>
                </a:moveTo>
                <a:cubicBezTo>
                  <a:pt x="260321" y="254310"/>
                  <a:pt x="260427" y="257345"/>
                  <a:pt x="258954" y="259727"/>
                </a:cubicBezTo>
                <a:cubicBezTo>
                  <a:pt x="257480" y="262109"/>
                  <a:pt x="254717" y="263369"/>
                  <a:pt x="251953" y="262921"/>
                </a:cubicBezTo>
                <a:lnTo>
                  <a:pt x="8474" y="262921"/>
                </a:lnTo>
                <a:cubicBezTo>
                  <a:pt x="5709" y="263369"/>
                  <a:pt x="2946" y="262109"/>
                  <a:pt x="1473" y="259727"/>
                </a:cubicBezTo>
                <a:cubicBezTo>
                  <a:pt x="0" y="257345"/>
                  <a:pt x="105" y="254310"/>
                  <a:pt x="1741" y="252037"/>
                </a:cubicBezTo>
                <a:lnTo>
                  <a:pt x="124771" y="5989"/>
                </a:lnTo>
                <a:cubicBezTo>
                  <a:pt x="127766" y="0"/>
                  <a:pt x="132660" y="0"/>
                  <a:pt x="135655" y="5989"/>
                </a:cubicBezTo>
                <a:close/>
                <a:moveTo>
                  <a:pt x="130213" y="183839"/>
                </a:moveTo>
                <a:lnTo>
                  <a:pt x="130213" y="98621"/>
                </a:lnTo>
                <a:moveTo>
                  <a:pt x="130104" y="208186"/>
                </a:moveTo>
                <a:cubicBezTo>
                  <a:pt x="129301" y="208202"/>
                  <a:pt x="128538" y="208540"/>
                  <a:pt x="127986" y="209124"/>
                </a:cubicBezTo>
                <a:cubicBezTo>
                  <a:pt x="127434" y="209707"/>
                  <a:pt x="127140" y="210488"/>
                  <a:pt x="127170" y="211291"/>
                </a:cubicBezTo>
                <a:cubicBezTo>
                  <a:pt x="127235" y="212953"/>
                  <a:pt x="128599" y="214268"/>
                  <a:pt x="130262" y="214273"/>
                </a:cubicBezTo>
                <a:lnTo>
                  <a:pt x="130323" y="214273"/>
                </a:lnTo>
                <a:cubicBezTo>
                  <a:pt x="131126" y="214258"/>
                  <a:pt x="131889" y="213920"/>
                  <a:pt x="132440" y="213336"/>
                </a:cubicBezTo>
                <a:cubicBezTo>
                  <a:pt x="132992" y="212753"/>
                  <a:pt x="133286" y="211972"/>
                  <a:pt x="133257" y="211169"/>
                </a:cubicBezTo>
                <a:cubicBezTo>
                  <a:pt x="133192" y="209526"/>
                  <a:pt x="131858" y="208217"/>
                  <a:pt x="130213" y="208186"/>
                </a:cubicBezTo>
                <a:lnTo>
                  <a:pt x="130152" y="208186"/>
                </a:lnTo>
              </a:path>
            </a:pathLst>
          </a:custGeom>
          <a:noFill/>
          <a:ln w="6086">
            <a:solidFill>
              <a:srgbClr val="FFFFFF"/>
            </a:solidFill>
          </a:ln>
        </p:spPr>
        <p:txBody>
          <a:bodyPr rtlCol="0" anchor="ctr"/>
          <a:lstStyle/>
          <a:p>
            <a:pPr algn="ctr"/>
            <a:endParaRPr sz="3200"/>
          </a:p>
        </p:txBody>
      </p:sp>
    </p:spTree>
    <p:extLst>
      <p:ext uri="{BB962C8B-B14F-4D97-AF65-F5344CB8AC3E}">
        <p14:creationId xmlns:p14="http://schemas.microsoft.com/office/powerpoint/2010/main" val="140381004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B46770-289F-C863-355C-7DF5AE4585D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458E853-2BFA-7644-005E-297F5C4131CF}"/>
              </a:ext>
            </a:extLst>
          </p:cNvPr>
          <p:cNvSpPr>
            <a:spLocks noGrp="1"/>
          </p:cNvSpPr>
          <p:nvPr>
            <p:ph type="title" idx="4294967295"/>
          </p:nvPr>
        </p:nvSpPr>
        <p:spPr>
          <a:xfrm>
            <a:off x="497958" y="421897"/>
            <a:ext cx="11430000" cy="990600"/>
          </a:xfrm>
          <a:prstGeom prst="rect">
            <a:avLst/>
          </a:prstGeom>
        </p:spPr>
        <p:txBody>
          <a:bodyPr/>
          <a:lstStyle/>
          <a:p>
            <a:r>
              <a:rPr lang="en-US" sz="3200">
                <a:solidFill>
                  <a:schemeClr val="tx1"/>
                </a:solidFill>
              </a:rPr>
              <a:t>AI Adoption is Up, Cost Down, And Revenue Increase</a:t>
            </a:r>
          </a:p>
        </p:txBody>
      </p:sp>
      <p:sp>
        <p:nvSpPr>
          <p:cNvPr id="4" name="TextBox 3">
            <a:extLst>
              <a:ext uri="{FF2B5EF4-FFF2-40B4-BE49-F238E27FC236}">
                <a16:creationId xmlns:a16="http://schemas.microsoft.com/office/drawing/2014/main" id="{EB00F6EE-626D-5F99-3DFE-6516468E45B4}"/>
              </a:ext>
            </a:extLst>
          </p:cNvPr>
          <p:cNvSpPr txBox="1"/>
          <p:nvPr/>
        </p:nvSpPr>
        <p:spPr>
          <a:xfrm>
            <a:off x="1175657" y="5905500"/>
            <a:ext cx="1340662" cy="232751"/>
          </a:xfrm>
          <a:prstGeom prst="rect">
            <a:avLst/>
          </a:prstGeom>
          <a:noFill/>
        </p:spPr>
        <p:txBody>
          <a:bodyPr wrap="none" lIns="0" tIns="0" rIns="0" bIns="0" rtlCol="0">
            <a:noAutofit/>
          </a:bodyPr>
          <a:lstStyle/>
          <a:p>
            <a:pPr algn="l" defTabSz="228600">
              <a:spcAft>
                <a:spcPts val="1200"/>
              </a:spcAft>
            </a:pPr>
            <a:r>
              <a:rPr lang="en-US" sz="1100"/>
              <a:t>Source HAI AI Index</a:t>
            </a:r>
            <a:endParaRPr lang="en-US" sz="1100" noProof="0"/>
          </a:p>
        </p:txBody>
      </p:sp>
      <p:graphicFrame>
        <p:nvGraphicFramePr>
          <p:cNvPr id="3" name="Chart 2">
            <a:extLst>
              <a:ext uri="{FF2B5EF4-FFF2-40B4-BE49-F238E27FC236}">
                <a16:creationId xmlns:a16="http://schemas.microsoft.com/office/drawing/2014/main" id="{30DF7EA8-9F8E-B73D-FADE-7229E61EAF87}"/>
              </a:ext>
            </a:extLst>
          </p:cNvPr>
          <p:cNvGraphicFramePr/>
          <p:nvPr/>
        </p:nvGraphicFramePr>
        <p:xfrm>
          <a:off x="264042" y="1412497"/>
          <a:ext cx="7659821" cy="4244343"/>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a:extLst>
              <a:ext uri="{FF2B5EF4-FFF2-40B4-BE49-F238E27FC236}">
                <a16:creationId xmlns:a16="http://schemas.microsoft.com/office/drawing/2014/main" id="{AA110504-B08B-EBE5-7B47-2F3DEBC845B9}"/>
              </a:ext>
            </a:extLst>
          </p:cNvPr>
          <p:cNvSpPr txBox="1"/>
          <p:nvPr/>
        </p:nvSpPr>
        <p:spPr>
          <a:xfrm>
            <a:off x="8012936" y="2294152"/>
            <a:ext cx="3708990" cy="3362688"/>
          </a:xfrm>
          <a:prstGeom prst="rect">
            <a:avLst/>
          </a:prstGeom>
          <a:noFill/>
        </p:spPr>
        <p:txBody>
          <a:bodyPr wrap="square" lIns="0" tIns="0" rIns="0" bIns="0" rtlCol="0">
            <a:noAutofit/>
          </a:bodyPr>
          <a:lstStyle/>
          <a:p>
            <a:pPr marL="285750" indent="-285750" algn="l" defTabSz="228600">
              <a:spcAft>
                <a:spcPts val="1200"/>
              </a:spcAft>
              <a:buFont typeface="Arial" panose="020B0604020202020204" pitchFamily="34" charset="0"/>
              <a:buChar char="•"/>
            </a:pPr>
            <a:r>
              <a:rPr lang="en-US" sz="1400"/>
              <a:t>Organizations are reinventing existing work flows to accelerate decision loops and embed “always-on” intelligence into core operations</a:t>
            </a:r>
            <a:br>
              <a:rPr lang="en-US" sz="1400"/>
            </a:br>
            <a:endParaRPr lang="en-US" sz="1400"/>
          </a:p>
          <a:p>
            <a:pPr marL="285750" indent="-285750" algn="l" defTabSz="228600">
              <a:spcAft>
                <a:spcPts val="1200"/>
              </a:spcAft>
              <a:buFont typeface="Arial" panose="020B0604020202020204" pitchFamily="34" charset="0"/>
              <a:buChar char="•"/>
            </a:pPr>
            <a:r>
              <a:rPr lang="en-US" sz="1400"/>
              <a:t>Across industries, companies are enabling new capabilities from standing up semi-autonomous and autonomous agents to perform workflows that were’ feasible when costs were too high or reliability was too low.</a:t>
            </a:r>
            <a:br>
              <a:rPr lang="en-US" sz="1400"/>
            </a:br>
            <a:endParaRPr lang="en-US" sz="1400"/>
          </a:p>
          <a:p>
            <a:pPr marL="285750" indent="-285750" algn="l" defTabSz="228600">
              <a:spcAft>
                <a:spcPts val="1200"/>
              </a:spcAft>
              <a:buFont typeface="Arial" panose="020B0604020202020204" pitchFamily="34" charset="0"/>
              <a:buChar char="•"/>
            </a:pPr>
            <a:r>
              <a:rPr lang="en-US" sz="1400"/>
              <a:t>How do organizations transform from adoption and automation to Strategic Autonomy?</a:t>
            </a:r>
          </a:p>
          <a:p>
            <a:pPr algn="l" defTabSz="228600">
              <a:spcAft>
                <a:spcPts val="1200"/>
              </a:spcAft>
            </a:pPr>
            <a:endParaRPr lang="en-US" sz="1400" noProof="0"/>
          </a:p>
          <a:p>
            <a:pPr algn="l" defTabSz="228600">
              <a:spcAft>
                <a:spcPts val="1200"/>
              </a:spcAft>
            </a:pPr>
            <a:endParaRPr lang="en-US" sz="1400" noProof="0"/>
          </a:p>
        </p:txBody>
      </p:sp>
    </p:spTree>
    <p:extLst>
      <p:ext uri="{BB962C8B-B14F-4D97-AF65-F5344CB8AC3E}">
        <p14:creationId xmlns:p14="http://schemas.microsoft.com/office/powerpoint/2010/main" val="325634721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6A1827-8DC6-BFAA-08DD-68641DE9D899}"/>
              </a:ext>
            </a:extLst>
          </p:cNvPr>
          <p:cNvSpPr>
            <a:spLocks noGrp="1"/>
          </p:cNvSpPr>
          <p:nvPr>
            <p:ph type="title"/>
          </p:nvPr>
        </p:nvSpPr>
        <p:spPr/>
        <p:txBody>
          <a:bodyPr/>
          <a:lstStyle/>
          <a:p>
            <a:r>
              <a:rPr lang="en-US"/>
              <a:t>Key Terminology</a:t>
            </a:r>
          </a:p>
        </p:txBody>
      </p:sp>
      <p:sp>
        <p:nvSpPr>
          <p:cNvPr id="3" name="Text Placeholder 2">
            <a:extLst>
              <a:ext uri="{FF2B5EF4-FFF2-40B4-BE49-F238E27FC236}">
                <a16:creationId xmlns:a16="http://schemas.microsoft.com/office/drawing/2014/main" id="{DCA6FF83-405D-6454-0200-D70D6DE3EADC}"/>
              </a:ext>
            </a:extLst>
          </p:cNvPr>
          <p:cNvSpPr>
            <a:spLocks noGrp="1"/>
          </p:cNvSpPr>
          <p:nvPr>
            <p:ph type="body" sz="quarter" idx="10"/>
          </p:nvPr>
        </p:nvSpPr>
        <p:spPr/>
        <p:txBody>
          <a:bodyPr/>
          <a:lstStyle/>
          <a:p>
            <a:r>
              <a:rPr lang="en-US" sz="2200" b="1"/>
              <a:t>Agent:</a:t>
            </a:r>
            <a:r>
              <a:rPr lang="en-US" sz="2200"/>
              <a:t> A software component that acts on behalf of a user or system to perform a task.</a:t>
            </a:r>
          </a:p>
          <a:p>
            <a:r>
              <a:rPr lang="en-US" sz="2200" b="1"/>
              <a:t>Workflow:</a:t>
            </a:r>
            <a:r>
              <a:rPr lang="en-US" sz="2200"/>
              <a:t> A series of sequential actions or steps taken to achieve a particular outcome. A business process is typically a combination of many workflows where the success of one is determined on the resolution of another.</a:t>
            </a:r>
          </a:p>
          <a:p>
            <a:r>
              <a:rPr lang="en-US" sz="2200" b="1"/>
              <a:t>API:</a:t>
            </a:r>
            <a:r>
              <a:rPr lang="en-US" sz="2200"/>
              <a:t> Application Programming Interface, a set of protocols and tools for building software applications.</a:t>
            </a:r>
          </a:p>
          <a:p>
            <a:r>
              <a:rPr lang="en-US" sz="2200" b="1"/>
              <a:t>Deterministic Model:</a:t>
            </a:r>
            <a:r>
              <a:rPr lang="en-US" sz="2200"/>
              <a:t> A model where outcomes are precisely determined through known relationships among states and events, without any randomness. Most code is deterministic.</a:t>
            </a:r>
          </a:p>
          <a:p>
            <a:r>
              <a:rPr lang="en-US" sz="2200" b="1"/>
              <a:t>Probabilistic Model:</a:t>
            </a:r>
            <a:r>
              <a:rPr lang="en-US" sz="2200"/>
              <a:t> A model that incorporates randomness and uncertainty, allowing for multiple possible outcomes based on probabilities. Machine learning models are probabilistic.</a:t>
            </a:r>
          </a:p>
        </p:txBody>
      </p:sp>
    </p:spTree>
    <p:extLst>
      <p:ext uri="{BB962C8B-B14F-4D97-AF65-F5344CB8AC3E}">
        <p14:creationId xmlns:p14="http://schemas.microsoft.com/office/powerpoint/2010/main" val="209497491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6B8578-01D5-D0A0-C939-90205BBC9F6C}"/>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06483B05-0718-7171-230C-8CAA17E65CDF}"/>
              </a:ext>
            </a:extLst>
          </p:cNvPr>
          <p:cNvSpPr>
            <a:spLocks noGrp="1"/>
          </p:cNvSpPr>
          <p:nvPr>
            <p:ph type="title"/>
          </p:nvPr>
        </p:nvSpPr>
        <p:spPr>
          <a:xfrm>
            <a:off x="381000" y="224449"/>
            <a:ext cx="11430000" cy="990600"/>
          </a:xfrm>
        </p:spPr>
        <p:txBody>
          <a:bodyPr>
            <a:normAutofit/>
          </a:bodyPr>
          <a:lstStyle/>
          <a:p>
            <a:r>
              <a:rPr lang="en-US"/>
              <a:t>Why do we use the term Agentic?</a:t>
            </a:r>
          </a:p>
        </p:txBody>
      </p:sp>
      <p:graphicFrame>
        <p:nvGraphicFramePr>
          <p:cNvPr id="7" name="Content Placeholder 4">
            <a:extLst>
              <a:ext uri="{FF2B5EF4-FFF2-40B4-BE49-F238E27FC236}">
                <a16:creationId xmlns:a16="http://schemas.microsoft.com/office/drawing/2014/main" id="{D34CAB91-3E11-F56F-23BA-8EA52521827D}"/>
              </a:ext>
            </a:extLst>
          </p:cNvPr>
          <p:cNvGraphicFramePr>
            <a:graphicFrameLocks noGrp="1"/>
          </p:cNvGraphicFramePr>
          <p:nvPr>
            <p:ph sz="quarter" idx="10"/>
          </p:nvPr>
        </p:nvGraphicFramePr>
        <p:xfrm>
          <a:off x="381001" y="1371601"/>
          <a:ext cx="11430000" cy="49403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52276549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1"/>
          <p:cNvSpPr/>
          <p:nvPr/>
        </p:nvSpPr>
        <p:spPr>
          <a:xfrm>
            <a:off x="1067080" y="2345427"/>
            <a:ext cx="10228829" cy="2432137"/>
          </a:xfrm>
          <a:custGeom>
            <a:avLst/>
            <a:gdLst/>
            <a:ahLst/>
            <a:cxnLst/>
            <a:rect l="0" t="0" r="0" b="0"/>
            <a:pathLst>
              <a:path w="5179422" h="2012050">
                <a:moveTo>
                  <a:pt x="5128477" y="424259"/>
                </a:moveTo>
                <a:lnTo>
                  <a:pt x="4619026" y="42171"/>
                </a:lnTo>
                <a:cubicBezTo>
                  <a:pt x="4562774" y="0"/>
                  <a:pt x="4482960" y="11391"/>
                  <a:pt x="4440718" y="67643"/>
                </a:cubicBezTo>
                <a:cubicBezTo>
                  <a:pt x="4398547" y="123895"/>
                  <a:pt x="4409938" y="203780"/>
                  <a:pt x="4466190" y="245951"/>
                </a:cubicBezTo>
                <a:lnTo>
                  <a:pt x="4669971" y="398787"/>
                </a:lnTo>
                <a:lnTo>
                  <a:pt x="4075611" y="398787"/>
                </a:lnTo>
                <a:cubicBezTo>
                  <a:pt x="3841546" y="398787"/>
                  <a:pt x="3651068" y="589265"/>
                  <a:pt x="3651068" y="823330"/>
                </a:cubicBezTo>
                <a:lnTo>
                  <a:pt x="3651068" y="1417690"/>
                </a:lnTo>
                <a:cubicBezTo>
                  <a:pt x="3651068" y="1511301"/>
                  <a:pt x="3574863" y="1587507"/>
                  <a:pt x="3481251" y="1587507"/>
                </a:cubicBezTo>
                <a:cubicBezTo>
                  <a:pt x="3387639" y="1587507"/>
                  <a:pt x="3311434" y="1511301"/>
                  <a:pt x="3311434" y="1417690"/>
                </a:cubicBezTo>
                <a:lnTo>
                  <a:pt x="3311434" y="568604"/>
                </a:lnTo>
                <a:cubicBezTo>
                  <a:pt x="3311434" y="334539"/>
                  <a:pt x="3120956" y="144061"/>
                  <a:pt x="2886891" y="144061"/>
                </a:cubicBezTo>
                <a:cubicBezTo>
                  <a:pt x="2652826" y="144061"/>
                  <a:pt x="2462348" y="334539"/>
                  <a:pt x="2462348" y="568604"/>
                </a:cubicBezTo>
                <a:lnTo>
                  <a:pt x="2462348" y="1587507"/>
                </a:lnTo>
                <a:cubicBezTo>
                  <a:pt x="2462348" y="1681118"/>
                  <a:pt x="2386143" y="1757324"/>
                  <a:pt x="2292531" y="1757324"/>
                </a:cubicBezTo>
                <a:cubicBezTo>
                  <a:pt x="2198919" y="1757324"/>
                  <a:pt x="2122714" y="1681118"/>
                  <a:pt x="2122714" y="1587507"/>
                </a:cubicBezTo>
                <a:lnTo>
                  <a:pt x="2122714" y="738421"/>
                </a:lnTo>
                <a:cubicBezTo>
                  <a:pt x="2122714" y="504356"/>
                  <a:pt x="1932236" y="313878"/>
                  <a:pt x="1698171" y="313878"/>
                </a:cubicBezTo>
                <a:cubicBezTo>
                  <a:pt x="1464106" y="313878"/>
                  <a:pt x="1273628" y="504356"/>
                  <a:pt x="1273628" y="738421"/>
                </a:cubicBezTo>
                <a:lnTo>
                  <a:pt x="1273628" y="1078055"/>
                </a:lnTo>
                <a:cubicBezTo>
                  <a:pt x="1273628" y="1171667"/>
                  <a:pt x="1197423" y="1247872"/>
                  <a:pt x="1103811" y="1247872"/>
                </a:cubicBezTo>
                <a:lnTo>
                  <a:pt x="0" y="1247872"/>
                </a:lnTo>
                <a:lnTo>
                  <a:pt x="0" y="1502598"/>
                </a:lnTo>
                <a:lnTo>
                  <a:pt x="1103811" y="1502598"/>
                </a:lnTo>
                <a:cubicBezTo>
                  <a:pt x="1337876" y="1502598"/>
                  <a:pt x="1528354" y="1312120"/>
                  <a:pt x="1528354" y="1078055"/>
                </a:cubicBezTo>
                <a:lnTo>
                  <a:pt x="1528354" y="738421"/>
                </a:lnTo>
                <a:cubicBezTo>
                  <a:pt x="1528354" y="644809"/>
                  <a:pt x="1604559" y="568604"/>
                  <a:pt x="1698171" y="568604"/>
                </a:cubicBezTo>
                <a:cubicBezTo>
                  <a:pt x="1791783" y="568604"/>
                  <a:pt x="1867988" y="644809"/>
                  <a:pt x="1867988" y="738421"/>
                </a:cubicBezTo>
                <a:lnTo>
                  <a:pt x="1867988" y="1587507"/>
                </a:lnTo>
                <a:cubicBezTo>
                  <a:pt x="1867988" y="1821571"/>
                  <a:pt x="2058466" y="2012050"/>
                  <a:pt x="2292531" y="2012050"/>
                </a:cubicBezTo>
                <a:cubicBezTo>
                  <a:pt x="2526596" y="2012050"/>
                  <a:pt x="2717074" y="1821571"/>
                  <a:pt x="2717074" y="1587507"/>
                </a:cubicBezTo>
                <a:lnTo>
                  <a:pt x="2717074" y="568604"/>
                </a:lnTo>
                <a:cubicBezTo>
                  <a:pt x="2717074" y="474992"/>
                  <a:pt x="2793279" y="398787"/>
                  <a:pt x="2886891" y="398787"/>
                </a:cubicBezTo>
                <a:cubicBezTo>
                  <a:pt x="2980503" y="398787"/>
                  <a:pt x="3056708" y="474992"/>
                  <a:pt x="3056708" y="568604"/>
                </a:cubicBezTo>
                <a:lnTo>
                  <a:pt x="3056708" y="1417690"/>
                </a:lnTo>
                <a:cubicBezTo>
                  <a:pt x="3056708" y="1651754"/>
                  <a:pt x="3247186" y="1842232"/>
                  <a:pt x="3481251" y="1842232"/>
                </a:cubicBezTo>
                <a:cubicBezTo>
                  <a:pt x="3715316" y="1842232"/>
                  <a:pt x="3905794" y="1651754"/>
                  <a:pt x="3905794" y="1417690"/>
                </a:cubicBezTo>
                <a:lnTo>
                  <a:pt x="3905794" y="823330"/>
                </a:lnTo>
                <a:cubicBezTo>
                  <a:pt x="3905794" y="729718"/>
                  <a:pt x="3981999" y="653512"/>
                  <a:pt x="4075611" y="653512"/>
                </a:cubicBezTo>
                <a:lnTo>
                  <a:pt x="4669971" y="653512"/>
                </a:lnTo>
                <a:lnTo>
                  <a:pt x="4466190" y="806348"/>
                </a:lnTo>
                <a:cubicBezTo>
                  <a:pt x="4409938" y="848519"/>
                  <a:pt x="4398547" y="928404"/>
                  <a:pt x="4440718" y="984656"/>
                </a:cubicBezTo>
                <a:cubicBezTo>
                  <a:pt x="4465766" y="1018053"/>
                  <a:pt x="4503975" y="1035601"/>
                  <a:pt x="4542679" y="1035601"/>
                </a:cubicBezTo>
                <a:cubicBezTo>
                  <a:pt x="4569284" y="1035601"/>
                  <a:pt x="4596100" y="1027322"/>
                  <a:pt x="4619026" y="1010128"/>
                </a:cubicBezTo>
                <a:lnTo>
                  <a:pt x="5128477" y="628040"/>
                </a:lnTo>
                <a:cubicBezTo>
                  <a:pt x="5160530" y="603982"/>
                  <a:pt x="5179422" y="566269"/>
                  <a:pt x="5179422" y="526150"/>
                </a:cubicBezTo>
                <a:cubicBezTo>
                  <a:pt x="5179422" y="486030"/>
                  <a:pt x="5160530" y="448317"/>
                  <a:pt x="5128477" y="424259"/>
                </a:cubicBezTo>
                <a:close/>
              </a:path>
            </a:pathLst>
          </a:custGeom>
          <a:solidFill>
            <a:srgbClr val="1A1A1A"/>
          </a:solidFill>
          <a:ln>
            <a:noFill/>
          </a:ln>
        </p:spPr>
        <p:txBody>
          <a:bodyPr rtlCol="0" anchor="ctr"/>
          <a:lstStyle/>
          <a:p>
            <a:pPr algn="ctr"/>
            <a:endParaRPr sz="3600"/>
          </a:p>
        </p:txBody>
      </p:sp>
      <p:sp>
        <p:nvSpPr>
          <p:cNvPr id="3" name="Rounded Rectangle 2"/>
          <p:cNvSpPr/>
          <p:nvPr/>
        </p:nvSpPr>
        <p:spPr>
          <a:xfrm>
            <a:off x="1067080" y="2345427"/>
            <a:ext cx="10228829" cy="2432137"/>
          </a:xfrm>
          <a:custGeom>
            <a:avLst/>
            <a:gdLst/>
            <a:ahLst/>
            <a:cxnLst/>
            <a:rect l="0" t="0" r="0" b="0"/>
            <a:pathLst>
              <a:path w="5179422" h="2012050">
                <a:moveTo>
                  <a:pt x="5128477" y="424259"/>
                </a:moveTo>
                <a:lnTo>
                  <a:pt x="4619026" y="42171"/>
                </a:lnTo>
                <a:cubicBezTo>
                  <a:pt x="4562774" y="0"/>
                  <a:pt x="4482960" y="11391"/>
                  <a:pt x="4440718" y="67643"/>
                </a:cubicBezTo>
                <a:cubicBezTo>
                  <a:pt x="4398547" y="123895"/>
                  <a:pt x="4409938" y="203780"/>
                  <a:pt x="4466190" y="245951"/>
                </a:cubicBezTo>
                <a:lnTo>
                  <a:pt x="4669971" y="398787"/>
                </a:lnTo>
                <a:lnTo>
                  <a:pt x="4075611" y="398787"/>
                </a:lnTo>
                <a:cubicBezTo>
                  <a:pt x="3841546" y="398787"/>
                  <a:pt x="3651068" y="589265"/>
                  <a:pt x="3651068" y="823330"/>
                </a:cubicBezTo>
                <a:lnTo>
                  <a:pt x="3651068" y="1417690"/>
                </a:lnTo>
                <a:cubicBezTo>
                  <a:pt x="3651068" y="1511301"/>
                  <a:pt x="3574863" y="1587507"/>
                  <a:pt x="3481251" y="1587507"/>
                </a:cubicBezTo>
                <a:cubicBezTo>
                  <a:pt x="3387639" y="1587507"/>
                  <a:pt x="3311434" y="1511301"/>
                  <a:pt x="3311434" y="1417690"/>
                </a:cubicBezTo>
                <a:lnTo>
                  <a:pt x="3311434" y="568604"/>
                </a:lnTo>
                <a:cubicBezTo>
                  <a:pt x="3311434" y="334539"/>
                  <a:pt x="3120956" y="144061"/>
                  <a:pt x="2886891" y="144061"/>
                </a:cubicBezTo>
                <a:cubicBezTo>
                  <a:pt x="2652826" y="144061"/>
                  <a:pt x="2462348" y="334539"/>
                  <a:pt x="2462348" y="568604"/>
                </a:cubicBezTo>
                <a:lnTo>
                  <a:pt x="2462348" y="1587507"/>
                </a:lnTo>
                <a:cubicBezTo>
                  <a:pt x="2462348" y="1681118"/>
                  <a:pt x="2386143" y="1757324"/>
                  <a:pt x="2292531" y="1757324"/>
                </a:cubicBezTo>
                <a:cubicBezTo>
                  <a:pt x="2198919" y="1757324"/>
                  <a:pt x="2122714" y="1681118"/>
                  <a:pt x="2122714" y="1587507"/>
                </a:cubicBezTo>
                <a:lnTo>
                  <a:pt x="2122714" y="738421"/>
                </a:lnTo>
                <a:cubicBezTo>
                  <a:pt x="2122714" y="504356"/>
                  <a:pt x="1932236" y="313878"/>
                  <a:pt x="1698171" y="313878"/>
                </a:cubicBezTo>
                <a:cubicBezTo>
                  <a:pt x="1464106" y="313878"/>
                  <a:pt x="1273628" y="504356"/>
                  <a:pt x="1273628" y="738421"/>
                </a:cubicBezTo>
                <a:lnTo>
                  <a:pt x="1273628" y="1078055"/>
                </a:lnTo>
                <a:cubicBezTo>
                  <a:pt x="1273628" y="1171667"/>
                  <a:pt x="1197423" y="1247872"/>
                  <a:pt x="1103811" y="1247872"/>
                </a:cubicBezTo>
                <a:lnTo>
                  <a:pt x="0" y="1247872"/>
                </a:lnTo>
                <a:lnTo>
                  <a:pt x="0" y="1502598"/>
                </a:lnTo>
                <a:lnTo>
                  <a:pt x="1103811" y="1502598"/>
                </a:lnTo>
                <a:cubicBezTo>
                  <a:pt x="1337876" y="1502598"/>
                  <a:pt x="1528354" y="1312120"/>
                  <a:pt x="1528354" y="1078055"/>
                </a:cubicBezTo>
                <a:lnTo>
                  <a:pt x="1528354" y="738421"/>
                </a:lnTo>
                <a:cubicBezTo>
                  <a:pt x="1528354" y="644809"/>
                  <a:pt x="1604559" y="568604"/>
                  <a:pt x="1698171" y="568604"/>
                </a:cubicBezTo>
                <a:cubicBezTo>
                  <a:pt x="1791783" y="568604"/>
                  <a:pt x="1867988" y="644809"/>
                  <a:pt x="1867988" y="738421"/>
                </a:cubicBezTo>
                <a:lnTo>
                  <a:pt x="1867988" y="1587507"/>
                </a:lnTo>
                <a:cubicBezTo>
                  <a:pt x="1867988" y="1821571"/>
                  <a:pt x="2058466" y="2012050"/>
                  <a:pt x="2292531" y="2012050"/>
                </a:cubicBezTo>
                <a:cubicBezTo>
                  <a:pt x="2526596" y="2012050"/>
                  <a:pt x="2717074" y="1821571"/>
                  <a:pt x="2717074" y="1587507"/>
                </a:cubicBezTo>
                <a:lnTo>
                  <a:pt x="2717074" y="568604"/>
                </a:lnTo>
                <a:cubicBezTo>
                  <a:pt x="2717074" y="474992"/>
                  <a:pt x="2793279" y="398787"/>
                  <a:pt x="2886891" y="398787"/>
                </a:cubicBezTo>
                <a:cubicBezTo>
                  <a:pt x="2980503" y="398787"/>
                  <a:pt x="3056708" y="474992"/>
                  <a:pt x="3056708" y="568604"/>
                </a:cubicBezTo>
                <a:lnTo>
                  <a:pt x="3056708" y="1417690"/>
                </a:lnTo>
                <a:cubicBezTo>
                  <a:pt x="3056708" y="1651754"/>
                  <a:pt x="3247186" y="1842232"/>
                  <a:pt x="3481251" y="1842232"/>
                </a:cubicBezTo>
                <a:cubicBezTo>
                  <a:pt x="3715316" y="1842232"/>
                  <a:pt x="3905794" y="1651754"/>
                  <a:pt x="3905794" y="1417690"/>
                </a:cubicBezTo>
                <a:lnTo>
                  <a:pt x="3905794" y="823330"/>
                </a:lnTo>
                <a:cubicBezTo>
                  <a:pt x="3905794" y="729718"/>
                  <a:pt x="3981999" y="653512"/>
                  <a:pt x="4075611" y="653512"/>
                </a:cubicBezTo>
                <a:lnTo>
                  <a:pt x="4669971" y="653512"/>
                </a:lnTo>
                <a:lnTo>
                  <a:pt x="4466190" y="806348"/>
                </a:lnTo>
                <a:cubicBezTo>
                  <a:pt x="4409938" y="848519"/>
                  <a:pt x="4398547" y="928404"/>
                  <a:pt x="4440718" y="984656"/>
                </a:cubicBezTo>
                <a:cubicBezTo>
                  <a:pt x="4465766" y="1018053"/>
                  <a:pt x="4503975" y="1035601"/>
                  <a:pt x="4542679" y="1035601"/>
                </a:cubicBezTo>
                <a:cubicBezTo>
                  <a:pt x="4569284" y="1035601"/>
                  <a:pt x="4596100" y="1027322"/>
                  <a:pt x="4619026" y="1010128"/>
                </a:cubicBezTo>
                <a:lnTo>
                  <a:pt x="5128477" y="628040"/>
                </a:lnTo>
                <a:cubicBezTo>
                  <a:pt x="5160530" y="603982"/>
                  <a:pt x="5179422" y="566269"/>
                  <a:pt x="5179422" y="526150"/>
                </a:cubicBezTo>
                <a:cubicBezTo>
                  <a:pt x="5179422" y="486030"/>
                  <a:pt x="5160530" y="448317"/>
                  <a:pt x="5128477" y="424259"/>
                </a:cubicBezTo>
                <a:close/>
              </a:path>
            </a:pathLst>
          </a:custGeom>
          <a:noFill/>
          <a:ln w="5306">
            <a:solidFill>
              <a:srgbClr val="FFFFFF"/>
            </a:solidFill>
          </a:ln>
        </p:spPr>
        <p:txBody>
          <a:bodyPr rtlCol="0" anchor="ctr"/>
          <a:lstStyle/>
          <a:p>
            <a:pPr algn="ctr"/>
            <a:endParaRPr sz="3600"/>
          </a:p>
        </p:txBody>
      </p:sp>
      <p:sp>
        <p:nvSpPr>
          <p:cNvPr id="5" name="Rounded Rectangle 4"/>
          <p:cNvSpPr/>
          <p:nvPr/>
        </p:nvSpPr>
        <p:spPr>
          <a:xfrm>
            <a:off x="1067080" y="2673536"/>
            <a:ext cx="9222715" cy="1950088"/>
          </a:xfrm>
          <a:custGeom>
            <a:avLst/>
            <a:gdLst/>
            <a:ahLst/>
            <a:cxnLst/>
            <a:rect l="0" t="0" r="0" b="0"/>
            <a:pathLst>
              <a:path w="4669971" h="1613262">
                <a:moveTo>
                  <a:pt x="0" y="1103811"/>
                </a:moveTo>
                <a:lnTo>
                  <a:pt x="1103811" y="1103811"/>
                </a:lnTo>
                <a:cubicBezTo>
                  <a:pt x="1267939" y="1103811"/>
                  <a:pt x="1400991" y="970759"/>
                  <a:pt x="1400991" y="806631"/>
                </a:cubicBezTo>
                <a:lnTo>
                  <a:pt x="1400991" y="466997"/>
                </a:lnTo>
                <a:cubicBezTo>
                  <a:pt x="1400991" y="302868"/>
                  <a:pt x="1534043" y="169817"/>
                  <a:pt x="1698171" y="169817"/>
                </a:cubicBezTo>
                <a:cubicBezTo>
                  <a:pt x="1862299" y="169817"/>
                  <a:pt x="1995351" y="302868"/>
                  <a:pt x="1995351" y="466997"/>
                </a:cubicBezTo>
                <a:lnTo>
                  <a:pt x="1995351" y="1316082"/>
                </a:lnTo>
                <a:cubicBezTo>
                  <a:pt x="1995351" y="1480211"/>
                  <a:pt x="2128403" y="1613262"/>
                  <a:pt x="2292531" y="1613262"/>
                </a:cubicBezTo>
                <a:cubicBezTo>
                  <a:pt x="2456659" y="1613262"/>
                  <a:pt x="2589711" y="1480211"/>
                  <a:pt x="2589711" y="1316082"/>
                </a:cubicBezTo>
                <a:lnTo>
                  <a:pt x="2589711" y="297180"/>
                </a:lnTo>
                <a:cubicBezTo>
                  <a:pt x="2589711" y="133051"/>
                  <a:pt x="2722763" y="0"/>
                  <a:pt x="2886891" y="0"/>
                </a:cubicBezTo>
                <a:cubicBezTo>
                  <a:pt x="3051019" y="0"/>
                  <a:pt x="3184071" y="133051"/>
                  <a:pt x="3184071" y="297180"/>
                </a:cubicBezTo>
                <a:lnTo>
                  <a:pt x="3184071" y="1146265"/>
                </a:lnTo>
                <a:cubicBezTo>
                  <a:pt x="3184071" y="1310393"/>
                  <a:pt x="3317123" y="1443445"/>
                  <a:pt x="3481251" y="1443445"/>
                </a:cubicBezTo>
                <a:cubicBezTo>
                  <a:pt x="3645379" y="1443445"/>
                  <a:pt x="3778431" y="1310393"/>
                  <a:pt x="3778431" y="1146265"/>
                </a:cubicBezTo>
                <a:lnTo>
                  <a:pt x="3778431" y="551905"/>
                </a:lnTo>
                <a:cubicBezTo>
                  <a:pt x="3778431" y="387777"/>
                  <a:pt x="3911483" y="254725"/>
                  <a:pt x="4075611" y="254725"/>
                </a:cubicBezTo>
                <a:lnTo>
                  <a:pt x="4669971" y="254725"/>
                </a:lnTo>
              </a:path>
            </a:pathLst>
          </a:custGeom>
          <a:noFill/>
          <a:ln w="5306">
            <a:solidFill>
              <a:srgbClr val="1A1A1A"/>
            </a:solidFill>
            <a:prstDash val="dash"/>
          </a:ln>
        </p:spPr>
        <p:txBody>
          <a:bodyPr rtlCol="0" anchor="ctr"/>
          <a:lstStyle/>
          <a:p>
            <a:pPr algn="ctr"/>
            <a:endParaRPr sz="3600"/>
          </a:p>
        </p:txBody>
      </p:sp>
      <p:grpSp>
        <p:nvGrpSpPr>
          <p:cNvPr id="8" name="Group 7"/>
          <p:cNvGrpSpPr/>
          <p:nvPr/>
        </p:nvGrpSpPr>
        <p:grpSpPr>
          <a:xfrm>
            <a:off x="7813464" y="3822233"/>
            <a:ext cx="290118" cy="383090"/>
            <a:chOff x="3537857" y="3488327"/>
            <a:chExt cx="240008" cy="316921"/>
          </a:xfrm>
        </p:grpSpPr>
        <p:sp>
          <p:nvSpPr>
            <p:cNvPr id="6" name="Rounded Rectangle 5"/>
            <p:cNvSpPr/>
            <p:nvPr/>
          </p:nvSpPr>
          <p:spPr>
            <a:xfrm>
              <a:off x="3537857" y="3488327"/>
              <a:ext cx="240008" cy="316921"/>
            </a:xfrm>
            <a:custGeom>
              <a:avLst/>
              <a:gdLst/>
              <a:ahLst/>
              <a:cxnLst/>
              <a:rect l="0" t="0" r="0" b="0"/>
              <a:pathLst>
                <a:path w="240008" h="316921">
                  <a:moveTo>
                    <a:pt x="119933" y="80238"/>
                  </a:moveTo>
                  <a:cubicBezTo>
                    <a:pt x="98069" y="80238"/>
                    <a:pt x="80309" y="97998"/>
                    <a:pt x="80309" y="119933"/>
                  </a:cubicBezTo>
                  <a:cubicBezTo>
                    <a:pt x="80309" y="141868"/>
                    <a:pt x="98069" y="159628"/>
                    <a:pt x="119933" y="159628"/>
                  </a:cubicBezTo>
                  <a:cubicBezTo>
                    <a:pt x="141797" y="159628"/>
                    <a:pt x="159628" y="141868"/>
                    <a:pt x="159628" y="119933"/>
                  </a:cubicBezTo>
                  <a:cubicBezTo>
                    <a:pt x="159628" y="97998"/>
                    <a:pt x="141868" y="80238"/>
                    <a:pt x="119933" y="80238"/>
                  </a:cubicBezTo>
                  <a:close/>
                  <a:moveTo>
                    <a:pt x="239937" y="119933"/>
                  </a:moveTo>
                  <a:cubicBezTo>
                    <a:pt x="239937" y="53704"/>
                    <a:pt x="186232" y="0"/>
                    <a:pt x="119933" y="0"/>
                  </a:cubicBezTo>
                  <a:cubicBezTo>
                    <a:pt x="53633" y="0"/>
                    <a:pt x="0" y="53704"/>
                    <a:pt x="0" y="119933"/>
                  </a:cubicBezTo>
                  <a:cubicBezTo>
                    <a:pt x="0" y="169321"/>
                    <a:pt x="29859" y="211705"/>
                    <a:pt x="72455" y="230102"/>
                  </a:cubicBezTo>
                  <a:lnTo>
                    <a:pt x="120004" y="316921"/>
                  </a:lnTo>
                  <a:lnTo>
                    <a:pt x="167552" y="230031"/>
                  </a:lnTo>
                  <a:cubicBezTo>
                    <a:pt x="210148" y="211634"/>
                    <a:pt x="240008" y="169251"/>
                    <a:pt x="240008" y="119862"/>
                  </a:cubicBezTo>
                  <a:lnTo>
                    <a:pt x="239937" y="119933"/>
                  </a:lnTo>
                  <a:close/>
                  <a:moveTo>
                    <a:pt x="119933" y="194511"/>
                  </a:moveTo>
                  <a:cubicBezTo>
                    <a:pt x="78823" y="194511"/>
                    <a:pt x="45426" y="161114"/>
                    <a:pt x="45426" y="119933"/>
                  </a:cubicBezTo>
                  <a:cubicBezTo>
                    <a:pt x="45426" y="78752"/>
                    <a:pt x="78823" y="45426"/>
                    <a:pt x="119933" y="45426"/>
                  </a:cubicBezTo>
                  <a:cubicBezTo>
                    <a:pt x="161043" y="45426"/>
                    <a:pt x="194511" y="78752"/>
                    <a:pt x="194511" y="119933"/>
                  </a:cubicBezTo>
                  <a:cubicBezTo>
                    <a:pt x="194511" y="161114"/>
                    <a:pt x="161114" y="194511"/>
                    <a:pt x="119933" y="194511"/>
                  </a:cubicBezTo>
                  <a:close/>
                </a:path>
              </a:pathLst>
            </a:custGeom>
            <a:solidFill>
              <a:srgbClr val="8AC6FF"/>
            </a:solidFill>
            <a:ln>
              <a:noFill/>
            </a:ln>
          </p:spPr>
          <p:txBody>
            <a:bodyPr rtlCol="0" anchor="ctr"/>
            <a:lstStyle/>
            <a:p>
              <a:pPr algn="ctr"/>
              <a:endParaRPr sz="3600"/>
            </a:p>
          </p:txBody>
        </p:sp>
        <p:sp>
          <p:nvSpPr>
            <p:cNvPr id="7" name="Rounded Rectangle 6"/>
            <p:cNvSpPr/>
            <p:nvPr/>
          </p:nvSpPr>
          <p:spPr>
            <a:xfrm>
              <a:off x="3537857" y="3488327"/>
              <a:ext cx="240008" cy="316921"/>
            </a:xfrm>
            <a:custGeom>
              <a:avLst/>
              <a:gdLst/>
              <a:ahLst/>
              <a:cxnLst/>
              <a:rect l="0" t="0" r="0" b="0"/>
              <a:pathLst>
                <a:path w="240008" h="316921">
                  <a:moveTo>
                    <a:pt x="119933" y="80238"/>
                  </a:moveTo>
                  <a:cubicBezTo>
                    <a:pt x="98069" y="80238"/>
                    <a:pt x="80309" y="97998"/>
                    <a:pt x="80309" y="119933"/>
                  </a:cubicBezTo>
                  <a:cubicBezTo>
                    <a:pt x="80309" y="141868"/>
                    <a:pt x="98069" y="159628"/>
                    <a:pt x="119933" y="159628"/>
                  </a:cubicBezTo>
                  <a:cubicBezTo>
                    <a:pt x="141797" y="159628"/>
                    <a:pt x="159628" y="141868"/>
                    <a:pt x="159628" y="119933"/>
                  </a:cubicBezTo>
                  <a:cubicBezTo>
                    <a:pt x="159628" y="97998"/>
                    <a:pt x="141868" y="80238"/>
                    <a:pt x="119933" y="80238"/>
                  </a:cubicBezTo>
                  <a:close/>
                  <a:moveTo>
                    <a:pt x="239937" y="119933"/>
                  </a:moveTo>
                  <a:cubicBezTo>
                    <a:pt x="239937" y="53704"/>
                    <a:pt x="186232" y="0"/>
                    <a:pt x="119933" y="0"/>
                  </a:cubicBezTo>
                  <a:cubicBezTo>
                    <a:pt x="53633" y="0"/>
                    <a:pt x="0" y="53704"/>
                    <a:pt x="0" y="119933"/>
                  </a:cubicBezTo>
                  <a:cubicBezTo>
                    <a:pt x="0" y="169321"/>
                    <a:pt x="29859" y="211705"/>
                    <a:pt x="72455" y="230102"/>
                  </a:cubicBezTo>
                  <a:lnTo>
                    <a:pt x="120004" y="316921"/>
                  </a:lnTo>
                  <a:lnTo>
                    <a:pt x="167552" y="230031"/>
                  </a:lnTo>
                  <a:cubicBezTo>
                    <a:pt x="210148" y="211634"/>
                    <a:pt x="240008" y="169251"/>
                    <a:pt x="240008" y="119862"/>
                  </a:cubicBezTo>
                  <a:lnTo>
                    <a:pt x="239937" y="119933"/>
                  </a:lnTo>
                  <a:close/>
                  <a:moveTo>
                    <a:pt x="119933" y="194511"/>
                  </a:moveTo>
                  <a:cubicBezTo>
                    <a:pt x="78823" y="194511"/>
                    <a:pt x="45426" y="161114"/>
                    <a:pt x="45426" y="119933"/>
                  </a:cubicBezTo>
                  <a:cubicBezTo>
                    <a:pt x="45426" y="78752"/>
                    <a:pt x="78823" y="45426"/>
                    <a:pt x="119933" y="45426"/>
                  </a:cubicBezTo>
                  <a:cubicBezTo>
                    <a:pt x="161043" y="45426"/>
                    <a:pt x="194511" y="78752"/>
                    <a:pt x="194511" y="119933"/>
                  </a:cubicBezTo>
                  <a:cubicBezTo>
                    <a:pt x="194511" y="161114"/>
                    <a:pt x="161114" y="194511"/>
                    <a:pt x="119933" y="194511"/>
                  </a:cubicBezTo>
                  <a:close/>
                </a:path>
              </a:pathLst>
            </a:custGeom>
            <a:noFill/>
            <a:ln w="5306">
              <a:solidFill>
                <a:srgbClr val="FFFFFF"/>
              </a:solidFill>
            </a:ln>
          </p:spPr>
          <p:txBody>
            <a:bodyPr rtlCol="0" anchor="ctr"/>
            <a:lstStyle/>
            <a:p>
              <a:pPr algn="ctr"/>
              <a:endParaRPr sz="3600"/>
            </a:p>
          </p:txBody>
        </p:sp>
      </p:grpSp>
      <p:grpSp>
        <p:nvGrpSpPr>
          <p:cNvPr id="11" name="Group 10"/>
          <p:cNvGrpSpPr/>
          <p:nvPr/>
        </p:nvGrpSpPr>
        <p:grpSpPr>
          <a:xfrm>
            <a:off x="6639938" y="2076604"/>
            <a:ext cx="290118" cy="383090"/>
            <a:chOff x="2943497" y="2044881"/>
            <a:chExt cx="240008" cy="316921"/>
          </a:xfrm>
        </p:grpSpPr>
        <p:sp>
          <p:nvSpPr>
            <p:cNvPr id="9" name="Rounded Rectangle 8"/>
            <p:cNvSpPr/>
            <p:nvPr/>
          </p:nvSpPr>
          <p:spPr>
            <a:xfrm>
              <a:off x="2943497" y="2044881"/>
              <a:ext cx="240008" cy="316921"/>
            </a:xfrm>
            <a:custGeom>
              <a:avLst/>
              <a:gdLst/>
              <a:ahLst/>
              <a:cxnLst/>
              <a:rect l="0" t="0" r="0" b="0"/>
              <a:pathLst>
                <a:path w="240008" h="316921">
                  <a:moveTo>
                    <a:pt x="119933" y="80238"/>
                  </a:moveTo>
                  <a:cubicBezTo>
                    <a:pt x="98069" y="80238"/>
                    <a:pt x="80309" y="97998"/>
                    <a:pt x="80309" y="119933"/>
                  </a:cubicBezTo>
                  <a:cubicBezTo>
                    <a:pt x="80309" y="141868"/>
                    <a:pt x="98069" y="159628"/>
                    <a:pt x="119933" y="159628"/>
                  </a:cubicBezTo>
                  <a:cubicBezTo>
                    <a:pt x="141797" y="159628"/>
                    <a:pt x="159628" y="141868"/>
                    <a:pt x="159628" y="119933"/>
                  </a:cubicBezTo>
                  <a:cubicBezTo>
                    <a:pt x="159628" y="97998"/>
                    <a:pt x="141868" y="80238"/>
                    <a:pt x="119933" y="80238"/>
                  </a:cubicBezTo>
                  <a:close/>
                  <a:moveTo>
                    <a:pt x="239937" y="119933"/>
                  </a:moveTo>
                  <a:cubicBezTo>
                    <a:pt x="239937" y="53704"/>
                    <a:pt x="186232" y="0"/>
                    <a:pt x="119933" y="0"/>
                  </a:cubicBezTo>
                  <a:cubicBezTo>
                    <a:pt x="53633" y="0"/>
                    <a:pt x="0" y="53704"/>
                    <a:pt x="0" y="119933"/>
                  </a:cubicBezTo>
                  <a:cubicBezTo>
                    <a:pt x="0" y="169321"/>
                    <a:pt x="29859" y="211705"/>
                    <a:pt x="72455" y="230102"/>
                  </a:cubicBezTo>
                  <a:lnTo>
                    <a:pt x="120004" y="316921"/>
                  </a:lnTo>
                  <a:lnTo>
                    <a:pt x="167552" y="230031"/>
                  </a:lnTo>
                  <a:cubicBezTo>
                    <a:pt x="210148" y="211634"/>
                    <a:pt x="240008" y="169251"/>
                    <a:pt x="240008" y="119862"/>
                  </a:cubicBezTo>
                  <a:lnTo>
                    <a:pt x="239937" y="119933"/>
                  </a:lnTo>
                  <a:close/>
                  <a:moveTo>
                    <a:pt x="119933" y="194511"/>
                  </a:moveTo>
                  <a:cubicBezTo>
                    <a:pt x="78823" y="194511"/>
                    <a:pt x="45426" y="161114"/>
                    <a:pt x="45426" y="119933"/>
                  </a:cubicBezTo>
                  <a:cubicBezTo>
                    <a:pt x="45426" y="78752"/>
                    <a:pt x="78823" y="45426"/>
                    <a:pt x="119933" y="45426"/>
                  </a:cubicBezTo>
                  <a:cubicBezTo>
                    <a:pt x="161043" y="45426"/>
                    <a:pt x="194511" y="78752"/>
                    <a:pt x="194511" y="119933"/>
                  </a:cubicBezTo>
                  <a:cubicBezTo>
                    <a:pt x="194511" y="161114"/>
                    <a:pt x="161114" y="194511"/>
                    <a:pt x="119933" y="194511"/>
                  </a:cubicBezTo>
                  <a:close/>
                </a:path>
              </a:pathLst>
            </a:custGeom>
            <a:solidFill>
              <a:srgbClr val="3CA1FF"/>
            </a:solidFill>
            <a:ln>
              <a:noFill/>
            </a:ln>
          </p:spPr>
          <p:txBody>
            <a:bodyPr rtlCol="0" anchor="ctr"/>
            <a:lstStyle/>
            <a:p>
              <a:pPr algn="ctr"/>
              <a:endParaRPr sz="3600"/>
            </a:p>
          </p:txBody>
        </p:sp>
        <p:sp>
          <p:nvSpPr>
            <p:cNvPr id="10" name="Rounded Rectangle 9"/>
            <p:cNvSpPr/>
            <p:nvPr/>
          </p:nvSpPr>
          <p:spPr>
            <a:xfrm>
              <a:off x="2943497" y="2044881"/>
              <a:ext cx="240008" cy="316921"/>
            </a:xfrm>
            <a:custGeom>
              <a:avLst/>
              <a:gdLst/>
              <a:ahLst/>
              <a:cxnLst/>
              <a:rect l="0" t="0" r="0" b="0"/>
              <a:pathLst>
                <a:path w="240008" h="316921">
                  <a:moveTo>
                    <a:pt x="119933" y="80238"/>
                  </a:moveTo>
                  <a:cubicBezTo>
                    <a:pt x="98069" y="80238"/>
                    <a:pt x="80309" y="97998"/>
                    <a:pt x="80309" y="119933"/>
                  </a:cubicBezTo>
                  <a:cubicBezTo>
                    <a:pt x="80309" y="141868"/>
                    <a:pt x="98069" y="159628"/>
                    <a:pt x="119933" y="159628"/>
                  </a:cubicBezTo>
                  <a:cubicBezTo>
                    <a:pt x="141797" y="159628"/>
                    <a:pt x="159628" y="141868"/>
                    <a:pt x="159628" y="119933"/>
                  </a:cubicBezTo>
                  <a:cubicBezTo>
                    <a:pt x="159628" y="97998"/>
                    <a:pt x="141868" y="80238"/>
                    <a:pt x="119933" y="80238"/>
                  </a:cubicBezTo>
                  <a:close/>
                  <a:moveTo>
                    <a:pt x="239937" y="119933"/>
                  </a:moveTo>
                  <a:cubicBezTo>
                    <a:pt x="239937" y="53704"/>
                    <a:pt x="186232" y="0"/>
                    <a:pt x="119933" y="0"/>
                  </a:cubicBezTo>
                  <a:cubicBezTo>
                    <a:pt x="53633" y="0"/>
                    <a:pt x="0" y="53704"/>
                    <a:pt x="0" y="119933"/>
                  </a:cubicBezTo>
                  <a:cubicBezTo>
                    <a:pt x="0" y="169321"/>
                    <a:pt x="29859" y="211705"/>
                    <a:pt x="72455" y="230102"/>
                  </a:cubicBezTo>
                  <a:lnTo>
                    <a:pt x="120004" y="316921"/>
                  </a:lnTo>
                  <a:lnTo>
                    <a:pt x="167552" y="230031"/>
                  </a:lnTo>
                  <a:cubicBezTo>
                    <a:pt x="210148" y="211634"/>
                    <a:pt x="240008" y="169251"/>
                    <a:pt x="240008" y="119862"/>
                  </a:cubicBezTo>
                  <a:lnTo>
                    <a:pt x="239937" y="119933"/>
                  </a:lnTo>
                  <a:close/>
                  <a:moveTo>
                    <a:pt x="119933" y="194511"/>
                  </a:moveTo>
                  <a:cubicBezTo>
                    <a:pt x="78823" y="194511"/>
                    <a:pt x="45426" y="161114"/>
                    <a:pt x="45426" y="119933"/>
                  </a:cubicBezTo>
                  <a:cubicBezTo>
                    <a:pt x="45426" y="78752"/>
                    <a:pt x="78823" y="45426"/>
                    <a:pt x="119933" y="45426"/>
                  </a:cubicBezTo>
                  <a:cubicBezTo>
                    <a:pt x="161043" y="45426"/>
                    <a:pt x="194511" y="78752"/>
                    <a:pt x="194511" y="119933"/>
                  </a:cubicBezTo>
                  <a:cubicBezTo>
                    <a:pt x="194511" y="161114"/>
                    <a:pt x="161114" y="194511"/>
                    <a:pt x="119933" y="194511"/>
                  </a:cubicBezTo>
                  <a:close/>
                </a:path>
              </a:pathLst>
            </a:custGeom>
            <a:noFill/>
            <a:ln w="5306">
              <a:solidFill>
                <a:srgbClr val="FFFFFF"/>
              </a:solidFill>
            </a:ln>
          </p:spPr>
          <p:txBody>
            <a:bodyPr rtlCol="0" anchor="ctr"/>
            <a:lstStyle/>
            <a:p>
              <a:pPr algn="ctr"/>
              <a:endParaRPr sz="3600"/>
            </a:p>
          </p:txBody>
        </p:sp>
      </p:grpSp>
      <p:grpSp>
        <p:nvGrpSpPr>
          <p:cNvPr id="14" name="Group 13"/>
          <p:cNvGrpSpPr/>
          <p:nvPr/>
        </p:nvGrpSpPr>
        <p:grpSpPr>
          <a:xfrm>
            <a:off x="5413477" y="4067680"/>
            <a:ext cx="290118" cy="383090"/>
            <a:chOff x="2349137" y="3658144"/>
            <a:chExt cx="240008" cy="316921"/>
          </a:xfrm>
        </p:grpSpPr>
        <p:sp>
          <p:nvSpPr>
            <p:cNvPr id="12" name="Rounded Rectangle 11"/>
            <p:cNvSpPr/>
            <p:nvPr/>
          </p:nvSpPr>
          <p:spPr>
            <a:xfrm>
              <a:off x="2349137" y="3658144"/>
              <a:ext cx="240008" cy="316921"/>
            </a:xfrm>
            <a:custGeom>
              <a:avLst/>
              <a:gdLst/>
              <a:ahLst/>
              <a:cxnLst/>
              <a:rect l="0" t="0" r="0" b="0"/>
              <a:pathLst>
                <a:path w="240008" h="316921">
                  <a:moveTo>
                    <a:pt x="119933" y="80238"/>
                  </a:moveTo>
                  <a:cubicBezTo>
                    <a:pt x="98069" y="80238"/>
                    <a:pt x="80309" y="97998"/>
                    <a:pt x="80309" y="119933"/>
                  </a:cubicBezTo>
                  <a:cubicBezTo>
                    <a:pt x="80309" y="141868"/>
                    <a:pt x="98069" y="159628"/>
                    <a:pt x="119933" y="159628"/>
                  </a:cubicBezTo>
                  <a:cubicBezTo>
                    <a:pt x="141797" y="159628"/>
                    <a:pt x="159628" y="141868"/>
                    <a:pt x="159628" y="119933"/>
                  </a:cubicBezTo>
                  <a:cubicBezTo>
                    <a:pt x="159628" y="97998"/>
                    <a:pt x="141868" y="80238"/>
                    <a:pt x="119933" y="80238"/>
                  </a:cubicBezTo>
                  <a:close/>
                  <a:moveTo>
                    <a:pt x="239937" y="119933"/>
                  </a:moveTo>
                  <a:cubicBezTo>
                    <a:pt x="239937" y="53704"/>
                    <a:pt x="186232" y="0"/>
                    <a:pt x="119933" y="0"/>
                  </a:cubicBezTo>
                  <a:cubicBezTo>
                    <a:pt x="53633" y="0"/>
                    <a:pt x="0" y="53704"/>
                    <a:pt x="0" y="119933"/>
                  </a:cubicBezTo>
                  <a:cubicBezTo>
                    <a:pt x="0" y="169321"/>
                    <a:pt x="29859" y="211705"/>
                    <a:pt x="72455" y="230102"/>
                  </a:cubicBezTo>
                  <a:lnTo>
                    <a:pt x="120004" y="316921"/>
                  </a:lnTo>
                  <a:lnTo>
                    <a:pt x="167552" y="230031"/>
                  </a:lnTo>
                  <a:cubicBezTo>
                    <a:pt x="210148" y="211634"/>
                    <a:pt x="240008" y="169251"/>
                    <a:pt x="240008" y="119862"/>
                  </a:cubicBezTo>
                  <a:lnTo>
                    <a:pt x="239937" y="119933"/>
                  </a:lnTo>
                  <a:close/>
                  <a:moveTo>
                    <a:pt x="119933" y="194511"/>
                  </a:moveTo>
                  <a:cubicBezTo>
                    <a:pt x="78823" y="194511"/>
                    <a:pt x="45426" y="161114"/>
                    <a:pt x="45426" y="119933"/>
                  </a:cubicBezTo>
                  <a:cubicBezTo>
                    <a:pt x="45426" y="78752"/>
                    <a:pt x="78823" y="45426"/>
                    <a:pt x="119933" y="45426"/>
                  </a:cubicBezTo>
                  <a:cubicBezTo>
                    <a:pt x="161043" y="45426"/>
                    <a:pt x="194511" y="78752"/>
                    <a:pt x="194511" y="119933"/>
                  </a:cubicBezTo>
                  <a:cubicBezTo>
                    <a:pt x="194511" y="161114"/>
                    <a:pt x="161114" y="194511"/>
                    <a:pt x="119933" y="194511"/>
                  </a:cubicBezTo>
                  <a:close/>
                </a:path>
              </a:pathLst>
            </a:custGeom>
            <a:solidFill>
              <a:srgbClr val="2093FF"/>
            </a:solidFill>
            <a:ln>
              <a:noFill/>
            </a:ln>
          </p:spPr>
          <p:txBody>
            <a:bodyPr rtlCol="0" anchor="ctr"/>
            <a:lstStyle/>
            <a:p>
              <a:pPr algn="ctr"/>
              <a:endParaRPr sz="3600"/>
            </a:p>
          </p:txBody>
        </p:sp>
        <p:sp>
          <p:nvSpPr>
            <p:cNvPr id="13" name="Rounded Rectangle 12"/>
            <p:cNvSpPr/>
            <p:nvPr/>
          </p:nvSpPr>
          <p:spPr>
            <a:xfrm>
              <a:off x="2349137" y="3658144"/>
              <a:ext cx="240008" cy="316921"/>
            </a:xfrm>
            <a:custGeom>
              <a:avLst/>
              <a:gdLst/>
              <a:ahLst/>
              <a:cxnLst/>
              <a:rect l="0" t="0" r="0" b="0"/>
              <a:pathLst>
                <a:path w="240008" h="316921">
                  <a:moveTo>
                    <a:pt x="119933" y="80238"/>
                  </a:moveTo>
                  <a:cubicBezTo>
                    <a:pt x="98069" y="80238"/>
                    <a:pt x="80309" y="97998"/>
                    <a:pt x="80309" y="119933"/>
                  </a:cubicBezTo>
                  <a:cubicBezTo>
                    <a:pt x="80309" y="141868"/>
                    <a:pt x="98069" y="159628"/>
                    <a:pt x="119933" y="159628"/>
                  </a:cubicBezTo>
                  <a:cubicBezTo>
                    <a:pt x="141797" y="159628"/>
                    <a:pt x="159628" y="141868"/>
                    <a:pt x="159628" y="119933"/>
                  </a:cubicBezTo>
                  <a:cubicBezTo>
                    <a:pt x="159628" y="97998"/>
                    <a:pt x="141868" y="80238"/>
                    <a:pt x="119933" y="80238"/>
                  </a:cubicBezTo>
                  <a:close/>
                  <a:moveTo>
                    <a:pt x="239937" y="119933"/>
                  </a:moveTo>
                  <a:cubicBezTo>
                    <a:pt x="239937" y="53704"/>
                    <a:pt x="186232" y="0"/>
                    <a:pt x="119933" y="0"/>
                  </a:cubicBezTo>
                  <a:cubicBezTo>
                    <a:pt x="53633" y="0"/>
                    <a:pt x="0" y="53704"/>
                    <a:pt x="0" y="119933"/>
                  </a:cubicBezTo>
                  <a:cubicBezTo>
                    <a:pt x="0" y="169321"/>
                    <a:pt x="29859" y="211705"/>
                    <a:pt x="72455" y="230102"/>
                  </a:cubicBezTo>
                  <a:lnTo>
                    <a:pt x="120004" y="316921"/>
                  </a:lnTo>
                  <a:lnTo>
                    <a:pt x="167552" y="230031"/>
                  </a:lnTo>
                  <a:cubicBezTo>
                    <a:pt x="210148" y="211634"/>
                    <a:pt x="240008" y="169251"/>
                    <a:pt x="240008" y="119862"/>
                  </a:cubicBezTo>
                  <a:lnTo>
                    <a:pt x="239937" y="119933"/>
                  </a:lnTo>
                  <a:close/>
                  <a:moveTo>
                    <a:pt x="119933" y="194511"/>
                  </a:moveTo>
                  <a:cubicBezTo>
                    <a:pt x="78823" y="194511"/>
                    <a:pt x="45426" y="161114"/>
                    <a:pt x="45426" y="119933"/>
                  </a:cubicBezTo>
                  <a:cubicBezTo>
                    <a:pt x="45426" y="78752"/>
                    <a:pt x="78823" y="45426"/>
                    <a:pt x="119933" y="45426"/>
                  </a:cubicBezTo>
                  <a:cubicBezTo>
                    <a:pt x="161043" y="45426"/>
                    <a:pt x="194511" y="78752"/>
                    <a:pt x="194511" y="119933"/>
                  </a:cubicBezTo>
                  <a:cubicBezTo>
                    <a:pt x="194511" y="161114"/>
                    <a:pt x="161114" y="194511"/>
                    <a:pt x="119933" y="194511"/>
                  </a:cubicBezTo>
                  <a:close/>
                </a:path>
              </a:pathLst>
            </a:custGeom>
            <a:noFill/>
            <a:ln w="5306">
              <a:solidFill>
                <a:srgbClr val="FFFFFF"/>
              </a:solidFill>
            </a:ln>
          </p:spPr>
          <p:txBody>
            <a:bodyPr rtlCol="0" anchor="ctr"/>
            <a:lstStyle/>
            <a:p>
              <a:pPr algn="ctr"/>
              <a:endParaRPr sz="3600"/>
            </a:p>
          </p:txBody>
        </p:sp>
      </p:grpSp>
      <p:grpSp>
        <p:nvGrpSpPr>
          <p:cNvPr id="17" name="Group 16"/>
          <p:cNvGrpSpPr/>
          <p:nvPr/>
        </p:nvGrpSpPr>
        <p:grpSpPr>
          <a:xfrm>
            <a:off x="4227154" y="2275251"/>
            <a:ext cx="290118" cy="383090"/>
            <a:chOff x="1754777" y="2214698"/>
            <a:chExt cx="240008" cy="316921"/>
          </a:xfrm>
        </p:grpSpPr>
        <p:sp>
          <p:nvSpPr>
            <p:cNvPr id="15" name="Rounded Rectangle 14"/>
            <p:cNvSpPr/>
            <p:nvPr/>
          </p:nvSpPr>
          <p:spPr>
            <a:xfrm>
              <a:off x="1754777" y="2214698"/>
              <a:ext cx="240008" cy="316921"/>
            </a:xfrm>
            <a:custGeom>
              <a:avLst/>
              <a:gdLst/>
              <a:ahLst/>
              <a:cxnLst/>
              <a:rect l="0" t="0" r="0" b="0"/>
              <a:pathLst>
                <a:path w="240008" h="316921">
                  <a:moveTo>
                    <a:pt x="119933" y="80238"/>
                  </a:moveTo>
                  <a:cubicBezTo>
                    <a:pt x="98069" y="80238"/>
                    <a:pt x="80309" y="97998"/>
                    <a:pt x="80309" y="119933"/>
                  </a:cubicBezTo>
                  <a:cubicBezTo>
                    <a:pt x="80309" y="141868"/>
                    <a:pt x="98069" y="159628"/>
                    <a:pt x="119933" y="159628"/>
                  </a:cubicBezTo>
                  <a:cubicBezTo>
                    <a:pt x="141797" y="159628"/>
                    <a:pt x="159628" y="141868"/>
                    <a:pt x="159628" y="119933"/>
                  </a:cubicBezTo>
                  <a:cubicBezTo>
                    <a:pt x="159628" y="97998"/>
                    <a:pt x="141868" y="80238"/>
                    <a:pt x="119933" y="80238"/>
                  </a:cubicBezTo>
                  <a:close/>
                  <a:moveTo>
                    <a:pt x="239937" y="119933"/>
                  </a:moveTo>
                  <a:cubicBezTo>
                    <a:pt x="239937" y="53704"/>
                    <a:pt x="186232" y="0"/>
                    <a:pt x="119933" y="0"/>
                  </a:cubicBezTo>
                  <a:cubicBezTo>
                    <a:pt x="53633" y="0"/>
                    <a:pt x="0" y="53704"/>
                    <a:pt x="0" y="119933"/>
                  </a:cubicBezTo>
                  <a:cubicBezTo>
                    <a:pt x="0" y="169321"/>
                    <a:pt x="29859" y="211705"/>
                    <a:pt x="72455" y="230102"/>
                  </a:cubicBezTo>
                  <a:lnTo>
                    <a:pt x="120004" y="316921"/>
                  </a:lnTo>
                  <a:lnTo>
                    <a:pt x="167552" y="230031"/>
                  </a:lnTo>
                  <a:cubicBezTo>
                    <a:pt x="210148" y="211634"/>
                    <a:pt x="240008" y="169251"/>
                    <a:pt x="240008" y="119862"/>
                  </a:cubicBezTo>
                  <a:lnTo>
                    <a:pt x="239937" y="119933"/>
                  </a:lnTo>
                  <a:close/>
                  <a:moveTo>
                    <a:pt x="119933" y="194511"/>
                  </a:moveTo>
                  <a:cubicBezTo>
                    <a:pt x="78823" y="194511"/>
                    <a:pt x="45426" y="161114"/>
                    <a:pt x="45426" y="119933"/>
                  </a:cubicBezTo>
                  <a:cubicBezTo>
                    <a:pt x="45426" y="78752"/>
                    <a:pt x="78823" y="45426"/>
                    <a:pt x="119933" y="45426"/>
                  </a:cubicBezTo>
                  <a:cubicBezTo>
                    <a:pt x="161043" y="45426"/>
                    <a:pt x="194511" y="78752"/>
                    <a:pt x="194511" y="119933"/>
                  </a:cubicBezTo>
                  <a:cubicBezTo>
                    <a:pt x="194511" y="161114"/>
                    <a:pt x="161114" y="194511"/>
                    <a:pt x="119933" y="194511"/>
                  </a:cubicBezTo>
                  <a:close/>
                </a:path>
              </a:pathLst>
            </a:custGeom>
            <a:solidFill>
              <a:srgbClr val="0486FF"/>
            </a:solidFill>
            <a:ln>
              <a:noFill/>
            </a:ln>
          </p:spPr>
          <p:txBody>
            <a:bodyPr rtlCol="0" anchor="ctr"/>
            <a:lstStyle/>
            <a:p>
              <a:pPr algn="ctr"/>
              <a:endParaRPr sz="3600"/>
            </a:p>
          </p:txBody>
        </p:sp>
        <p:sp>
          <p:nvSpPr>
            <p:cNvPr id="16" name="Rounded Rectangle 15"/>
            <p:cNvSpPr/>
            <p:nvPr/>
          </p:nvSpPr>
          <p:spPr>
            <a:xfrm>
              <a:off x="1754777" y="2214698"/>
              <a:ext cx="240008" cy="316921"/>
            </a:xfrm>
            <a:custGeom>
              <a:avLst/>
              <a:gdLst/>
              <a:ahLst/>
              <a:cxnLst/>
              <a:rect l="0" t="0" r="0" b="0"/>
              <a:pathLst>
                <a:path w="240008" h="316921">
                  <a:moveTo>
                    <a:pt x="119933" y="80238"/>
                  </a:moveTo>
                  <a:cubicBezTo>
                    <a:pt x="98069" y="80238"/>
                    <a:pt x="80309" y="97998"/>
                    <a:pt x="80309" y="119933"/>
                  </a:cubicBezTo>
                  <a:cubicBezTo>
                    <a:pt x="80309" y="141868"/>
                    <a:pt x="98069" y="159628"/>
                    <a:pt x="119933" y="159628"/>
                  </a:cubicBezTo>
                  <a:cubicBezTo>
                    <a:pt x="141797" y="159628"/>
                    <a:pt x="159628" y="141868"/>
                    <a:pt x="159628" y="119933"/>
                  </a:cubicBezTo>
                  <a:cubicBezTo>
                    <a:pt x="159628" y="97998"/>
                    <a:pt x="141868" y="80238"/>
                    <a:pt x="119933" y="80238"/>
                  </a:cubicBezTo>
                  <a:close/>
                  <a:moveTo>
                    <a:pt x="239937" y="119933"/>
                  </a:moveTo>
                  <a:cubicBezTo>
                    <a:pt x="239937" y="53704"/>
                    <a:pt x="186232" y="0"/>
                    <a:pt x="119933" y="0"/>
                  </a:cubicBezTo>
                  <a:cubicBezTo>
                    <a:pt x="53633" y="0"/>
                    <a:pt x="0" y="53704"/>
                    <a:pt x="0" y="119933"/>
                  </a:cubicBezTo>
                  <a:cubicBezTo>
                    <a:pt x="0" y="169321"/>
                    <a:pt x="29859" y="211705"/>
                    <a:pt x="72455" y="230102"/>
                  </a:cubicBezTo>
                  <a:lnTo>
                    <a:pt x="120004" y="316921"/>
                  </a:lnTo>
                  <a:lnTo>
                    <a:pt x="167552" y="230031"/>
                  </a:lnTo>
                  <a:cubicBezTo>
                    <a:pt x="210148" y="211634"/>
                    <a:pt x="240008" y="169251"/>
                    <a:pt x="240008" y="119862"/>
                  </a:cubicBezTo>
                  <a:lnTo>
                    <a:pt x="239937" y="119933"/>
                  </a:lnTo>
                  <a:close/>
                  <a:moveTo>
                    <a:pt x="119933" y="194511"/>
                  </a:moveTo>
                  <a:cubicBezTo>
                    <a:pt x="78823" y="194511"/>
                    <a:pt x="45426" y="161114"/>
                    <a:pt x="45426" y="119933"/>
                  </a:cubicBezTo>
                  <a:cubicBezTo>
                    <a:pt x="45426" y="78752"/>
                    <a:pt x="78823" y="45426"/>
                    <a:pt x="119933" y="45426"/>
                  </a:cubicBezTo>
                  <a:cubicBezTo>
                    <a:pt x="161043" y="45426"/>
                    <a:pt x="194511" y="78752"/>
                    <a:pt x="194511" y="119933"/>
                  </a:cubicBezTo>
                  <a:cubicBezTo>
                    <a:pt x="194511" y="161114"/>
                    <a:pt x="161114" y="194511"/>
                    <a:pt x="119933" y="194511"/>
                  </a:cubicBezTo>
                  <a:close/>
                </a:path>
              </a:pathLst>
            </a:custGeom>
            <a:noFill/>
            <a:ln w="5306">
              <a:solidFill>
                <a:srgbClr val="FFFFFF"/>
              </a:solidFill>
            </a:ln>
          </p:spPr>
          <p:txBody>
            <a:bodyPr rtlCol="0" anchor="ctr"/>
            <a:lstStyle/>
            <a:p>
              <a:pPr algn="ctr"/>
              <a:endParaRPr sz="3600"/>
            </a:p>
          </p:txBody>
        </p:sp>
      </p:grpSp>
      <p:sp>
        <p:nvSpPr>
          <p:cNvPr id="19" name="TextBox 18"/>
          <p:cNvSpPr txBox="1"/>
          <p:nvPr/>
        </p:nvSpPr>
        <p:spPr>
          <a:xfrm>
            <a:off x="5875531" y="1171169"/>
            <a:ext cx="2127581" cy="246221"/>
          </a:xfrm>
          <a:prstGeom prst="rect">
            <a:avLst/>
          </a:prstGeom>
          <a:noFill/>
          <a:ln>
            <a:noFill/>
          </a:ln>
        </p:spPr>
        <p:txBody>
          <a:bodyPr wrap="square" lIns="0" tIns="0" rIns="0" bIns="0" anchor="t">
            <a:spAutoFit/>
          </a:bodyPr>
          <a:lstStyle/>
          <a:p>
            <a:pPr algn="ctr"/>
            <a:r>
              <a:rPr sz="1600" b="1">
                <a:solidFill>
                  <a:srgbClr val="1A1A1A"/>
                </a:solidFill>
                <a:latin typeface="Arial"/>
              </a:rPr>
              <a:t>Market Size in</a:t>
            </a:r>
            <a:r>
              <a:rPr lang="en-US" sz="1600" b="1">
                <a:solidFill>
                  <a:srgbClr val="1A1A1A"/>
                </a:solidFill>
                <a:latin typeface="Arial"/>
              </a:rPr>
              <a:t> </a:t>
            </a:r>
            <a:r>
              <a:rPr sz="1600" b="1">
                <a:solidFill>
                  <a:srgbClr val="1A1A1A"/>
                </a:solidFill>
                <a:latin typeface="Arial"/>
              </a:rPr>
              <a:t>2030</a:t>
            </a:r>
          </a:p>
        </p:txBody>
      </p:sp>
      <p:sp>
        <p:nvSpPr>
          <p:cNvPr id="20" name="TextBox 19"/>
          <p:cNvSpPr txBox="1"/>
          <p:nvPr/>
        </p:nvSpPr>
        <p:spPr>
          <a:xfrm>
            <a:off x="3424482" y="1313232"/>
            <a:ext cx="1883529" cy="246221"/>
          </a:xfrm>
          <a:prstGeom prst="rect">
            <a:avLst/>
          </a:prstGeom>
          <a:noFill/>
          <a:ln>
            <a:noFill/>
          </a:ln>
        </p:spPr>
        <p:txBody>
          <a:bodyPr wrap="none" lIns="0" tIns="0" rIns="0" bIns="0" anchor="t">
            <a:spAutoFit/>
          </a:bodyPr>
          <a:lstStyle/>
          <a:p>
            <a:pPr algn="ctr"/>
            <a:r>
              <a:rPr sz="1600" b="1">
                <a:solidFill>
                  <a:srgbClr val="1A1A1A"/>
                </a:solidFill>
                <a:latin typeface="Arial"/>
              </a:rPr>
              <a:t>Market Size in</a:t>
            </a:r>
            <a:r>
              <a:rPr lang="en-US" sz="1600" b="1">
                <a:solidFill>
                  <a:srgbClr val="1A1A1A"/>
                </a:solidFill>
                <a:latin typeface="Arial"/>
              </a:rPr>
              <a:t> </a:t>
            </a:r>
            <a:r>
              <a:rPr sz="1600" b="1">
                <a:solidFill>
                  <a:srgbClr val="1A1A1A"/>
                </a:solidFill>
                <a:latin typeface="Arial"/>
              </a:rPr>
              <a:t>2024</a:t>
            </a:r>
          </a:p>
        </p:txBody>
      </p:sp>
      <p:sp>
        <p:nvSpPr>
          <p:cNvPr id="21" name="TextBox 20"/>
          <p:cNvSpPr txBox="1"/>
          <p:nvPr/>
        </p:nvSpPr>
        <p:spPr>
          <a:xfrm>
            <a:off x="5842879" y="1458334"/>
            <a:ext cx="2127581" cy="553998"/>
          </a:xfrm>
          <a:prstGeom prst="rect">
            <a:avLst/>
          </a:prstGeom>
          <a:noFill/>
          <a:ln>
            <a:noFill/>
          </a:ln>
        </p:spPr>
        <p:txBody>
          <a:bodyPr wrap="square" lIns="0" tIns="0" rIns="0" bIns="0" anchor="t">
            <a:spAutoFit/>
          </a:bodyPr>
          <a:lstStyle/>
          <a:p>
            <a:pPr algn="ctr"/>
            <a:r>
              <a:rPr sz="1200">
                <a:solidFill>
                  <a:srgbClr val="1A1A1A"/>
                </a:solidFill>
                <a:latin typeface="Arial"/>
              </a:rPr>
              <a:t>The market reaches</a:t>
            </a:r>
            <a:r>
              <a:rPr lang="en-US" sz="1200">
                <a:solidFill>
                  <a:srgbClr val="1A1A1A"/>
                </a:solidFill>
                <a:latin typeface="Arial"/>
              </a:rPr>
              <a:t> </a:t>
            </a:r>
            <a:r>
              <a:rPr sz="1200">
                <a:solidFill>
                  <a:srgbClr val="1A1A1A"/>
                </a:solidFill>
                <a:latin typeface="Arial"/>
              </a:rPr>
              <a:t>$47.1 billion,</a:t>
            </a:r>
            <a:r>
              <a:rPr lang="en-US" sz="1200">
                <a:solidFill>
                  <a:srgbClr val="1A1A1A"/>
                </a:solidFill>
                <a:latin typeface="Arial"/>
              </a:rPr>
              <a:t> </a:t>
            </a:r>
            <a:r>
              <a:rPr sz="1200">
                <a:solidFill>
                  <a:srgbClr val="1A1A1A"/>
                </a:solidFill>
                <a:latin typeface="Arial"/>
              </a:rPr>
              <a:t>showcasing</a:t>
            </a:r>
            <a:r>
              <a:rPr lang="en-US" sz="1200">
                <a:solidFill>
                  <a:srgbClr val="1A1A1A"/>
                </a:solidFill>
                <a:latin typeface="Arial"/>
              </a:rPr>
              <a:t> </a:t>
            </a:r>
            <a:r>
              <a:rPr sz="1200">
                <a:solidFill>
                  <a:srgbClr val="1A1A1A"/>
                </a:solidFill>
                <a:latin typeface="Arial"/>
              </a:rPr>
              <a:t>significant expansion</a:t>
            </a:r>
            <a:r>
              <a:rPr lang="en-US" sz="1200">
                <a:solidFill>
                  <a:srgbClr val="1A1A1A"/>
                </a:solidFill>
                <a:latin typeface="Arial"/>
              </a:rPr>
              <a:t> </a:t>
            </a:r>
            <a:r>
              <a:rPr sz="1200">
                <a:solidFill>
                  <a:srgbClr val="1A1A1A"/>
                </a:solidFill>
                <a:latin typeface="Arial"/>
              </a:rPr>
              <a:t>and potential.</a:t>
            </a:r>
          </a:p>
        </p:txBody>
      </p:sp>
      <p:sp>
        <p:nvSpPr>
          <p:cNvPr id="22" name="TextBox 21"/>
          <p:cNvSpPr txBox="1"/>
          <p:nvPr/>
        </p:nvSpPr>
        <p:spPr>
          <a:xfrm>
            <a:off x="3424482" y="1625764"/>
            <a:ext cx="1883529" cy="553998"/>
          </a:xfrm>
          <a:prstGeom prst="rect">
            <a:avLst/>
          </a:prstGeom>
          <a:noFill/>
          <a:ln>
            <a:noFill/>
          </a:ln>
        </p:spPr>
        <p:txBody>
          <a:bodyPr wrap="square" lIns="0" tIns="0" rIns="0" bIns="0" anchor="t">
            <a:spAutoFit/>
          </a:bodyPr>
          <a:lstStyle/>
          <a:p>
            <a:pPr algn="ctr"/>
            <a:r>
              <a:rPr sz="1200">
                <a:solidFill>
                  <a:srgbClr val="1A1A1A"/>
                </a:solidFill>
                <a:latin typeface="Arial"/>
              </a:rPr>
              <a:t>The AI agent market</a:t>
            </a:r>
            <a:r>
              <a:rPr lang="en-US" sz="1200">
                <a:solidFill>
                  <a:srgbClr val="1A1A1A"/>
                </a:solidFill>
                <a:latin typeface="Arial"/>
              </a:rPr>
              <a:t> </a:t>
            </a:r>
            <a:r>
              <a:rPr sz="1200">
                <a:solidFill>
                  <a:srgbClr val="1A1A1A"/>
                </a:solidFill>
                <a:latin typeface="Arial"/>
              </a:rPr>
              <a:t>starts at $5.1 billion,</a:t>
            </a:r>
            <a:r>
              <a:rPr lang="en-US" sz="1200">
                <a:solidFill>
                  <a:srgbClr val="1A1A1A"/>
                </a:solidFill>
                <a:latin typeface="Arial"/>
              </a:rPr>
              <a:t> </a:t>
            </a:r>
            <a:r>
              <a:rPr sz="1200">
                <a:solidFill>
                  <a:srgbClr val="1A1A1A"/>
                </a:solidFill>
                <a:latin typeface="Arial"/>
              </a:rPr>
              <a:t>setting the stage</a:t>
            </a:r>
            <a:r>
              <a:rPr lang="en-US" sz="1200">
                <a:solidFill>
                  <a:srgbClr val="1A1A1A"/>
                </a:solidFill>
                <a:latin typeface="Arial"/>
              </a:rPr>
              <a:t> </a:t>
            </a:r>
            <a:r>
              <a:rPr sz="1200">
                <a:solidFill>
                  <a:srgbClr val="1A1A1A"/>
                </a:solidFill>
                <a:latin typeface="Arial"/>
              </a:rPr>
              <a:t>for</a:t>
            </a:r>
            <a:r>
              <a:rPr lang="en-US" sz="1200">
                <a:solidFill>
                  <a:srgbClr val="1A1A1A"/>
                </a:solidFill>
                <a:latin typeface="Arial"/>
              </a:rPr>
              <a:t> </a:t>
            </a:r>
            <a:r>
              <a:rPr sz="1200">
                <a:solidFill>
                  <a:srgbClr val="1A1A1A"/>
                </a:solidFill>
                <a:latin typeface="Arial"/>
              </a:rPr>
              <a:t>future growth.</a:t>
            </a:r>
          </a:p>
        </p:txBody>
      </p:sp>
      <p:sp>
        <p:nvSpPr>
          <p:cNvPr id="23" name="TextBox 22"/>
          <p:cNvSpPr txBox="1"/>
          <p:nvPr/>
        </p:nvSpPr>
        <p:spPr>
          <a:xfrm>
            <a:off x="6735232" y="4745959"/>
            <a:ext cx="2430153" cy="246221"/>
          </a:xfrm>
          <a:prstGeom prst="rect">
            <a:avLst/>
          </a:prstGeom>
          <a:noFill/>
          <a:ln>
            <a:noFill/>
          </a:ln>
        </p:spPr>
        <p:txBody>
          <a:bodyPr wrap="none" lIns="0" tIns="0" rIns="0" bIns="0" anchor="t">
            <a:spAutoFit/>
          </a:bodyPr>
          <a:lstStyle/>
          <a:p>
            <a:pPr algn="ctr"/>
            <a:r>
              <a:rPr sz="1600" b="1">
                <a:solidFill>
                  <a:srgbClr val="1A1A1A"/>
                </a:solidFill>
                <a:latin typeface="Arial"/>
              </a:rPr>
              <a:t>Broader Market</a:t>
            </a:r>
            <a:r>
              <a:rPr lang="en-US" sz="1600" b="1">
                <a:solidFill>
                  <a:srgbClr val="1A1A1A"/>
                </a:solidFill>
                <a:latin typeface="Arial"/>
              </a:rPr>
              <a:t> </a:t>
            </a:r>
            <a:r>
              <a:rPr sz="1600" b="1">
                <a:solidFill>
                  <a:srgbClr val="1A1A1A"/>
                </a:solidFill>
                <a:latin typeface="Arial"/>
              </a:rPr>
              <a:t>Potential</a:t>
            </a:r>
          </a:p>
        </p:txBody>
      </p:sp>
      <p:sp>
        <p:nvSpPr>
          <p:cNvPr id="24" name="TextBox 23"/>
          <p:cNvSpPr txBox="1"/>
          <p:nvPr/>
        </p:nvSpPr>
        <p:spPr>
          <a:xfrm>
            <a:off x="4803289" y="4991406"/>
            <a:ext cx="1494000" cy="246221"/>
          </a:xfrm>
          <a:prstGeom prst="rect">
            <a:avLst/>
          </a:prstGeom>
          <a:noFill/>
          <a:ln>
            <a:noFill/>
          </a:ln>
        </p:spPr>
        <p:txBody>
          <a:bodyPr wrap="none" lIns="0" tIns="0" rIns="0" bIns="0" anchor="t">
            <a:spAutoFit/>
          </a:bodyPr>
          <a:lstStyle/>
          <a:p>
            <a:pPr algn="ctr"/>
            <a:r>
              <a:rPr sz="1600" b="1">
                <a:solidFill>
                  <a:srgbClr val="1A1A1A"/>
                </a:solidFill>
                <a:latin typeface="Arial"/>
              </a:rPr>
              <a:t>CAGR of</a:t>
            </a:r>
            <a:r>
              <a:rPr lang="en-US" sz="1600" b="1">
                <a:solidFill>
                  <a:srgbClr val="1A1A1A"/>
                </a:solidFill>
                <a:latin typeface="Arial"/>
              </a:rPr>
              <a:t> </a:t>
            </a:r>
            <a:r>
              <a:rPr sz="1600" b="1">
                <a:solidFill>
                  <a:srgbClr val="1A1A1A"/>
                </a:solidFill>
                <a:latin typeface="Arial"/>
              </a:rPr>
              <a:t>44.8%</a:t>
            </a:r>
          </a:p>
        </p:txBody>
      </p:sp>
      <p:sp>
        <p:nvSpPr>
          <p:cNvPr id="25" name="TextBox 24"/>
          <p:cNvSpPr txBox="1"/>
          <p:nvPr/>
        </p:nvSpPr>
        <p:spPr>
          <a:xfrm>
            <a:off x="6906669" y="5033657"/>
            <a:ext cx="2258716" cy="738664"/>
          </a:xfrm>
          <a:prstGeom prst="rect">
            <a:avLst/>
          </a:prstGeom>
          <a:noFill/>
          <a:ln>
            <a:noFill/>
          </a:ln>
        </p:spPr>
        <p:txBody>
          <a:bodyPr wrap="square" lIns="0" tIns="0" rIns="0" bIns="0" anchor="t">
            <a:spAutoFit/>
          </a:bodyPr>
          <a:lstStyle/>
          <a:p>
            <a:pPr algn="ctr"/>
            <a:r>
              <a:rPr sz="1200">
                <a:solidFill>
                  <a:srgbClr val="1A1A1A"/>
                </a:solidFill>
                <a:latin typeface="Arial"/>
              </a:rPr>
              <a:t>The broader agent</a:t>
            </a:r>
            <a:r>
              <a:rPr lang="en-US" sz="1200">
                <a:solidFill>
                  <a:srgbClr val="1A1A1A"/>
                </a:solidFill>
                <a:latin typeface="Arial"/>
              </a:rPr>
              <a:t> </a:t>
            </a:r>
            <a:r>
              <a:rPr sz="1200">
                <a:solidFill>
                  <a:srgbClr val="1A1A1A"/>
                </a:solidFill>
                <a:latin typeface="Arial"/>
              </a:rPr>
              <a:t>orchestration market</a:t>
            </a:r>
            <a:r>
              <a:rPr lang="en-US" sz="1200">
                <a:solidFill>
                  <a:srgbClr val="1A1A1A"/>
                </a:solidFill>
                <a:latin typeface="Arial"/>
              </a:rPr>
              <a:t> </a:t>
            </a:r>
            <a:r>
              <a:rPr sz="1200">
                <a:solidFill>
                  <a:srgbClr val="1A1A1A"/>
                </a:solidFill>
                <a:latin typeface="Arial"/>
              </a:rPr>
              <a:t>could reach $1.811</a:t>
            </a:r>
            <a:r>
              <a:rPr lang="en-US" sz="1200">
                <a:solidFill>
                  <a:srgbClr val="1A1A1A"/>
                </a:solidFill>
                <a:latin typeface="Arial"/>
              </a:rPr>
              <a:t> </a:t>
            </a:r>
            <a:r>
              <a:rPr sz="1200">
                <a:solidFill>
                  <a:srgbClr val="1A1A1A"/>
                </a:solidFill>
                <a:latin typeface="Arial"/>
              </a:rPr>
              <a:t>trillion, indicating vast</a:t>
            </a:r>
            <a:r>
              <a:rPr lang="en-US" sz="1200">
                <a:solidFill>
                  <a:srgbClr val="1A1A1A"/>
                </a:solidFill>
                <a:latin typeface="Arial"/>
              </a:rPr>
              <a:t> </a:t>
            </a:r>
            <a:r>
              <a:rPr sz="1200">
                <a:solidFill>
                  <a:srgbClr val="1A1A1A"/>
                </a:solidFill>
                <a:latin typeface="Arial"/>
              </a:rPr>
              <a:t>opportunities.</a:t>
            </a:r>
          </a:p>
        </p:txBody>
      </p:sp>
      <p:sp>
        <p:nvSpPr>
          <p:cNvPr id="26" name="TextBox 25"/>
          <p:cNvSpPr txBox="1"/>
          <p:nvPr/>
        </p:nvSpPr>
        <p:spPr>
          <a:xfrm>
            <a:off x="4488956" y="5310950"/>
            <a:ext cx="2122665" cy="553998"/>
          </a:xfrm>
          <a:prstGeom prst="rect">
            <a:avLst/>
          </a:prstGeom>
          <a:noFill/>
          <a:ln>
            <a:noFill/>
          </a:ln>
        </p:spPr>
        <p:txBody>
          <a:bodyPr wrap="square" lIns="0" tIns="0" rIns="0" bIns="0" anchor="t">
            <a:spAutoFit/>
          </a:bodyPr>
          <a:lstStyle/>
          <a:p>
            <a:pPr algn="ctr"/>
            <a:r>
              <a:rPr sz="1200">
                <a:solidFill>
                  <a:srgbClr val="1A1A1A"/>
                </a:solidFill>
                <a:latin typeface="Arial"/>
              </a:rPr>
              <a:t>The market</a:t>
            </a:r>
            <a:r>
              <a:rPr lang="en-US" sz="1200">
                <a:solidFill>
                  <a:srgbClr val="1A1A1A"/>
                </a:solidFill>
                <a:latin typeface="Arial"/>
              </a:rPr>
              <a:t> </a:t>
            </a:r>
            <a:r>
              <a:rPr sz="1200">
                <a:solidFill>
                  <a:srgbClr val="1A1A1A"/>
                </a:solidFill>
                <a:latin typeface="Arial"/>
              </a:rPr>
              <a:t>experiences rapid</a:t>
            </a:r>
            <a:r>
              <a:rPr lang="en-US" sz="1200">
                <a:solidFill>
                  <a:srgbClr val="1A1A1A"/>
                </a:solidFill>
                <a:latin typeface="Arial"/>
              </a:rPr>
              <a:t> </a:t>
            </a:r>
            <a:r>
              <a:rPr sz="1200">
                <a:solidFill>
                  <a:srgbClr val="1A1A1A"/>
                </a:solidFill>
                <a:latin typeface="Arial"/>
              </a:rPr>
              <a:t>growth, driven by</a:t>
            </a:r>
            <a:r>
              <a:rPr lang="en-US" sz="1200">
                <a:solidFill>
                  <a:srgbClr val="1A1A1A"/>
                </a:solidFill>
                <a:latin typeface="Arial"/>
              </a:rPr>
              <a:t> </a:t>
            </a:r>
            <a:r>
              <a:rPr sz="1200">
                <a:solidFill>
                  <a:srgbClr val="1A1A1A"/>
                </a:solidFill>
                <a:latin typeface="Arial"/>
              </a:rPr>
              <a:t>technological</a:t>
            </a:r>
            <a:r>
              <a:rPr lang="en-US" sz="1200">
                <a:solidFill>
                  <a:srgbClr val="1A1A1A"/>
                </a:solidFill>
                <a:latin typeface="Arial"/>
              </a:rPr>
              <a:t> </a:t>
            </a:r>
            <a:r>
              <a:rPr sz="1200">
                <a:solidFill>
                  <a:srgbClr val="1A1A1A"/>
                </a:solidFill>
                <a:latin typeface="Arial"/>
              </a:rPr>
              <a:t>advancements and</a:t>
            </a:r>
            <a:r>
              <a:rPr lang="en-US" sz="1200">
                <a:solidFill>
                  <a:srgbClr val="1A1A1A"/>
                </a:solidFill>
                <a:latin typeface="Arial"/>
              </a:rPr>
              <a:t> </a:t>
            </a:r>
            <a:r>
              <a:rPr sz="1200">
                <a:solidFill>
                  <a:srgbClr val="1A1A1A"/>
                </a:solidFill>
                <a:latin typeface="Arial"/>
              </a:rPr>
              <a:t>adoption.</a:t>
            </a:r>
          </a:p>
        </p:txBody>
      </p:sp>
      <p:sp>
        <p:nvSpPr>
          <p:cNvPr id="30" name="Title 29">
            <a:extLst>
              <a:ext uri="{FF2B5EF4-FFF2-40B4-BE49-F238E27FC236}">
                <a16:creationId xmlns:a16="http://schemas.microsoft.com/office/drawing/2014/main" id="{C98348B5-B037-C96A-5E0B-67A15CB777C2}"/>
              </a:ext>
            </a:extLst>
          </p:cNvPr>
          <p:cNvSpPr>
            <a:spLocks noGrp="1"/>
          </p:cNvSpPr>
          <p:nvPr>
            <p:ph type="title"/>
          </p:nvPr>
        </p:nvSpPr>
        <p:spPr/>
        <p:txBody>
          <a:bodyPr/>
          <a:lstStyle/>
          <a:p>
            <a:r>
              <a:rPr lang="en-US"/>
              <a:t>AI Agent Market Growth</a:t>
            </a:r>
          </a:p>
        </p:txBody>
      </p:sp>
      <p:sp>
        <p:nvSpPr>
          <p:cNvPr id="31" name="TextBox 30">
            <a:extLst>
              <a:ext uri="{FF2B5EF4-FFF2-40B4-BE49-F238E27FC236}">
                <a16:creationId xmlns:a16="http://schemas.microsoft.com/office/drawing/2014/main" id="{A68EC286-E6AB-7E60-2834-D2892A83F6ED}"/>
              </a:ext>
            </a:extLst>
          </p:cNvPr>
          <p:cNvSpPr txBox="1"/>
          <p:nvPr/>
        </p:nvSpPr>
        <p:spPr>
          <a:xfrm>
            <a:off x="156910" y="6473952"/>
            <a:ext cx="5256567" cy="215444"/>
          </a:xfrm>
          <a:prstGeom prst="rect">
            <a:avLst/>
          </a:prstGeom>
          <a:noFill/>
        </p:spPr>
        <p:txBody>
          <a:bodyPr wrap="none" rtlCol="0">
            <a:spAutoFit/>
          </a:bodyPr>
          <a:lstStyle/>
          <a:p>
            <a:r>
              <a:rPr lang="en-US" sz="800"/>
              <a:t>https://</a:t>
            </a:r>
            <a:r>
              <a:rPr lang="en-US" sz="800" err="1"/>
              <a:t>superagi.com</a:t>
            </a:r>
            <a:r>
              <a:rPr lang="en-US" sz="800"/>
              <a:t>/how-to-build-a-scalable-agent-orchestration-framework-from-scratch-a-step-by-step-guide/</a:t>
            </a: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CCE49B9-20AB-C723-744D-67A1933F7FB5}"/>
              </a:ext>
            </a:extLst>
          </p:cNvPr>
          <p:cNvSpPr>
            <a:spLocks noGrp="1"/>
          </p:cNvSpPr>
          <p:nvPr>
            <p:ph type="title"/>
          </p:nvPr>
        </p:nvSpPr>
        <p:spPr/>
        <p:txBody>
          <a:bodyPr/>
          <a:lstStyle/>
          <a:p>
            <a:r>
              <a:rPr lang="en-US"/>
              <a:t>Key Benefits &amp; Business Impact</a:t>
            </a:r>
          </a:p>
        </p:txBody>
      </p:sp>
      <p:grpSp>
        <p:nvGrpSpPr>
          <p:cNvPr id="20" name="Group 19">
            <a:extLst>
              <a:ext uri="{FF2B5EF4-FFF2-40B4-BE49-F238E27FC236}">
                <a16:creationId xmlns:a16="http://schemas.microsoft.com/office/drawing/2014/main" id="{C787A79D-2D99-B688-4533-8B3E3EF4C09D}"/>
              </a:ext>
            </a:extLst>
          </p:cNvPr>
          <p:cNvGrpSpPr>
            <a:grpSpLocks noChangeAspect="1"/>
          </p:cNvGrpSpPr>
          <p:nvPr/>
        </p:nvGrpSpPr>
        <p:grpSpPr>
          <a:xfrm>
            <a:off x="1201271" y="1989761"/>
            <a:ext cx="9789458" cy="3200400"/>
            <a:chOff x="1600200" y="2836068"/>
            <a:chExt cx="5943600" cy="1943101"/>
          </a:xfrm>
        </p:grpSpPr>
        <p:grpSp>
          <p:nvGrpSpPr>
            <p:cNvPr id="5" name="Group 4">
              <a:extLst>
                <a:ext uri="{FF2B5EF4-FFF2-40B4-BE49-F238E27FC236}">
                  <a16:creationId xmlns:a16="http://schemas.microsoft.com/office/drawing/2014/main" id="{37A9773D-5882-0165-427A-6CD65AF6DE94}"/>
                </a:ext>
              </a:extLst>
            </p:cNvPr>
            <p:cNvGrpSpPr/>
            <p:nvPr/>
          </p:nvGrpSpPr>
          <p:grpSpPr>
            <a:xfrm>
              <a:off x="1600200" y="2836069"/>
              <a:ext cx="1828800" cy="1714500"/>
              <a:chOff x="457200" y="1257300"/>
              <a:chExt cx="1828800" cy="1714500"/>
            </a:xfrm>
          </p:grpSpPr>
          <p:sp>
            <p:nvSpPr>
              <p:cNvPr id="6" name="Rounded Rectangle 1">
                <a:extLst>
                  <a:ext uri="{FF2B5EF4-FFF2-40B4-BE49-F238E27FC236}">
                    <a16:creationId xmlns:a16="http://schemas.microsoft.com/office/drawing/2014/main" id="{50A1CADC-7D77-FFCD-C1A7-9867D76DFC17}"/>
                  </a:ext>
                </a:extLst>
              </p:cNvPr>
              <p:cNvSpPr/>
              <p:nvPr/>
            </p:nvSpPr>
            <p:spPr>
              <a:xfrm>
                <a:off x="457200" y="1257300"/>
                <a:ext cx="1828800" cy="1714500"/>
              </a:xfrm>
              <a:custGeom>
                <a:avLst/>
                <a:gdLst/>
                <a:ahLst/>
                <a:cxnLst/>
                <a:rect l="0" t="0" r="0" b="0"/>
                <a:pathLst>
                  <a:path w="1828800" h="1714500">
                    <a:moveTo>
                      <a:pt x="1828800" y="457200"/>
                    </a:moveTo>
                    <a:lnTo>
                      <a:pt x="0" y="457200"/>
                    </a:lnTo>
                    <a:cubicBezTo>
                      <a:pt x="0" y="204695"/>
                      <a:pt x="0" y="0"/>
                      <a:pt x="0" y="0"/>
                    </a:cubicBezTo>
                    <a:lnTo>
                      <a:pt x="1828800" y="0"/>
                    </a:lnTo>
                    <a:lnTo>
                      <a:pt x="1828800" y="457200"/>
                    </a:lnTo>
                    <a:close/>
                    <a:moveTo>
                      <a:pt x="1828800" y="1257300"/>
                    </a:moveTo>
                    <a:lnTo>
                      <a:pt x="1828800" y="457200"/>
                    </a:lnTo>
                    <a:lnTo>
                      <a:pt x="0" y="457200"/>
                    </a:lnTo>
                    <a:lnTo>
                      <a:pt x="0" y="1257300"/>
                    </a:lnTo>
                    <a:lnTo>
                      <a:pt x="1828800" y="1257300"/>
                    </a:lnTo>
                    <a:close/>
                    <a:moveTo>
                      <a:pt x="0" y="1257300"/>
                    </a:moveTo>
                    <a:lnTo>
                      <a:pt x="0" y="1714500"/>
                    </a:lnTo>
                    <a:lnTo>
                      <a:pt x="1019822" y="1714500"/>
                    </a:lnTo>
                    <a:cubicBezTo>
                      <a:pt x="1264148" y="1714500"/>
                      <a:pt x="1524000" y="1714500"/>
                      <a:pt x="1762125" y="1657350"/>
                    </a:cubicBezTo>
                    <a:cubicBezTo>
                      <a:pt x="1762125" y="1657350"/>
                      <a:pt x="1828800" y="1571625"/>
                      <a:pt x="1828800" y="1257300"/>
                    </a:cubicBezTo>
                    <a:lnTo>
                      <a:pt x="0" y="1257300"/>
                    </a:lnTo>
                    <a:close/>
                  </a:path>
                </a:pathLst>
              </a:custGeom>
              <a:solidFill>
                <a:srgbClr val="0D8AFF"/>
              </a:solidFill>
              <a:ln>
                <a:noFill/>
              </a:ln>
            </p:spPr>
            <p:txBody>
              <a:bodyPr rtlCol="0" anchor="ctr"/>
              <a:lstStyle/>
              <a:p>
                <a:pPr algn="ctr"/>
                <a:endParaRPr sz="2400"/>
              </a:p>
            </p:txBody>
          </p:sp>
          <p:sp>
            <p:nvSpPr>
              <p:cNvPr id="7" name="Rounded Rectangle 2">
                <a:extLst>
                  <a:ext uri="{FF2B5EF4-FFF2-40B4-BE49-F238E27FC236}">
                    <a16:creationId xmlns:a16="http://schemas.microsoft.com/office/drawing/2014/main" id="{A0AFA4CD-B899-101D-BB94-69C1D322FFCE}"/>
                  </a:ext>
                </a:extLst>
              </p:cNvPr>
              <p:cNvSpPr/>
              <p:nvPr/>
            </p:nvSpPr>
            <p:spPr>
              <a:xfrm>
                <a:off x="457200" y="1257300"/>
                <a:ext cx="1828800" cy="1714500"/>
              </a:xfrm>
              <a:custGeom>
                <a:avLst/>
                <a:gdLst/>
                <a:ahLst/>
                <a:cxnLst/>
                <a:rect l="0" t="0" r="0" b="0"/>
                <a:pathLst>
                  <a:path w="1828800" h="1714500">
                    <a:moveTo>
                      <a:pt x="1828800" y="457200"/>
                    </a:moveTo>
                    <a:lnTo>
                      <a:pt x="1828800" y="0"/>
                    </a:lnTo>
                    <a:lnTo>
                      <a:pt x="0" y="0"/>
                    </a:lnTo>
                    <a:lnTo>
                      <a:pt x="0" y="457199"/>
                    </a:lnTo>
                    <a:moveTo>
                      <a:pt x="1828800" y="1257300"/>
                    </a:moveTo>
                    <a:lnTo>
                      <a:pt x="1828800" y="457200"/>
                    </a:lnTo>
                    <a:moveTo>
                      <a:pt x="0" y="1257300"/>
                    </a:moveTo>
                    <a:lnTo>
                      <a:pt x="0" y="457200"/>
                    </a:lnTo>
                    <a:moveTo>
                      <a:pt x="0" y="1257300"/>
                    </a:moveTo>
                    <a:lnTo>
                      <a:pt x="0" y="1714500"/>
                    </a:lnTo>
                    <a:lnTo>
                      <a:pt x="1019825" y="1714500"/>
                    </a:lnTo>
                    <a:cubicBezTo>
                      <a:pt x="1264149" y="1714500"/>
                      <a:pt x="1524000" y="1714500"/>
                      <a:pt x="1762125" y="1657350"/>
                    </a:cubicBezTo>
                    <a:cubicBezTo>
                      <a:pt x="1762125" y="1657350"/>
                      <a:pt x="1828800" y="1571625"/>
                      <a:pt x="1828800" y="1257300"/>
                    </a:cubicBezTo>
                  </a:path>
                </a:pathLst>
              </a:custGeom>
              <a:noFill/>
              <a:ln w="7143">
                <a:solidFill>
                  <a:srgbClr val="FFFFFF"/>
                </a:solidFill>
              </a:ln>
            </p:spPr>
            <p:txBody>
              <a:bodyPr rtlCol="0" anchor="ctr"/>
              <a:lstStyle/>
              <a:p>
                <a:pPr algn="ctr"/>
                <a:endParaRPr sz="2400"/>
              </a:p>
            </p:txBody>
          </p:sp>
        </p:grpSp>
        <p:grpSp>
          <p:nvGrpSpPr>
            <p:cNvPr id="8" name="Group 7">
              <a:extLst>
                <a:ext uri="{FF2B5EF4-FFF2-40B4-BE49-F238E27FC236}">
                  <a16:creationId xmlns:a16="http://schemas.microsoft.com/office/drawing/2014/main" id="{353FC651-5DAA-F369-B69A-72A2CBBAE5EB}"/>
                </a:ext>
              </a:extLst>
            </p:cNvPr>
            <p:cNvGrpSpPr/>
            <p:nvPr/>
          </p:nvGrpSpPr>
          <p:grpSpPr>
            <a:xfrm>
              <a:off x="3657600" y="2950369"/>
              <a:ext cx="1828800" cy="1600200"/>
              <a:chOff x="2514600" y="1371600"/>
              <a:chExt cx="1828800" cy="1600200"/>
            </a:xfrm>
          </p:grpSpPr>
          <p:sp>
            <p:nvSpPr>
              <p:cNvPr id="9" name="Rounded Rectangle 4">
                <a:extLst>
                  <a:ext uri="{FF2B5EF4-FFF2-40B4-BE49-F238E27FC236}">
                    <a16:creationId xmlns:a16="http://schemas.microsoft.com/office/drawing/2014/main" id="{393460F3-D436-37E8-BE11-C3DD499034A4}"/>
                  </a:ext>
                </a:extLst>
              </p:cNvPr>
              <p:cNvSpPr/>
              <p:nvPr/>
            </p:nvSpPr>
            <p:spPr>
              <a:xfrm>
                <a:off x="2514600" y="1371600"/>
                <a:ext cx="1828800" cy="1600200"/>
              </a:xfrm>
              <a:custGeom>
                <a:avLst/>
                <a:gdLst/>
                <a:ahLst/>
                <a:cxnLst/>
                <a:rect l="0" t="0" r="0" b="0"/>
                <a:pathLst>
                  <a:path w="1828800" h="1600200">
                    <a:moveTo>
                      <a:pt x="1828800" y="457200"/>
                    </a:moveTo>
                    <a:lnTo>
                      <a:pt x="0" y="457200"/>
                    </a:lnTo>
                    <a:cubicBezTo>
                      <a:pt x="0" y="204695"/>
                      <a:pt x="0" y="0"/>
                      <a:pt x="0" y="0"/>
                    </a:cubicBezTo>
                    <a:lnTo>
                      <a:pt x="1828800" y="0"/>
                    </a:lnTo>
                    <a:lnTo>
                      <a:pt x="1828800" y="457200"/>
                    </a:lnTo>
                    <a:close/>
                    <a:moveTo>
                      <a:pt x="1828800" y="1143000"/>
                    </a:moveTo>
                    <a:lnTo>
                      <a:pt x="1828800" y="457200"/>
                    </a:lnTo>
                    <a:lnTo>
                      <a:pt x="0" y="457200"/>
                    </a:lnTo>
                    <a:lnTo>
                      <a:pt x="0" y="1143000"/>
                    </a:lnTo>
                    <a:lnTo>
                      <a:pt x="1828800" y="1143000"/>
                    </a:lnTo>
                    <a:close/>
                    <a:moveTo>
                      <a:pt x="1828800" y="1143000"/>
                    </a:moveTo>
                    <a:lnTo>
                      <a:pt x="1828800" y="1600200"/>
                    </a:lnTo>
                    <a:lnTo>
                      <a:pt x="519112" y="1600200"/>
                    </a:lnTo>
                    <a:cubicBezTo>
                      <a:pt x="421632" y="1600200"/>
                      <a:pt x="251111" y="1594177"/>
                      <a:pt x="180975" y="1543050"/>
                    </a:cubicBezTo>
                    <a:lnTo>
                      <a:pt x="71437" y="1452562"/>
                    </a:lnTo>
                    <a:cubicBezTo>
                      <a:pt x="38100" y="1419225"/>
                      <a:pt x="7478" y="1380255"/>
                      <a:pt x="4295" y="1312684"/>
                    </a:cubicBezTo>
                    <a:cubicBezTo>
                      <a:pt x="2044" y="1264868"/>
                      <a:pt x="0" y="1209930"/>
                      <a:pt x="0" y="1168057"/>
                    </a:cubicBezTo>
                    <a:lnTo>
                      <a:pt x="0" y="1143000"/>
                    </a:lnTo>
                    <a:lnTo>
                      <a:pt x="1828800" y="1143000"/>
                    </a:lnTo>
                    <a:close/>
                  </a:path>
                </a:pathLst>
              </a:custGeom>
              <a:solidFill>
                <a:srgbClr val="329CFF"/>
              </a:solidFill>
              <a:ln>
                <a:noFill/>
              </a:ln>
            </p:spPr>
            <p:txBody>
              <a:bodyPr rtlCol="0" anchor="ctr"/>
              <a:lstStyle/>
              <a:p>
                <a:pPr algn="ctr"/>
                <a:endParaRPr sz="2400"/>
              </a:p>
            </p:txBody>
          </p:sp>
          <p:sp>
            <p:nvSpPr>
              <p:cNvPr id="10" name="Rounded Rectangle 5">
                <a:extLst>
                  <a:ext uri="{FF2B5EF4-FFF2-40B4-BE49-F238E27FC236}">
                    <a16:creationId xmlns:a16="http://schemas.microsoft.com/office/drawing/2014/main" id="{D7BCAD99-E88A-3DC0-86A7-F07E84B71DDD}"/>
                  </a:ext>
                </a:extLst>
              </p:cNvPr>
              <p:cNvSpPr/>
              <p:nvPr/>
            </p:nvSpPr>
            <p:spPr>
              <a:xfrm>
                <a:off x="2514600" y="1371600"/>
                <a:ext cx="1828800" cy="1600200"/>
              </a:xfrm>
              <a:custGeom>
                <a:avLst/>
                <a:gdLst/>
                <a:ahLst/>
                <a:cxnLst/>
                <a:rect l="0" t="0" r="0" b="0"/>
                <a:pathLst>
                  <a:path w="1828800" h="1600200">
                    <a:moveTo>
                      <a:pt x="1828800" y="457200"/>
                    </a:moveTo>
                    <a:lnTo>
                      <a:pt x="1828800" y="0"/>
                    </a:lnTo>
                    <a:lnTo>
                      <a:pt x="0" y="0"/>
                    </a:lnTo>
                    <a:lnTo>
                      <a:pt x="0" y="457199"/>
                    </a:lnTo>
                    <a:moveTo>
                      <a:pt x="1828800" y="1143000"/>
                    </a:moveTo>
                    <a:lnTo>
                      <a:pt x="1828800" y="457200"/>
                    </a:lnTo>
                    <a:moveTo>
                      <a:pt x="0" y="1143000"/>
                    </a:moveTo>
                    <a:lnTo>
                      <a:pt x="0" y="457200"/>
                    </a:lnTo>
                    <a:moveTo>
                      <a:pt x="1828800" y="1143000"/>
                    </a:moveTo>
                    <a:lnTo>
                      <a:pt x="1828800" y="1600200"/>
                    </a:lnTo>
                    <a:lnTo>
                      <a:pt x="519112" y="1600200"/>
                    </a:lnTo>
                    <a:cubicBezTo>
                      <a:pt x="421632" y="1600200"/>
                      <a:pt x="251111" y="1594177"/>
                      <a:pt x="180975" y="1543050"/>
                    </a:cubicBezTo>
                    <a:lnTo>
                      <a:pt x="71437" y="1452562"/>
                    </a:lnTo>
                    <a:cubicBezTo>
                      <a:pt x="38100" y="1419225"/>
                      <a:pt x="7478" y="1380255"/>
                      <a:pt x="4295" y="1312684"/>
                    </a:cubicBezTo>
                    <a:cubicBezTo>
                      <a:pt x="2044" y="1264868"/>
                      <a:pt x="0" y="1209930"/>
                      <a:pt x="0" y="1168057"/>
                    </a:cubicBezTo>
                    <a:lnTo>
                      <a:pt x="0" y="1143000"/>
                    </a:lnTo>
                    <a:moveTo>
                      <a:pt x="4762" y="1323975"/>
                    </a:moveTo>
                    <a:cubicBezTo>
                      <a:pt x="19050" y="1447800"/>
                      <a:pt x="166687" y="1433512"/>
                      <a:pt x="166687" y="1433512"/>
                    </a:cubicBezTo>
                    <a:cubicBezTo>
                      <a:pt x="200025" y="1519237"/>
                      <a:pt x="223837" y="1571625"/>
                      <a:pt x="347662" y="1590675"/>
                    </a:cubicBezTo>
                  </a:path>
                </a:pathLst>
              </a:custGeom>
              <a:noFill/>
              <a:ln w="7143">
                <a:solidFill>
                  <a:srgbClr val="FFFFFF"/>
                </a:solidFill>
              </a:ln>
            </p:spPr>
            <p:txBody>
              <a:bodyPr rtlCol="0" anchor="ctr"/>
              <a:lstStyle/>
              <a:p>
                <a:pPr algn="ctr"/>
                <a:endParaRPr sz="2400"/>
              </a:p>
            </p:txBody>
          </p:sp>
        </p:grpSp>
        <p:grpSp>
          <p:nvGrpSpPr>
            <p:cNvPr id="11" name="Group 10">
              <a:extLst>
                <a:ext uri="{FF2B5EF4-FFF2-40B4-BE49-F238E27FC236}">
                  <a16:creationId xmlns:a16="http://schemas.microsoft.com/office/drawing/2014/main" id="{54FF904B-9FCB-FB69-4CE6-B9689298E3FC}"/>
                </a:ext>
              </a:extLst>
            </p:cNvPr>
            <p:cNvGrpSpPr/>
            <p:nvPr/>
          </p:nvGrpSpPr>
          <p:grpSpPr>
            <a:xfrm>
              <a:off x="5715000" y="2836068"/>
              <a:ext cx="1828800" cy="1943101"/>
              <a:chOff x="4572000" y="1257299"/>
              <a:chExt cx="1828800" cy="1943101"/>
            </a:xfrm>
          </p:grpSpPr>
          <p:sp>
            <p:nvSpPr>
              <p:cNvPr id="12" name="Rounded Rectangle 7">
                <a:extLst>
                  <a:ext uri="{FF2B5EF4-FFF2-40B4-BE49-F238E27FC236}">
                    <a16:creationId xmlns:a16="http://schemas.microsoft.com/office/drawing/2014/main" id="{F8928DE2-A210-DAE6-6B24-77C7057BADF4}"/>
                  </a:ext>
                </a:extLst>
              </p:cNvPr>
              <p:cNvSpPr/>
              <p:nvPr/>
            </p:nvSpPr>
            <p:spPr>
              <a:xfrm>
                <a:off x="4572000" y="1257299"/>
                <a:ext cx="1828800" cy="1943100"/>
              </a:xfrm>
              <a:custGeom>
                <a:avLst/>
                <a:gdLst/>
                <a:ahLst/>
                <a:cxnLst/>
                <a:rect l="0" t="0" r="0" b="0"/>
                <a:pathLst>
                  <a:path w="1828800" h="1943100">
                    <a:moveTo>
                      <a:pt x="0" y="1485900"/>
                    </a:moveTo>
                    <a:lnTo>
                      <a:pt x="1828800" y="1485900"/>
                    </a:lnTo>
                    <a:cubicBezTo>
                      <a:pt x="1828800" y="1738404"/>
                      <a:pt x="1828800" y="1943100"/>
                      <a:pt x="1828800" y="1943100"/>
                    </a:cubicBezTo>
                    <a:lnTo>
                      <a:pt x="0" y="1943100"/>
                    </a:lnTo>
                    <a:lnTo>
                      <a:pt x="0" y="1485900"/>
                    </a:lnTo>
                    <a:close/>
                    <a:moveTo>
                      <a:pt x="1828800" y="1485900"/>
                    </a:moveTo>
                    <a:lnTo>
                      <a:pt x="1828800" y="457200"/>
                    </a:lnTo>
                    <a:lnTo>
                      <a:pt x="0" y="457200"/>
                    </a:lnTo>
                    <a:lnTo>
                      <a:pt x="0" y="1485900"/>
                    </a:lnTo>
                    <a:lnTo>
                      <a:pt x="1828800" y="1485900"/>
                    </a:lnTo>
                    <a:close/>
                    <a:moveTo>
                      <a:pt x="1828800" y="457200"/>
                    </a:moveTo>
                    <a:lnTo>
                      <a:pt x="1828800" y="0"/>
                    </a:lnTo>
                    <a:lnTo>
                      <a:pt x="808974" y="0"/>
                    </a:lnTo>
                    <a:cubicBezTo>
                      <a:pt x="575340" y="0"/>
                      <a:pt x="342587" y="28653"/>
                      <a:pt x="115928" y="85317"/>
                    </a:cubicBezTo>
                    <a:lnTo>
                      <a:pt x="86578" y="92655"/>
                    </a:lnTo>
                    <a:cubicBezTo>
                      <a:pt x="35695" y="105376"/>
                      <a:pt x="0" y="151094"/>
                      <a:pt x="0" y="203542"/>
                    </a:cubicBezTo>
                    <a:lnTo>
                      <a:pt x="0" y="457200"/>
                    </a:lnTo>
                    <a:lnTo>
                      <a:pt x="1828800" y="457200"/>
                    </a:lnTo>
                    <a:close/>
                  </a:path>
                </a:pathLst>
              </a:custGeom>
              <a:solidFill>
                <a:srgbClr val="8AC6FF"/>
              </a:solidFill>
              <a:ln>
                <a:noFill/>
              </a:ln>
            </p:spPr>
            <p:txBody>
              <a:bodyPr rtlCol="0" anchor="ctr"/>
              <a:lstStyle/>
              <a:p>
                <a:pPr algn="ctr"/>
                <a:endParaRPr sz="2400"/>
              </a:p>
            </p:txBody>
          </p:sp>
          <p:sp>
            <p:nvSpPr>
              <p:cNvPr id="13" name="Rounded Rectangle 8">
                <a:extLst>
                  <a:ext uri="{FF2B5EF4-FFF2-40B4-BE49-F238E27FC236}">
                    <a16:creationId xmlns:a16="http://schemas.microsoft.com/office/drawing/2014/main" id="{8AAC181C-F8BC-9604-9D0F-AA4B1CFCFAD0}"/>
                  </a:ext>
                </a:extLst>
              </p:cNvPr>
              <p:cNvSpPr/>
              <p:nvPr/>
            </p:nvSpPr>
            <p:spPr>
              <a:xfrm>
                <a:off x="4572000" y="1257300"/>
                <a:ext cx="1828800" cy="1943100"/>
              </a:xfrm>
              <a:custGeom>
                <a:avLst/>
                <a:gdLst/>
                <a:ahLst/>
                <a:cxnLst/>
                <a:rect l="0" t="0" r="0" b="0"/>
                <a:pathLst>
                  <a:path w="1828800" h="1943100">
                    <a:moveTo>
                      <a:pt x="0" y="1485900"/>
                    </a:moveTo>
                    <a:lnTo>
                      <a:pt x="0" y="1943100"/>
                    </a:lnTo>
                    <a:lnTo>
                      <a:pt x="1828800" y="1943100"/>
                    </a:lnTo>
                    <a:lnTo>
                      <a:pt x="1828800" y="1485900"/>
                    </a:lnTo>
                    <a:moveTo>
                      <a:pt x="1828800" y="1485900"/>
                    </a:moveTo>
                    <a:lnTo>
                      <a:pt x="1828800" y="457200"/>
                    </a:lnTo>
                    <a:moveTo>
                      <a:pt x="0" y="1485900"/>
                    </a:moveTo>
                    <a:lnTo>
                      <a:pt x="0" y="457200"/>
                    </a:lnTo>
                    <a:moveTo>
                      <a:pt x="1828800" y="457200"/>
                    </a:moveTo>
                    <a:lnTo>
                      <a:pt x="1828800" y="0"/>
                    </a:lnTo>
                    <a:lnTo>
                      <a:pt x="808974" y="0"/>
                    </a:lnTo>
                    <a:cubicBezTo>
                      <a:pt x="575340" y="0"/>
                      <a:pt x="342587" y="28653"/>
                      <a:pt x="115928" y="85317"/>
                    </a:cubicBezTo>
                    <a:lnTo>
                      <a:pt x="86578" y="92655"/>
                    </a:lnTo>
                    <a:cubicBezTo>
                      <a:pt x="35695" y="105376"/>
                      <a:pt x="0" y="151094"/>
                      <a:pt x="0" y="203542"/>
                    </a:cubicBezTo>
                    <a:lnTo>
                      <a:pt x="0" y="457200"/>
                    </a:lnTo>
                    <a:moveTo>
                      <a:pt x="66675" y="100012"/>
                    </a:moveTo>
                    <a:cubicBezTo>
                      <a:pt x="157162" y="66675"/>
                      <a:pt x="185737" y="161925"/>
                      <a:pt x="185737" y="161925"/>
                    </a:cubicBezTo>
                    <a:cubicBezTo>
                      <a:pt x="370945" y="47010"/>
                      <a:pt x="609835" y="24376"/>
                      <a:pt x="771525" y="1"/>
                    </a:cubicBezTo>
                  </a:path>
                </a:pathLst>
              </a:custGeom>
              <a:noFill/>
              <a:ln w="7143">
                <a:solidFill>
                  <a:srgbClr val="FFFFFF"/>
                </a:solidFill>
              </a:ln>
            </p:spPr>
            <p:txBody>
              <a:bodyPr rtlCol="0" anchor="ctr"/>
              <a:lstStyle/>
              <a:p>
                <a:pPr algn="ctr"/>
                <a:endParaRPr sz="2400"/>
              </a:p>
            </p:txBody>
          </p:sp>
        </p:grpSp>
        <p:sp>
          <p:nvSpPr>
            <p:cNvPr id="14" name="TextBox 13">
              <a:extLst>
                <a:ext uri="{FF2B5EF4-FFF2-40B4-BE49-F238E27FC236}">
                  <a16:creationId xmlns:a16="http://schemas.microsoft.com/office/drawing/2014/main" id="{5D40F56E-78F1-718E-3097-5152332151BF}"/>
                </a:ext>
              </a:extLst>
            </p:cNvPr>
            <p:cNvSpPr txBox="1"/>
            <p:nvPr/>
          </p:nvSpPr>
          <p:spPr>
            <a:xfrm>
              <a:off x="2183727" y="3074194"/>
              <a:ext cx="661812" cy="336356"/>
            </a:xfrm>
            <a:prstGeom prst="rect">
              <a:avLst/>
            </a:prstGeom>
            <a:noFill/>
            <a:ln>
              <a:noFill/>
            </a:ln>
          </p:spPr>
          <p:txBody>
            <a:bodyPr wrap="none" lIns="0" tIns="0" rIns="0" bIns="0" anchor="t">
              <a:spAutoFit/>
            </a:bodyPr>
            <a:lstStyle/>
            <a:p>
              <a:pPr algn="ctr"/>
              <a:r>
                <a:rPr b="1">
                  <a:solidFill>
                    <a:srgbClr val="FFFFFF"/>
                  </a:solidFill>
                  <a:latin typeface="Arial"/>
                </a:rPr>
                <a:t>Efficiency
Gains</a:t>
              </a:r>
            </a:p>
          </p:txBody>
        </p:sp>
        <p:sp>
          <p:nvSpPr>
            <p:cNvPr id="15" name="TextBox 14">
              <a:extLst>
                <a:ext uri="{FF2B5EF4-FFF2-40B4-BE49-F238E27FC236}">
                  <a16:creationId xmlns:a16="http://schemas.microsoft.com/office/drawing/2014/main" id="{0282A7AB-E02C-4D14-9BBE-06599D45AAC8}"/>
                </a:ext>
              </a:extLst>
            </p:cNvPr>
            <p:cNvSpPr txBox="1"/>
            <p:nvPr/>
          </p:nvSpPr>
          <p:spPr>
            <a:xfrm>
              <a:off x="4167132" y="3188494"/>
              <a:ext cx="809745" cy="336356"/>
            </a:xfrm>
            <a:prstGeom prst="rect">
              <a:avLst/>
            </a:prstGeom>
            <a:noFill/>
            <a:ln>
              <a:noFill/>
            </a:ln>
          </p:spPr>
          <p:txBody>
            <a:bodyPr wrap="none" lIns="0" tIns="0" rIns="0" bIns="0" anchor="t">
              <a:spAutoFit/>
            </a:bodyPr>
            <a:lstStyle/>
            <a:p>
              <a:pPr algn="ctr"/>
              <a:r>
                <a:rPr b="1">
                  <a:solidFill>
                    <a:srgbClr val="FFFFFF"/>
                  </a:solidFill>
                  <a:latin typeface="Arial"/>
                </a:rPr>
                <a:t>Productivity
Boost</a:t>
              </a:r>
            </a:p>
          </p:txBody>
        </p:sp>
        <p:sp>
          <p:nvSpPr>
            <p:cNvPr id="16" name="TextBox 15">
              <a:extLst>
                <a:ext uri="{FF2B5EF4-FFF2-40B4-BE49-F238E27FC236}">
                  <a16:creationId xmlns:a16="http://schemas.microsoft.com/office/drawing/2014/main" id="{C6CF684C-7C52-57B9-4003-14FE12A4260C}"/>
                </a:ext>
              </a:extLst>
            </p:cNvPr>
            <p:cNvSpPr txBox="1"/>
            <p:nvPr/>
          </p:nvSpPr>
          <p:spPr>
            <a:xfrm>
              <a:off x="6236244" y="3074194"/>
              <a:ext cx="786388" cy="336356"/>
            </a:xfrm>
            <a:prstGeom prst="rect">
              <a:avLst/>
            </a:prstGeom>
            <a:noFill/>
            <a:ln>
              <a:noFill/>
            </a:ln>
          </p:spPr>
          <p:txBody>
            <a:bodyPr wrap="none" lIns="0" tIns="0" rIns="0" bIns="0" anchor="t">
              <a:spAutoFit/>
            </a:bodyPr>
            <a:lstStyle/>
            <a:p>
              <a:pPr algn="ctr"/>
              <a:r>
                <a:rPr b="1">
                  <a:solidFill>
                    <a:srgbClr val="FFFFFF"/>
                  </a:solidFill>
                  <a:latin typeface="Arial"/>
                </a:rPr>
                <a:t>Exceptional
ROI</a:t>
              </a:r>
            </a:p>
          </p:txBody>
        </p:sp>
        <p:sp>
          <p:nvSpPr>
            <p:cNvPr id="17" name="TextBox 16">
              <a:extLst>
                <a:ext uri="{FF2B5EF4-FFF2-40B4-BE49-F238E27FC236}">
                  <a16:creationId xmlns:a16="http://schemas.microsoft.com/office/drawing/2014/main" id="{B26115F8-12F5-04F3-A397-F9AAED7F4C74}"/>
                </a:ext>
              </a:extLst>
            </p:cNvPr>
            <p:cNvSpPr txBox="1"/>
            <p:nvPr/>
          </p:nvSpPr>
          <p:spPr>
            <a:xfrm>
              <a:off x="2088798" y="3640931"/>
              <a:ext cx="851596" cy="523220"/>
            </a:xfrm>
            <a:prstGeom prst="rect">
              <a:avLst/>
            </a:prstGeom>
            <a:noFill/>
            <a:ln>
              <a:noFill/>
            </a:ln>
          </p:spPr>
          <p:txBody>
            <a:bodyPr wrap="none" lIns="0" tIns="0" rIns="0" bIns="0" anchor="t">
              <a:spAutoFit/>
            </a:bodyPr>
            <a:lstStyle/>
            <a:p>
              <a:pPr algn="ctr"/>
              <a:r>
                <a:rPr sz="1400" b="0">
                  <a:solidFill>
                    <a:srgbClr val="FFFFFF"/>
                  </a:solidFill>
                  <a:latin typeface="Arial"/>
                </a:rPr>
                <a:t>Up to 50%
improvement in
customer service,
sales, and HR.</a:t>
              </a:r>
            </a:p>
          </p:txBody>
        </p:sp>
        <p:sp>
          <p:nvSpPr>
            <p:cNvPr id="18" name="TextBox 17">
              <a:extLst>
                <a:ext uri="{FF2B5EF4-FFF2-40B4-BE49-F238E27FC236}">
                  <a16:creationId xmlns:a16="http://schemas.microsoft.com/office/drawing/2014/main" id="{E7387DA9-885E-7424-848C-AACF6E7B1E7B}"/>
                </a:ext>
              </a:extLst>
            </p:cNvPr>
            <p:cNvSpPr txBox="1"/>
            <p:nvPr/>
          </p:nvSpPr>
          <p:spPr>
            <a:xfrm>
              <a:off x="4106755" y="3783806"/>
              <a:ext cx="930430" cy="392415"/>
            </a:xfrm>
            <a:prstGeom prst="rect">
              <a:avLst/>
            </a:prstGeom>
            <a:noFill/>
            <a:ln>
              <a:noFill/>
            </a:ln>
          </p:spPr>
          <p:txBody>
            <a:bodyPr wrap="none" lIns="0" tIns="0" rIns="0" bIns="0" anchor="t">
              <a:spAutoFit/>
            </a:bodyPr>
            <a:lstStyle/>
            <a:p>
              <a:pPr algn="ctr"/>
              <a:r>
                <a:rPr sz="1400" b="0">
                  <a:solidFill>
                    <a:srgbClr val="FFFFFF"/>
                  </a:solidFill>
                  <a:latin typeface="Arial"/>
                </a:rPr>
                <a:t>30-45% increase in
customer care
effectiveness.</a:t>
              </a:r>
            </a:p>
          </p:txBody>
        </p:sp>
        <p:sp>
          <p:nvSpPr>
            <p:cNvPr id="19" name="TextBox 18">
              <a:extLst>
                <a:ext uri="{FF2B5EF4-FFF2-40B4-BE49-F238E27FC236}">
                  <a16:creationId xmlns:a16="http://schemas.microsoft.com/office/drawing/2014/main" id="{3D376C52-152E-54B3-8569-167EBB3B9CFC}"/>
                </a:ext>
              </a:extLst>
            </p:cNvPr>
            <p:cNvSpPr txBox="1"/>
            <p:nvPr/>
          </p:nvSpPr>
          <p:spPr>
            <a:xfrm>
              <a:off x="6203596" y="3669506"/>
              <a:ext cx="851596" cy="654026"/>
            </a:xfrm>
            <a:prstGeom prst="rect">
              <a:avLst/>
            </a:prstGeom>
            <a:noFill/>
            <a:ln>
              <a:noFill/>
            </a:ln>
          </p:spPr>
          <p:txBody>
            <a:bodyPr wrap="none" lIns="0" tIns="0" rIns="0" bIns="0" anchor="t">
              <a:spAutoFit/>
            </a:bodyPr>
            <a:lstStyle/>
            <a:p>
              <a:pPr algn="ctr"/>
              <a:r>
                <a:rPr sz="1400" b="0">
                  <a:solidFill>
                    <a:srgbClr val="FFFFFF"/>
                  </a:solidFill>
                  <a:latin typeface="Arial"/>
                </a:rPr>
                <a:t>80% of marketers
report Return on
Investment
exceeding
expectations.</a:t>
              </a:r>
            </a:p>
          </p:txBody>
        </p:sp>
      </p:grpSp>
      <p:sp>
        <p:nvSpPr>
          <p:cNvPr id="21" name="TextBox 20">
            <a:extLst>
              <a:ext uri="{FF2B5EF4-FFF2-40B4-BE49-F238E27FC236}">
                <a16:creationId xmlns:a16="http://schemas.microsoft.com/office/drawing/2014/main" id="{C106F954-C9FA-3C99-4BD8-CDE6354E0E33}"/>
              </a:ext>
            </a:extLst>
          </p:cNvPr>
          <p:cNvSpPr txBox="1"/>
          <p:nvPr/>
        </p:nvSpPr>
        <p:spPr>
          <a:xfrm>
            <a:off x="156910" y="6473952"/>
            <a:ext cx="5256567" cy="215444"/>
          </a:xfrm>
          <a:prstGeom prst="rect">
            <a:avLst/>
          </a:prstGeom>
          <a:noFill/>
        </p:spPr>
        <p:txBody>
          <a:bodyPr wrap="none" rtlCol="0">
            <a:spAutoFit/>
          </a:bodyPr>
          <a:lstStyle/>
          <a:p>
            <a:r>
              <a:rPr lang="en-US" sz="800"/>
              <a:t>https://</a:t>
            </a:r>
            <a:r>
              <a:rPr lang="en-US" sz="800" err="1"/>
              <a:t>superagi.com</a:t>
            </a:r>
            <a:r>
              <a:rPr lang="en-US" sz="800"/>
              <a:t>/how-to-build-a-scalable-agent-orchestration-framework-from-scratch-a-step-by-step-guide/</a:t>
            </a:r>
          </a:p>
        </p:txBody>
      </p:sp>
    </p:spTree>
    <p:extLst>
      <p:ext uri="{BB962C8B-B14F-4D97-AF65-F5344CB8AC3E}">
        <p14:creationId xmlns:p14="http://schemas.microsoft.com/office/powerpoint/2010/main" val="60188641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CE89AB-A01A-8CB1-5567-B657FEE2C5FA}"/>
              </a:ext>
            </a:extLst>
          </p:cNvPr>
          <p:cNvSpPr>
            <a:spLocks noGrp="1"/>
          </p:cNvSpPr>
          <p:nvPr>
            <p:ph type="title"/>
          </p:nvPr>
        </p:nvSpPr>
        <p:spPr/>
        <p:txBody>
          <a:bodyPr/>
          <a:lstStyle/>
          <a:p>
            <a:r>
              <a:rPr lang="en-US"/>
              <a:t>Understanding AI Agents &amp; Multi-Agent Systems</a:t>
            </a:r>
          </a:p>
        </p:txBody>
      </p:sp>
      <p:grpSp>
        <p:nvGrpSpPr>
          <p:cNvPr id="3" name="Group 2">
            <a:extLst>
              <a:ext uri="{FF2B5EF4-FFF2-40B4-BE49-F238E27FC236}">
                <a16:creationId xmlns:a16="http://schemas.microsoft.com/office/drawing/2014/main" id="{56E61DE1-4083-3647-4D9B-D24BBD4C6C96}"/>
              </a:ext>
            </a:extLst>
          </p:cNvPr>
          <p:cNvGrpSpPr/>
          <p:nvPr/>
        </p:nvGrpSpPr>
        <p:grpSpPr>
          <a:xfrm>
            <a:off x="6510270" y="2136809"/>
            <a:ext cx="938463" cy="541421"/>
            <a:chOff x="4692315" y="1245268"/>
            <a:chExt cx="938463" cy="541421"/>
          </a:xfrm>
        </p:grpSpPr>
        <p:sp>
          <p:nvSpPr>
            <p:cNvPr id="4" name="Rounded Rectangle 1">
              <a:extLst>
                <a:ext uri="{FF2B5EF4-FFF2-40B4-BE49-F238E27FC236}">
                  <a16:creationId xmlns:a16="http://schemas.microsoft.com/office/drawing/2014/main" id="{D3938E92-0A1F-B3FD-F277-94D66DE75C2A}"/>
                </a:ext>
              </a:extLst>
            </p:cNvPr>
            <p:cNvSpPr/>
            <p:nvPr/>
          </p:nvSpPr>
          <p:spPr>
            <a:xfrm>
              <a:off x="4692315" y="1245268"/>
              <a:ext cx="938463" cy="541421"/>
            </a:xfrm>
            <a:custGeom>
              <a:avLst/>
              <a:gdLst/>
              <a:ahLst/>
              <a:cxnLst/>
              <a:rect l="0" t="0" r="0" b="0"/>
              <a:pathLst>
                <a:path w="938463" h="541421">
                  <a:moveTo>
                    <a:pt x="658728" y="541421"/>
                  </a:moveTo>
                  <a:cubicBezTo>
                    <a:pt x="703397" y="541421"/>
                    <a:pt x="744620" y="527003"/>
                    <a:pt x="777791" y="502670"/>
                  </a:cubicBezTo>
                  <a:cubicBezTo>
                    <a:pt x="792115" y="510132"/>
                    <a:pt x="808398" y="514350"/>
                    <a:pt x="825667" y="514350"/>
                  </a:cubicBezTo>
                  <a:cubicBezTo>
                    <a:pt x="882979" y="514350"/>
                    <a:pt x="929439" y="467889"/>
                    <a:pt x="929439" y="410577"/>
                  </a:cubicBezTo>
                  <a:cubicBezTo>
                    <a:pt x="929439" y="383633"/>
                    <a:pt x="919171" y="359088"/>
                    <a:pt x="902334" y="340642"/>
                  </a:cubicBezTo>
                  <a:cubicBezTo>
                    <a:pt x="924337" y="323291"/>
                    <a:pt x="938463" y="296394"/>
                    <a:pt x="938463" y="266198"/>
                  </a:cubicBezTo>
                  <a:cubicBezTo>
                    <a:pt x="938463" y="244363"/>
                    <a:pt x="931077" y="224252"/>
                    <a:pt x="918666" y="208230"/>
                  </a:cubicBezTo>
                  <a:cubicBezTo>
                    <a:pt x="919818" y="200656"/>
                    <a:pt x="920415" y="192892"/>
                    <a:pt x="920415" y="184985"/>
                  </a:cubicBezTo>
                  <a:cubicBezTo>
                    <a:pt x="920415" y="102755"/>
                    <a:pt x="855775" y="36094"/>
                    <a:pt x="776036" y="36094"/>
                  </a:cubicBezTo>
                  <a:cubicBezTo>
                    <a:pt x="767098" y="36094"/>
                    <a:pt x="758350" y="36932"/>
                    <a:pt x="749861" y="38535"/>
                  </a:cubicBezTo>
                  <a:cubicBezTo>
                    <a:pt x="721997" y="14557"/>
                    <a:pt x="685345" y="0"/>
                    <a:pt x="645193" y="0"/>
                  </a:cubicBezTo>
                  <a:cubicBezTo>
                    <a:pt x="603980" y="0"/>
                    <a:pt x="566455" y="15336"/>
                    <a:pt x="538334" y="40454"/>
                  </a:cubicBezTo>
                  <a:cubicBezTo>
                    <a:pt x="529341" y="37622"/>
                    <a:pt x="519767" y="36094"/>
                    <a:pt x="509838" y="36094"/>
                  </a:cubicBezTo>
                  <a:cubicBezTo>
                    <a:pt x="457509" y="36094"/>
                    <a:pt x="415089" y="78515"/>
                    <a:pt x="415089" y="130843"/>
                  </a:cubicBezTo>
                  <a:cubicBezTo>
                    <a:pt x="415089" y="154054"/>
                    <a:pt x="423435" y="175314"/>
                    <a:pt x="437289" y="191790"/>
                  </a:cubicBezTo>
                  <a:cubicBezTo>
                    <a:pt x="423341" y="211311"/>
                    <a:pt x="415089" y="235496"/>
                    <a:pt x="415089" y="261686"/>
                  </a:cubicBezTo>
                  <a:cubicBezTo>
                    <a:pt x="415089" y="282455"/>
                    <a:pt x="420278" y="301964"/>
                    <a:pt x="429383" y="318886"/>
                  </a:cubicBezTo>
                  <a:cubicBezTo>
                    <a:pt x="409308" y="340604"/>
                    <a:pt x="397042" y="369647"/>
                    <a:pt x="397042" y="401553"/>
                  </a:cubicBezTo>
                  <a:cubicBezTo>
                    <a:pt x="397042" y="468832"/>
                    <a:pt x="451583" y="523373"/>
                    <a:pt x="518861" y="523373"/>
                  </a:cubicBezTo>
                  <a:cubicBezTo>
                    <a:pt x="533497" y="523373"/>
                    <a:pt x="547530" y="520792"/>
                    <a:pt x="560528" y="516061"/>
                  </a:cubicBezTo>
                  <a:cubicBezTo>
                    <a:pt x="589487" y="532200"/>
                    <a:pt x="623006" y="541421"/>
                    <a:pt x="658728" y="541421"/>
                  </a:cubicBezTo>
                  <a:close/>
                  <a:moveTo>
                    <a:pt x="72189" y="270710"/>
                  </a:moveTo>
                  <a:cubicBezTo>
                    <a:pt x="72189" y="250776"/>
                    <a:pt x="56028" y="234615"/>
                    <a:pt x="36094" y="234615"/>
                  </a:cubicBezTo>
                  <a:cubicBezTo>
                    <a:pt x="16160" y="234615"/>
                    <a:pt x="0" y="250776"/>
                    <a:pt x="0" y="270710"/>
                  </a:cubicBezTo>
                  <a:cubicBezTo>
                    <a:pt x="0" y="290644"/>
                    <a:pt x="16160" y="306805"/>
                    <a:pt x="36094" y="306805"/>
                  </a:cubicBezTo>
                  <a:cubicBezTo>
                    <a:pt x="56028" y="306805"/>
                    <a:pt x="72189" y="290644"/>
                    <a:pt x="72189" y="270710"/>
                  </a:cubicBezTo>
                  <a:close/>
                </a:path>
              </a:pathLst>
            </a:custGeom>
            <a:solidFill>
              <a:srgbClr val="8AC6FF"/>
            </a:solidFill>
            <a:ln>
              <a:noFill/>
            </a:ln>
          </p:spPr>
          <p:txBody>
            <a:bodyPr rtlCol="0" anchor="ctr"/>
            <a:lstStyle/>
            <a:p>
              <a:pPr algn="ctr"/>
              <a:endParaRPr/>
            </a:p>
          </p:txBody>
        </p:sp>
        <p:sp>
          <p:nvSpPr>
            <p:cNvPr id="5" name="Rounded Rectangle 2">
              <a:extLst>
                <a:ext uri="{FF2B5EF4-FFF2-40B4-BE49-F238E27FC236}">
                  <a16:creationId xmlns:a16="http://schemas.microsoft.com/office/drawing/2014/main" id="{07544D4E-6C1B-F28A-5791-8ABD2AA2C323}"/>
                </a:ext>
              </a:extLst>
            </p:cNvPr>
            <p:cNvSpPr/>
            <p:nvPr/>
          </p:nvSpPr>
          <p:spPr>
            <a:xfrm>
              <a:off x="4854742" y="1443789"/>
              <a:ext cx="144378" cy="144378"/>
            </a:xfrm>
            <a:custGeom>
              <a:avLst/>
              <a:gdLst/>
              <a:ahLst/>
              <a:cxnLst/>
              <a:rect l="0" t="0" r="0" b="0"/>
              <a:pathLst>
                <a:path w="144378" h="144378">
                  <a:moveTo>
                    <a:pt x="0" y="72189"/>
                  </a:moveTo>
                  <a:cubicBezTo>
                    <a:pt x="0" y="112058"/>
                    <a:pt x="32320" y="144378"/>
                    <a:pt x="72189" y="144378"/>
                  </a:cubicBezTo>
                  <a:cubicBezTo>
                    <a:pt x="112058" y="144378"/>
                    <a:pt x="144378" y="112058"/>
                    <a:pt x="144378" y="72189"/>
                  </a:cubicBezTo>
                  <a:cubicBezTo>
                    <a:pt x="144378" y="32320"/>
                    <a:pt x="112058" y="0"/>
                    <a:pt x="72189" y="0"/>
                  </a:cubicBezTo>
                  <a:cubicBezTo>
                    <a:pt x="32320" y="0"/>
                    <a:pt x="0" y="32320"/>
                    <a:pt x="0" y="72189"/>
                  </a:cubicBezTo>
                </a:path>
              </a:pathLst>
            </a:custGeom>
            <a:solidFill>
              <a:srgbClr val="8AC6FF"/>
            </a:solidFill>
            <a:ln>
              <a:noFill/>
            </a:ln>
          </p:spPr>
          <p:txBody>
            <a:bodyPr rtlCol="0" anchor="ctr"/>
            <a:lstStyle/>
            <a:p>
              <a:pPr algn="ctr"/>
              <a:endParaRPr/>
            </a:p>
          </p:txBody>
        </p:sp>
        <p:sp>
          <p:nvSpPr>
            <p:cNvPr id="6" name="Rounded Rectangle 3">
              <a:extLst>
                <a:ext uri="{FF2B5EF4-FFF2-40B4-BE49-F238E27FC236}">
                  <a16:creationId xmlns:a16="http://schemas.microsoft.com/office/drawing/2014/main" id="{7E561FA2-3FD8-0896-9007-258A17B7149A}"/>
                </a:ext>
              </a:extLst>
            </p:cNvPr>
            <p:cNvSpPr/>
            <p:nvPr/>
          </p:nvSpPr>
          <p:spPr>
            <a:xfrm>
              <a:off x="4692315" y="1245268"/>
              <a:ext cx="938463" cy="541421"/>
            </a:xfrm>
            <a:custGeom>
              <a:avLst/>
              <a:gdLst/>
              <a:ahLst/>
              <a:cxnLst/>
              <a:rect l="0" t="0" r="0" b="0"/>
              <a:pathLst>
                <a:path w="938463" h="541421">
                  <a:moveTo>
                    <a:pt x="658728" y="541421"/>
                  </a:moveTo>
                  <a:cubicBezTo>
                    <a:pt x="703397" y="541421"/>
                    <a:pt x="744620" y="527003"/>
                    <a:pt x="777791" y="502670"/>
                  </a:cubicBezTo>
                  <a:cubicBezTo>
                    <a:pt x="792115" y="510132"/>
                    <a:pt x="808398" y="514350"/>
                    <a:pt x="825667" y="514350"/>
                  </a:cubicBezTo>
                  <a:cubicBezTo>
                    <a:pt x="882979" y="514350"/>
                    <a:pt x="929439" y="467889"/>
                    <a:pt x="929439" y="410577"/>
                  </a:cubicBezTo>
                  <a:cubicBezTo>
                    <a:pt x="929439" y="383633"/>
                    <a:pt x="919171" y="359088"/>
                    <a:pt x="902334" y="340642"/>
                  </a:cubicBezTo>
                  <a:cubicBezTo>
                    <a:pt x="924337" y="323291"/>
                    <a:pt x="938463" y="296394"/>
                    <a:pt x="938463" y="266198"/>
                  </a:cubicBezTo>
                  <a:cubicBezTo>
                    <a:pt x="938463" y="244363"/>
                    <a:pt x="931077" y="224252"/>
                    <a:pt x="918666" y="208230"/>
                  </a:cubicBezTo>
                  <a:cubicBezTo>
                    <a:pt x="919818" y="200656"/>
                    <a:pt x="920415" y="192892"/>
                    <a:pt x="920415" y="184985"/>
                  </a:cubicBezTo>
                  <a:cubicBezTo>
                    <a:pt x="920415" y="102755"/>
                    <a:pt x="855775" y="36094"/>
                    <a:pt x="776036" y="36094"/>
                  </a:cubicBezTo>
                  <a:cubicBezTo>
                    <a:pt x="767098" y="36094"/>
                    <a:pt x="758350" y="36932"/>
                    <a:pt x="749861" y="38535"/>
                  </a:cubicBezTo>
                  <a:cubicBezTo>
                    <a:pt x="721997" y="14557"/>
                    <a:pt x="685345" y="0"/>
                    <a:pt x="645193" y="0"/>
                  </a:cubicBezTo>
                  <a:cubicBezTo>
                    <a:pt x="603980" y="0"/>
                    <a:pt x="566455" y="15336"/>
                    <a:pt x="538334" y="40454"/>
                  </a:cubicBezTo>
                  <a:cubicBezTo>
                    <a:pt x="529341" y="37622"/>
                    <a:pt x="519767" y="36094"/>
                    <a:pt x="509838" y="36094"/>
                  </a:cubicBezTo>
                  <a:cubicBezTo>
                    <a:pt x="457509" y="36094"/>
                    <a:pt x="415089" y="78515"/>
                    <a:pt x="415089" y="130843"/>
                  </a:cubicBezTo>
                  <a:cubicBezTo>
                    <a:pt x="415089" y="154054"/>
                    <a:pt x="423435" y="175314"/>
                    <a:pt x="437289" y="191790"/>
                  </a:cubicBezTo>
                  <a:cubicBezTo>
                    <a:pt x="423341" y="211311"/>
                    <a:pt x="415089" y="235496"/>
                    <a:pt x="415089" y="261686"/>
                  </a:cubicBezTo>
                  <a:cubicBezTo>
                    <a:pt x="415089" y="282455"/>
                    <a:pt x="420278" y="301964"/>
                    <a:pt x="429383" y="318886"/>
                  </a:cubicBezTo>
                  <a:cubicBezTo>
                    <a:pt x="409308" y="340604"/>
                    <a:pt x="397042" y="369647"/>
                    <a:pt x="397042" y="401553"/>
                  </a:cubicBezTo>
                  <a:cubicBezTo>
                    <a:pt x="397042" y="468832"/>
                    <a:pt x="451583" y="523373"/>
                    <a:pt x="518861" y="523373"/>
                  </a:cubicBezTo>
                  <a:cubicBezTo>
                    <a:pt x="533497" y="523373"/>
                    <a:pt x="547530" y="520792"/>
                    <a:pt x="560528" y="516061"/>
                  </a:cubicBezTo>
                  <a:cubicBezTo>
                    <a:pt x="589487" y="532200"/>
                    <a:pt x="623006" y="541421"/>
                    <a:pt x="658728" y="541421"/>
                  </a:cubicBezTo>
                  <a:close/>
                  <a:moveTo>
                    <a:pt x="72189" y="270710"/>
                  </a:moveTo>
                  <a:cubicBezTo>
                    <a:pt x="72189" y="250776"/>
                    <a:pt x="56028" y="234615"/>
                    <a:pt x="36094" y="234615"/>
                  </a:cubicBezTo>
                  <a:cubicBezTo>
                    <a:pt x="16160" y="234615"/>
                    <a:pt x="0" y="250776"/>
                    <a:pt x="0" y="270710"/>
                  </a:cubicBezTo>
                  <a:cubicBezTo>
                    <a:pt x="0" y="290644"/>
                    <a:pt x="16160" y="306805"/>
                    <a:pt x="36094" y="306805"/>
                  </a:cubicBezTo>
                  <a:cubicBezTo>
                    <a:pt x="56028" y="306805"/>
                    <a:pt x="72189" y="290644"/>
                    <a:pt x="72189" y="270710"/>
                  </a:cubicBezTo>
                  <a:close/>
                </a:path>
              </a:pathLst>
            </a:custGeom>
            <a:noFill/>
            <a:ln w="6767">
              <a:solidFill>
                <a:srgbClr val="FFFFFF"/>
              </a:solidFill>
            </a:ln>
          </p:spPr>
          <p:txBody>
            <a:bodyPr rtlCol="0" anchor="ctr"/>
            <a:lstStyle/>
            <a:p>
              <a:pPr algn="ctr"/>
              <a:endParaRPr/>
            </a:p>
          </p:txBody>
        </p:sp>
        <p:sp>
          <p:nvSpPr>
            <p:cNvPr id="7" name="Rounded Rectangle 4">
              <a:extLst>
                <a:ext uri="{FF2B5EF4-FFF2-40B4-BE49-F238E27FC236}">
                  <a16:creationId xmlns:a16="http://schemas.microsoft.com/office/drawing/2014/main" id="{0609D386-4F87-DA3A-5C3C-AA33665423AA}"/>
                </a:ext>
              </a:extLst>
            </p:cNvPr>
            <p:cNvSpPr/>
            <p:nvPr/>
          </p:nvSpPr>
          <p:spPr>
            <a:xfrm>
              <a:off x="4854742" y="1443789"/>
              <a:ext cx="144378" cy="144378"/>
            </a:xfrm>
            <a:custGeom>
              <a:avLst/>
              <a:gdLst/>
              <a:ahLst/>
              <a:cxnLst/>
              <a:rect l="0" t="0" r="0" b="0"/>
              <a:pathLst>
                <a:path w="144378" h="144378">
                  <a:moveTo>
                    <a:pt x="0" y="72189"/>
                  </a:moveTo>
                  <a:cubicBezTo>
                    <a:pt x="0" y="112058"/>
                    <a:pt x="32320" y="144378"/>
                    <a:pt x="72189" y="144378"/>
                  </a:cubicBezTo>
                  <a:cubicBezTo>
                    <a:pt x="112058" y="144378"/>
                    <a:pt x="144378" y="112058"/>
                    <a:pt x="144378" y="72189"/>
                  </a:cubicBezTo>
                  <a:cubicBezTo>
                    <a:pt x="144378" y="32320"/>
                    <a:pt x="112058" y="0"/>
                    <a:pt x="72189" y="0"/>
                  </a:cubicBezTo>
                  <a:cubicBezTo>
                    <a:pt x="32320" y="0"/>
                    <a:pt x="0" y="32320"/>
                    <a:pt x="0" y="72189"/>
                  </a:cubicBezTo>
                </a:path>
              </a:pathLst>
            </a:custGeom>
            <a:noFill/>
            <a:ln w="6767">
              <a:solidFill>
                <a:srgbClr val="FFFFFF"/>
              </a:solidFill>
            </a:ln>
          </p:spPr>
          <p:txBody>
            <a:bodyPr rtlCol="0" anchor="ctr"/>
            <a:lstStyle/>
            <a:p>
              <a:pPr algn="ctr"/>
              <a:endParaRPr/>
            </a:p>
          </p:txBody>
        </p:sp>
      </p:grpSp>
      <p:grpSp>
        <p:nvGrpSpPr>
          <p:cNvPr id="8" name="Group 7">
            <a:extLst>
              <a:ext uri="{FF2B5EF4-FFF2-40B4-BE49-F238E27FC236}">
                <a16:creationId xmlns:a16="http://schemas.microsoft.com/office/drawing/2014/main" id="{3FC27721-9932-53A8-CDD1-7E3256735480}"/>
              </a:ext>
            </a:extLst>
          </p:cNvPr>
          <p:cNvGrpSpPr/>
          <p:nvPr/>
        </p:nvGrpSpPr>
        <p:grpSpPr>
          <a:xfrm>
            <a:off x="4416776" y="2136809"/>
            <a:ext cx="938463" cy="541421"/>
            <a:chOff x="2598821" y="1245268"/>
            <a:chExt cx="938463" cy="541421"/>
          </a:xfrm>
        </p:grpSpPr>
        <p:sp>
          <p:nvSpPr>
            <p:cNvPr id="9" name="Rounded Rectangle 6">
              <a:extLst>
                <a:ext uri="{FF2B5EF4-FFF2-40B4-BE49-F238E27FC236}">
                  <a16:creationId xmlns:a16="http://schemas.microsoft.com/office/drawing/2014/main" id="{819CEB2C-2F85-9362-535D-AAFA6F504AA0}"/>
                </a:ext>
              </a:extLst>
            </p:cNvPr>
            <p:cNvSpPr/>
            <p:nvPr/>
          </p:nvSpPr>
          <p:spPr>
            <a:xfrm>
              <a:off x="2598821" y="1245268"/>
              <a:ext cx="938463" cy="541421"/>
            </a:xfrm>
            <a:custGeom>
              <a:avLst/>
              <a:gdLst/>
              <a:ahLst/>
              <a:cxnLst/>
              <a:rect l="0" t="0" r="0" b="0"/>
              <a:pathLst>
                <a:path w="938463" h="541421">
                  <a:moveTo>
                    <a:pt x="95633" y="81217"/>
                  </a:moveTo>
                  <a:cubicBezTo>
                    <a:pt x="95337" y="81214"/>
                    <a:pt x="95043" y="81213"/>
                    <a:pt x="94748" y="81213"/>
                  </a:cubicBezTo>
                  <a:cubicBezTo>
                    <a:pt x="42420" y="81213"/>
                    <a:pt x="0" y="123633"/>
                    <a:pt x="0" y="175961"/>
                  </a:cubicBezTo>
                  <a:cubicBezTo>
                    <a:pt x="0" y="203698"/>
                    <a:pt x="11918" y="228652"/>
                    <a:pt x="30914" y="245980"/>
                  </a:cubicBezTo>
                  <a:cubicBezTo>
                    <a:pt x="28402" y="256808"/>
                    <a:pt x="27071" y="268110"/>
                    <a:pt x="27071" y="279734"/>
                  </a:cubicBezTo>
                  <a:cubicBezTo>
                    <a:pt x="27071" y="286455"/>
                    <a:pt x="27515" y="293070"/>
                    <a:pt x="28377" y="299547"/>
                  </a:cubicBezTo>
                  <a:cubicBezTo>
                    <a:pt x="16129" y="318547"/>
                    <a:pt x="9023" y="341173"/>
                    <a:pt x="9023" y="365459"/>
                  </a:cubicBezTo>
                  <a:cubicBezTo>
                    <a:pt x="9023" y="432737"/>
                    <a:pt x="63564" y="487278"/>
                    <a:pt x="130843" y="487278"/>
                  </a:cubicBezTo>
                  <a:cubicBezTo>
                    <a:pt x="133970" y="487278"/>
                    <a:pt x="137069" y="487160"/>
                    <a:pt x="140136" y="486929"/>
                  </a:cubicBezTo>
                  <a:cubicBezTo>
                    <a:pt x="173002" y="520503"/>
                    <a:pt x="219351" y="541421"/>
                    <a:pt x="270710" y="541421"/>
                  </a:cubicBezTo>
                  <a:cubicBezTo>
                    <a:pt x="321617" y="541421"/>
                    <a:pt x="367601" y="520870"/>
                    <a:pt x="400411" y="487814"/>
                  </a:cubicBezTo>
                  <a:cubicBezTo>
                    <a:pt x="411673" y="493253"/>
                    <a:pt x="424304" y="496302"/>
                    <a:pt x="437648" y="496302"/>
                  </a:cubicBezTo>
                  <a:cubicBezTo>
                    <a:pt x="484993" y="496302"/>
                    <a:pt x="523373" y="457922"/>
                    <a:pt x="523373" y="410577"/>
                  </a:cubicBezTo>
                  <a:cubicBezTo>
                    <a:pt x="523373" y="384666"/>
                    <a:pt x="511877" y="361439"/>
                    <a:pt x="493707" y="345719"/>
                  </a:cubicBezTo>
                  <a:cubicBezTo>
                    <a:pt x="522900" y="320064"/>
                    <a:pt x="541421" y="281831"/>
                    <a:pt x="541421" y="239127"/>
                  </a:cubicBezTo>
                  <a:cubicBezTo>
                    <a:pt x="541421" y="202354"/>
                    <a:pt x="527687" y="168896"/>
                    <a:pt x="505231" y="143930"/>
                  </a:cubicBezTo>
                  <a:cubicBezTo>
                    <a:pt x="505294" y="142583"/>
                    <a:pt x="505326" y="141228"/>
                    <a:pt x="505326" y="139867"/>
                  </a:cubicBezTo>
                  <a:cubicBezTo>
                    <a:pt x="505326" y="92522"/>
                    <a:pt x="466945" y="54142"/>
                    <a:pt x="419601" y="54142"/>
                  </a:cubicBezTo>
                  <a:cubicBezTo>
                    <a:pt x="414372" y="54142"/>
                    <a:pt x="409252" y="54610"/>
                    <a:pt x="404280" y="55507"/>
                  </a:cubicBezTo>
                  <a:cubicBezTo>
                    <a:pt x="367097" y="21099"/>
                    <a:pt x="316910" y="0"/>
                    <a:pt x="261686" y="0"/>
                  </a:cubicBezTo>
                  <a:cubicBezTo>
                    <a:pt x="193783" y="0"/>
                    <a:pt x="133497" y="31900"/>
                    <a:pt x="95633" y="81217"/>
                  </a:cubicBezTo>
                  <a:close/>
                  <a:moveTo>
                    <a:pt x="938463" y="270710"/>
                  </a:moveTo>
                  <a:cubicBezTo>
                    <a:pt x="938463" y="250776"/>
                    <a:pt x="922302" y="234615"/>
                    <a:pt x="902368" y="234615"/>
                  </a:cubicBezTo>
                  <a:cubicBezTo>
                    <a:pt x="882434" y="234615"/>
                    <a:pt x="866273" y="250776"/>
                    <a:pt x="866273" y="270710"/>
                  </a:cubicBezTo>
                  <a:cubicBezTo>
                    <a:pt x="866273" y="290644"/>
                    <a:pt x="882434" y="306805"/>
                    <a:pt x="902368" y="306805"/>
                  </a:cubicBezTo>
                  <a:cubicBezTo>
                    <a:pt x="922302" y="306805"/>
                    <a:pt x="938463" y="290644"/>
                    <a:pt x="938463" y="270710"/>
                  </a:cubicBezTo>
                  <a:close/>
                </a:path>
              </a:pathLst>
            </a:custGeom>
            <a:solidFill>
              <a:srgbClr val="2093FF"/>
            </a:solidFill>
            <a:ln>
              <a:noFill/>
            </a:ln>
          </p:spPr>
          <p:txBody>
            <a:bodyPr rtlCol="0" anchor="ctr"/>
            <a:lstStyle/>
            <a:p>
              <a:pPr algn="ctr"/>
              <a:endParaRPr/>
            </a:p>
          </p:txBody>
        </p:sp>
        <p:sp>
          <p:nvSpPr>
            <p:cNvPr id="10" name="Rounded Rectangle 7">
              <a:extLst>
                <a:ext uri="{FF2B5EF4-FFF2-40B4-BE49-F238E27FC236}">
                  <a16:creationId xmlns:a16="http://schemas.microsoft.com/office/drawing/2014/main" id="{9D8CCE51-F154-705B-A3AC-DD5DD720B96E}"/>
                </a:ext>
              </a:extLst>
            </p:cNvPr>
            <p:cNvSpPr/>
            <p:nvPr/>
          </p:nvSpPr>
          <p:spPr>
            <a:xfrm>
              <a:off x="3230478" y="1443789"/>
              <a:ext cx="144378" cy="144378"/>
            </a:xfrm>
            <a:custGeom>
              <a:avLst/>
              <a:gdLst/>
              <a:ahLst/>
              <a:cxnLst/>
              <a:rect l="0" t="0" r="0" b="0"/>
              <a:pathLst>
                <a:path w="144378" h="144378">
                  <a:moveTo>
                    <a:pt x="0" y="72189"/>
                  </a:moveTo>
                  <a:cubicBezTo>
                    <a:pt x="0" y="112058"/>
                    <a:pt x="32320" y="144378"/>
                    <a:pt x="72189" y="144378"/>
                  </a:cubicBezTo>
                  <a:cubicBezTo>
                    <a:pt x="112058" y="144378"/>
                    <a:pt x="144378" y="112058"/>
                    <a:pt x="144378" y="72189"/>
                  </a:cubicBezTo>
                  <a:cubicBezTo>
                    <a:pt x="144378" y="32320"/>
                    <a:pt x="112058" y="0"/>
                    <a:pt x="72189" y="0"/>
                  </a:cubicBezTo>
                  <a:cubicBezTo>
                    <a:pt x="32320" y="0"/>
                    <a:pt x="0" y="32320"/>
                    <a:pt x="0" y="72189"/>
                  </a:cubicBezTo>
                </a:path>
              </a:pathLst>
            </a:custGeom>
            <a:solidFill>
              <a:srgbClr val="2093FF"/>
            </a:solidFill>
            <a:ln>
              <a:noFill/>
            </a:ln>
          </p:spPr>
          <p:txBody>
            <a:bodyPr rtlCol="0" anchor="ctr"/>
            <a:lstStyle/>
            <a:p>
              <a:pPr algn="ctr"/>
              <a:endParaRPr/>
            </a:p>
          </p:txBody>
        </p:sp>
        <p:sp>
          <p:nvSpPr>
            <p:cNvPr id="11" name="Rounded Rectangle 8">
              <a:extLst>
                <a:ext uri="{FF2B5EF4-FFF2-40B4-BE49-F238E27FC236}">
                  <a16:creationId xmlns:a16="http://schemas.microsoft.com/office/drawing/2014/main" id="{B3148723-F569-9E05-0BED-CE6DCF0AA027}"/>
                </a:ext>
              </a:extLst>
            </p:cNvPr>
            <p:cNvSpPr/>
            <p:nvPr/>
          </p:nvSpPr>
          <p:spPr>
            <a:xfrm>
              <a:off x="2598821" y="1245268"/>
              <a:ext cx="938463" cy="541421"/>
            </a:xfrm>
            <a:custGeom>
              <a:avLst/>
              <a:gdLst/>
              <a:ahLst/>
              <a:cxnLst/>
              <a:rect l="0" t="0" r="0" b="0"/>
              <a:pathLst>
                <a:path w="938463" h="541421">
                  <a:moveTo>
                    <a:pt x="95633" y="81217"/>
                  </a:moveTo>
                  <a:cubicBezTo>
                    <a:pt x="95337" y="81214"/>
                    <a:pt x="95043" y="81213"/>
                    <a:pt x="94748" y="81213"/>
                  </a:cubicBezTo>
                  <a:cubicBezTo>
                    <a:pt x="42420" y="81213"/>
                    <a:pt x="0" y="123633"/>
                    <a:pt x="0" y="175961"/>
                  </a:cubicBezTo>
                  <a:cubicBezTo>
                    <a:pt x="0" y="203698"/>
                    <a:pt x="11918" y="228652"/>
                    <a:pt x="30914" y="245980"/>
                  </a:cubicBezTo>
                  <a:cubicBezTo>
                    <a:pt x="28402" y="256808"/>
                    <a:pt x="27071" y="268110"/>
                    <a:pt x="27071" y="279734"/>
                  </a:cubicBezTo>
                  <a:cubicBezTo>
                    <a:pt x="27071" y="286455"/>
                    <a:pt x="27515" y="293070"/>
                    <a:pt x="28377" y="299547"/>
                  </a:cubicBezTo>
                  <a:cubicBezTo>
                    <a:pt x="16129" y="318547"/>
                    <a:pt x="9023" y="341173"/>
                    <a:pt x="9023" y="365459"/>
                  </a:cubicBezTo>
                  <a:cubicBezTo>
                    <a:pt x="9023" y="432737"/>
                    <a:pt x="63564" y="487278"/>
                    <a:pt x="130843" y="487278"/>
                  </a:cubicBezTo>
                  <a:cubicBezTo>
                    <a:pt x="133970" y="487278"/>
                    <a:pt x="137069" y="487160"/>
                    <a:pt x="140136" y="486929"/>
                  </a:cubicBezTo>
                  <a:cubicBezTo>
                    <a:pt x="173002" y="520503"/>
                    <a:pt x="219351" y="541421"/>
                    <a:pt x="270710" y="541421"/>
                  </a:cubicBezTo>
                  <a:cubicBezTo>
                    <a:pt x="321617" y="541421"/>
                    <a:pt x="367601" y="520870"/>
                    <a:pt x="400411" y="487814"/>
                  </a:cubicBezTo>
                  <a:cubicBezTo>
                    <a:pt x="411673" y="493253"/>
                    <a:pt x="424304" y="496302"/>
                    <a:pt x="437648" y="496302"/>
                  </a:cubicBezTo>
                  <a:cubicBezTo>
                    <a:pt x="484993" y="496302"/>
                    <a:pt x="523373" y="457922"/>
                    <a:pt x="523373" y="410577"/>
                  </a:cubicBezTo>
                  <a:cubicBezTo>
                    <a:pt x="523373" y="384666"/>
                    <a:pt x="511877" y="361439"/>
                    <a:pt x="493707" y="345719"/>
                  </a:cubicBezTo>
                  <a:cubicBezTo>
                    <a:pt x="522900" y="320064"/>
                    <a:pt x="541421" y="281831"/>
                    <a:pt x="541421" y="239127"/>
                  </a:cubicBezTo>
                  <a:cubicBezTo>
                    <a:pt x="541421" y="202354"/>
                    <a:pt x="527687" y="168896"/>
                    <a:pt x="505231" y="143930"/>
                  </a:cubicBezTo>
                  <a:cubicBezTo>
                    <a:pt x="505294" y="142583"/>
                    <a:pt x="505326" y="141228"/>
                    <a:pt x="505326" y="139867"/>
                  </a:cubicBezTo>
                  <a:cubicBezTo>
                    <a:pt x="505326" y="92522"/>
                    <a:pt x="466945" y="54142"/>
                    <a:pt x="419601" y="54142"/>
                  </a:cubicBezTo>
                  <a:cubicBezTo>
                    <a:pt x="414372" y="54142"/>
                    <a:pt x="409252" y="54610"/>
                    <a:pt x="404280" y="55507"/>
                  </a:cubicBezTo>
                  <a:cubicBezTo>
                    <a:pt x="367097" y="21099"/>
                    <a:pt x="316910" y="0"/>
                    <a:pt x="261686" y="0"/>
                  </a:cubicBezTo>
                  <a:cubicBezTo>
                    <a:pt x="193783" y="0"/>
                    <a:pt x="133497" y="31900"/>
                    <a:pt x="95633" y="81217"/>
                  </a:cubicBezTo>
                  <a:close/>
                  <a:moveTo>
                    <a:pt x="938463" y="270710"/>
                  </a:moveTo>
                  <a:cubicBezTo>
                    <a:pt x="938463" y="250776"/>
                    <a:pt x="922302" y="234615"/>
                    <a:pt x="902368" y="234615"/>
                  </a:cubicBezTo>
                  <a:cubicBezTo>
                    <a:pt x="882434" y="234615"/>
                    <a:pt x="866273" y="250776"/>
                    <a:pt x="866273" y="270710"/>
                  </a:cubicBezTo>
                  <a:cubicBezTo>
                    <a:pt x="866273" y="290644"/>
                    <a:pt x="882434" y="306805"/>
                    <a:pt x="902368" y="306805"/>
                  </a:cubicBezTo>
                  <a:cubicBezTo>
                    <a:pt x="922302" y="306805"/>
                    <a:pt x="938463" y="290644"/>
                    <a:pt x="938463" y="270710"/>
                  </a:cubicBezTo>
                  <a:close/>
                </a:path>
              </a:pathLst>
            </a:custGeom>
            <a:noFill/>
            <a:ln w="6767">
              <a:solidFill>
                <a:srgbClr val="FFFFFF"/>
              </a:solidFill>
            </a:ln>
          </p:spPr>
          <p:txBody>
            <a:bodyPr rtlCol="0" anchor="ctr"/>
            <a:lstStyle/>
            <a:p>
              <a:pPr algn="ctr"/>
              <a:endParaRPr/>
            </a:p>
          </p:txBody>
        </p:sp>
        <p:sp>
          <p:nvSpPr>
            <p:cNvPr id="12" name="Rounded Rectangle 9">
              <a:extLst>
                <a:ext uri="{FF2B5EF4-FFF2-40B4-BE49-F238E27FC236}">
                  <a16:creationId xmlns:a16="http://schemas.microsoft.com/office/drawing/2014/main" id="{6D43346A-22B9-BBDC-E7FB-535B762EEFBA}"/>
                </a:ext>
              </a:extLst>
            </p:cNvPr>
            <p:cNvSpPr/>
            <p:nvPr/>
          </p:nvSpPr>
          <p:spPr>
            <a:xfrm>
              <a:off x="3230478" y="1443789"/>
              <a:ext cx="144378" cy="144378"/>
            </a:xfrm>
            <a:custGeom>
              <a:avLst/>
              <a:gdLst/>
              <a:ahLst/>
              <a:cxnLst/>
              <a:rect l="0" t="0" r="0" b="0"/>
              <a:pathLst>
                <a:path w="144378" h="144378">
                  <a:moveTo>
                    <a:pt x="0" y="72189"/>
                  </a:moveTo>
                  <a:cubicBezTo>
                    <a:pt x="0" y="112058"/>
                    <a:pt x="32320" y="144378"/>
                    <a:pt x="72189" y="144378"/>
                  </a:cubicBezTo>
                  <a:cubicBezTo>
                    <a:pt x="112058" y="144378"/>
                    <a:pt x="144378" y="112058"/>
                    <a:pt x="144378" y="72189"/>
                  </a:cubicBezTo>
                  <a:cubicBezTo>
                    <a:pt x="144378" y="32320"/>
                    <a:pt x="112058" y="0"/>
                    <a:pt x="72189" y="0"/>
                  </a:cubicBezTo>
                  <a:cubicBezTo>
                    <a:pt x="32320" y="0"/>
                    <a:pt x="0" y="32320"/>
                    <a:pt x="0" y="72189"/>
                  </a:cubicBezTo>
                </a:path>
              </a:pathLst>
            </a:custGeom>
            <a:noFill/>
            <a:ln w="6767">
              <a:solidFill>
                <a:srgbClr val="FFFFFF"/>
              </a:solidFill>
            </a:ln>
          </p:spPr>
          <p:txBody>
            <a:bodyPr rtlCol="0" anchor="ctr"/>
            <a:lstStyle/>
            <a:p>
              <a:pPr algn="ctr"/>
              <a:endParaRPr/>
            </a:p>
          </p:txBody>
        </p:sp>
      </p:grpSp>
      <p:sp>
        <p:nvSpPr>
          <p:cNvPr id="13" name="TextBox 12">
            <a:extLst>
              <a:ext uri="{FF2B5EF4-FFF2-40B4-BE49-F238E27FC236}">
                <a16:creationId xmlns:a16="http://schemas.microsoft.com/office/drawing/2014/main" id="{C6352AB7-90DD-8D51-40F5-FE81B3208144}"/>
              </a:ext>
            </a:extLst>
          </p:cNvPr>
          <p:cNvSpPr txBox="1"/>
          <p:nvPr/>
        </p:nvSpPr>
        <p:spPr>
          <a:xfrm>
            <a:off x="4452600" y="1338213"/>
            <a:ext cx="2960336" cy="631657"/>
          </a:xfrm>
          <a:prstGeom prst="rect">
            <a:avLst/>
          </a:prstGeom>
          <a:noFill/>
          <a:ln>
            <a:noFill/>
          </a:ln>
        </p:spPr>
        <p:txBody>
          <a:bodyPr wrap="none" lIns="0" tIns="0" rIns="0" bIns="0" anchor="t">
            <a:spAutoFit/>
          </a:bodyPr>
          <a:lstStyle/>
          <a:p>
            <a:pPr algn="ctr"/>
            <a:r>
              <a:rPr sz="1700" b="1">
                <a:solidFill>
                  <a:srgbClr val="1A1A1A"/>
                </a:solidFill>
                <a:latin typeface="Arial"/>
              </a:rPr>
              <a:t>Which AI system should be
developed?</a:t>
            </a:r>
          </a:p>
        </p:txBody>
      </p:sp>
      <p:sp>
        <p:nvSpPr>
          <p:cNvPr id="14" name="TextBox 13">
            <a:extLst>
              <a:ext uri="{FF2B5EF4-FFF2-40B4-BE49-F238E27FC236}">
                <a16:creationId xmlns:a16="http://schemas.microsoft.com/office/drawing/2014/main" id="{7B0D437C-7B00-4184-55C5-32A29363EA58}"/>
              </a:ext>
            </a:extLst>
          </p:cNvPr>
          <p:cNvSpPr txBox="1"/>
          <p:nvPr/>
        </p:nvSpPr>
        <p:spPr>
          <a:xfrm>
            <a:off x="3555194" y="2308259"/>
            <a:ext cx="735285" cy="265296"/>
          </a:xfrm>
          <a:prstGeom prst="rect">
            <a:avLst/>
          </a:prstGeom>
          <a:noFill/>
          <a:ln>
            <a:noFill/>
          </a:ln>
        </p:spPr>
        <p:txBody>
          <a:bodyPr wrap="none" lIns="0" tIns="0" rIns="0" bIns="0" anchor="t">
            <a:spAutoFit/>
          </a:bodyPr>
          <a:lstStyle/>
          <a:p>
            <a:pPr algn="r"/>
            <a:r>
              <a:rPr sz="1300" b="1">
                <a:solidFill>
                  <a:srgbClr val="1A1A1A"/>
                </a:solidFill>
                <a:latin typeface="Arial"/>
              </a:rPr>
              <a:t>AI Agent</a:t>
            </a:r>
          </a:p>
        </p:txBody>
      </p:sp>
      <p:sp>
        <p:nvSpPr>
          <p:cNvPr id="15" name="TextBox 14">
            <a:extLst>
              <a:ext uri="{FF2B5EF4-FFF2-40B4-BE49-F238E27FC236}">
                <a16:creationId xmlns:a16="http://schemas.microsoft.com/office/drawing/2014/main" id="{0352A4F9-F2B9-0439-51AD-0F05CD4E8907}"/>
              </a:ext>
            </a:extLst>
          </p:cNvPr>
          <p:cNvSpPr txBox="1"/>
          <p:nvPr/>
        </p:nvSpPr>
        <p:spPr>
          <a:xfrm>
            <a:off x="7575065" y="2308259"/>
            <a:ext cx="1684613" cy="265296"/>
          </a:xfrm>
          <a:prstGeom prst="rect">
            <a:avLst/>
          </a:prstGeom>
          <a:noFill/>
          <a:ln>
            <a:noFill/>
          </a:ln>
        </p:spPr>
        <p:txBody>
          <a:bodyPr wrap="none" lIns="0" tIns="0" rIns="0" bIns="0" anchor="t">
            <a:spAutoFit/>
          </a:bodyPr>
          <a:lstStyle/>
          <a:p>
            <a:pPr algn="l"/>
            <a:r>
              <a:rPr sz="1300" b="1">
                <a:solidFill>
                  <a:srgbClr val="1A1A1A"/>
                </a:solidFill>
                <a:latin typeface="Arial"/>
              </a:rPr>
              <a:t>Multi-Agent System</a:t>
            </a:r>
          </a:p>
        </p:txBody>
      </p:sp>
      <p:sp>
        <p:nvSpPr>
          <p:cNvPr id="16" name="TextBox 15">
            <a:extLst>
              <a:ext uri="{FF2B5EF4-FFF2-40B4-BE49-F238E27FC236}">
                <a16:creationId xmlns:a16="http://schemas.microsoft.com/office/drawing/2014/main" id="{DA407C69-8C6D-5C37-8E27-6E6EDA19314C}"/>
              </a:ext>
            </a:extLst>
          </p:cNvPr>
          <p:cNvSpPr txBox="1"/>
          <p:nvPr/>
        </p:nvSpPr>
        <p:spPr>
          <a:xfrm>
            <a:off x="2153636" y="2633112"/>
            <a:ext cx="2136781" cy="795888"/>
          </a:xfrm>
          <a:prstGeom prst="rect">
            <a:avLst/>
          </a:prstGeom>
          <a:noFill/>
          <a:ln>
            <a:noFill/>
          </a:ln>
        </p:spPr>
        <p:txBody>
          <a:bodyPr wrap="none" lIns="0" tIns="0" rIns="0" bIns="0" anchor="t">
            <a:spAutoFit/>
          </a:bodyPr>
          <a:lstStyle/>
          <a:p>
            <a:pPr algn="r"/>
            <a:r>
              <a:rPr sz="1300" b="0">
                <a:solidFill>
                  <a:srgbClr val="1A1A1A"/>
                </a:solidFill>
                <a:latin typeface="Arial"/>
              </a:rPr>
              <a:t>Suitable for tasks requiring
autonomy and decision-
making.</a:t>
            </a:r>
          </a:p>
        </p:txBody>
      </p:sp>
      <p:sp>
        <p:nvSpPr>
          <p:cNvPr id="17" name="TextBox 16">
            <a:extLst>
              <a:ext uri="{FF2B5EF4-FFF2-40B4-BE49-F238E27FC236}">
                <a16:creationId xmlns:a16="http://schemas.microsoft.com/office/drawing/2014/main" id="{03C6BFB3-D03A-14E8-D1A4-6592C481D237}"/>
              </a:ext>
            </a:extLst>
          </p:cNvPr>
          <p:cNvSpPr txBox="1"/>
          <p:nvPr/>
        </p:nvSpPr>
        <p:spPr>
          <a:xfrm>
            <a:off x="7575065" y="2633112"/>
            <a:ext cx="2216866" cy="530592"/>
          </a:xfrm>
          <a:prstGeom prst="rect">
            <a:avLst/>
          </a:prstGeom>
          <a:noFill/>
          <a:ln>
            <a:noFill/>
          </a:ln>
        </p:spPr>
        <p:txBody>
          <a:bodyPr wrap="none" lIns="0" tIns="0" rIns="0" bIns="0" anchor="t">
            <a:spAutoFit/>
          </a:bodyPr>
          <a:lstStyle/>
          <a:p>
            <a:pPr algn="l"/>
            <a:r>
              <a:rPr sz="1300" b="0">
                <a:solidFill>
                  <a:srgbClr val="1A1A1A"/>
                </a:solidFill>
                <a:latin typeface="Arial"/>
              </a:rPr>
              <a:t>Ideal for complex problems
needing collaboration.</a:t>
            </a:r>
          </a:p>
        </p:txBody>
      </p:sp>
      <p:sp>
        <p:nvSpPr>
          <p:cNvPr id="18" name="Rounded Rectangle 16">
            <a:extLst>
              <a:ext uri="{FF2B5EF4-FFF2-40B4-BE49-F238E27FC236}">
                <a16:creationId xmlns:a16="http://schemas.microsoft.com/office/drawing/2014/main" id="{020A39DA-0B06-4647-B341-E9722B677956}"/>
              </a:ext>
            </a:extLst>
          </p:cNvPr>
          <p:cNvSpPr/>
          <p:nvPr/>
        </p:nvSpPr>
        <p:spPr>
          <a:xfrm>
            <a:off x="5667458" y="2104161"/>
            <a:ext cx="530592" cy="619954"/>
          </a:xfrm>
          <a:custGeom>
            <a:avLst/>
            <a:gdLst/>
            <a:ahLst/>
            <a:cxnLst/>
            <a:rect l="0" t="0" r="0" b="0"/>
            <a:pathLst>
              <a:path w="530592" h="619954">
                <a:moveTo>
                  <a:pt x="270710" y="246346"/>
                </a:moveTo>
                <a:cubicBezTo>
                  <a:pt x="243639" y="219275"/>
                  <a:pt x="189497" y="205739"/>
                  <a:pt x="162426" y="232811"/>
                </a:cubicBezTo>
                <a:moveTo>
                  <a:pt x="2707" y="300488"/>
                </a:moveTo>
                <a:cubicBezTo>
                  <a:pt x="0" y="289660"/>
                  <a:pt x="0" y="278831"/>
                  <a:pt x="0" y="265296"/>
                </a:cubicBezTo>
                <a:cubicBezTo>
                  <a:pt x="0" y="119112"/>
                  <a:pt x="119112" y="0"/>
                  <a:pt x="265296" y="0"/>
                </a:cubicBezTo>
                <a:cubicBezTo>
                  <a:pt x="411479" y="0"/>
                  <a:pt x="530592" y="119112"/>
                  <a:pt x="530592" y="265296"/>
                </a:cubicBezTo>
                <a:cubicBezTo>
                  <a:pt x="530592" y="362752"/>
                  <a:pt x="479157" y="446672"/>
                  <a:pt x="400651" y="492693"/>
                </a:cubicBezTo>
                <a:moveTo>
                  <a:pt x="215214" y="590311"/>
                </a:moveTo>
                <a:cubicBezTo>
                  <a:pt x="269356" y="568654"/>
                  <a:pt x="259205" y="520928"/>
                  <a:pt x="248376" y="477614"/>
                </a:cubicBezTo>
                <a:lnTo>
                  <a:pt x="334571" y="444235"/>
                </a:lnTo>
                <a:cubicBezTo>
                  <a:pt x="354552" y="436503"/>
                  <a:pt x="365001" y="414499"/>
                  <a:pt x="358366" y="394127"/>
                </a:cubicBezTo>
                <a:lnTo>
                  <a:pt x="358366" y="394127"/>
                </a:lnTo>
                <a:cubicBezTo>
                  <a:pt x="354935" y="383591"/>
                  <a:pt x="347320" y="374930"/>
                  <a:pt x="337310" y="370178"/>
                </a:cubicBezTo>
                <a:cubicBezTo>
                  <a:pt x="327299" y="365427"/>
                  <a:pt x="315775" y="365002"/>
                  <a:pt x="305442" y="369005"/>
                </a:cubicBezTo>
                <a:lnTo>
                  <a:pt x="146860" y="430456"/>
                </a:lnTo>
                <a:cubicBezTo>
                  <a:pt x="133324" y="435871"/>
                  <a:pt x="117082" y="425042"/>
                  <a:pt x="117082" y="411507"/>
                </a:cubicBezTo>
                <a:lnTo>
                  <a:pt x="116026" y="385870"/>
                </a:lnTo>
                <a:cubicBezTo>
                  <a:pt x="115594" y="375425"/>
                  <a:pt x="110848" y="365628"/>
                  <a:pt x="102920" y="358813"/>
                </a:cubicBezTo>
                <a:cubicBezTo>
                  <a:pt x="94992" y="351999"/>
                  <a:pt x="84593" y="348779"/>
                  <a:pt x="74201" y="349920"/>
                </a:cubicBezTo>
                <a:lnTo>
                  <a:pt x="74201" y="349920"/>
                </a:lnTo>
                <a:cubicBezTo>
                  <a:pt x="55085" y="352031"/>
                  <a:pt x="40614" y="368181"/>
                  <a:pt x="40606" y="387413"/>
                </a:cubicBezTo>
                <a:lnTo>
                  <a:pt x="40606" y="498134"/>
                </a:lnTo>
                <a:cubicBezTo>
                  <a:pt x="40606" y="568519"/>
                  <a:pt x="105577" y="619954"/>
                  <a:pt x="173254" y="603711"/>
                </a:cubicBezTo>
                <a:cubicBezTo>
                  <a:pt x="173254" y="603711"/>
                  <a:pt x="201679" y="595725"/>
                  <a:pt x="215214" y="590311"/>
                </a:cubicBezTo>
                <a:close/>
                <a:moveTo>
                  <a:pt x="137385" y="138062"/>
                </a:moveTo>
                <a:cubicBezTo>
                  <a:pt x="131778" y="138062"/>
                  <a:pt x="127233" y="133517"/>
                  <a:pt x="127233" y="127910"/>
                </a:cubicBezTo>
                <a:cubicBezTo>
                  <a:pt x="127233" y="122304"/>
                  <a:pt x="131778" y="117759"/>
                  <a:pt x="137385" y="117759"/>
                </a:cubicBezTo>
                <a:moveTo>
                  <a:pt x="137385" y="117759"/>
                </a:moveTo>
                <a:cubicBezTo>
                  <a:pt x="142992" y="117759"/>
                  <a:pt x="147537" y="122304"/>
                  <a:pt x="147537" y="127910"/>
                </a:cubicBezTo>
                <a:cubicBezTo>
                  <a:pt x="147537" y="133517"/>
                  <a:pt x="142992" y="138062"/>
                  <a:pt x="137385" y="138062"/>
                </a:cubicBezTo>
                <a:moveTo>
                  <a:pt x="281538" y="138062"/>
                </a:moveTo>
                <a:cubicBezTo>
                  <a:pt x="275932" y="138062"/>
                  <a:pt x="271387" y="133517"/>
                  <a:pt x="271387" y="127910"/>
                </a:cubicBezTo>
                <a:cubicBezTo>
                  <a:pt x="271387" y="122304"/>
                  <a:pt x="275932" y="117759"/>
                  <a:pt x="281538" y="117759"/>
                </a:cubicBezTo>
                <a:moveTo>
                  <a:pt x="281538" y="117759"/>
                </a:moveTo>
                <a:cubicBezTo>
                  <a:pt x="287145" y="117759"/>
                  <a:pt x="291690" y="122304"/>
                  <a:pt x="291690" y="127910"/>
                </a:cubicBezTo>
                <a:cubicBezTo>
                  <a:pt x="291690" y="133517"/>
                  <a:pt x="287145" y="138062"/>
                  <a:pt x="281538" y="138062"/>
                </a:cubicBezTo>
              </a:path>
            </a:pathLst>
          </a:custGeom>
          <a:noFill/>
          <a:ln w="6767">
            <a:solidFill>
              <a:srgbClr val="1A1A1A"/>
            </a:solidFill>
          </a:ln>
        </p:spPr>
        <p:txBody>
          <a:bodyPr rtlCol="0" anchor="ctr"/>
          <a:lstStyle/>
          <a:p>
            <a:pPr algn="ctr"/>
            <a:endParaRPr/>
          </a:p>
        </p:txBody>
      </p:sp>
      <p:sp>
        <p:nvSpPr>
          <p:cNvPr id="19" name="Rounded Rectangle 17">
            <a:extLst>
              <a:ext uri="{FF2B5EF4-FFF2-40B4-BE49-F238E27FC236}">
                <a16:creationId xmlns:a16="http://schemas.microsoft.com/office/drawing/2014/main" id="{1B733195-7F18-5178-1E74-6E119EBCBADB}"/>
              </a:ext>
            </a:extLst>
          </p:cNvPr>
          <p:cNvSpPr/>
          <p:nvPr/>
        </p:nvSpPr>
        <p:spPr>
          <a:xfrm>
            <a:off x="4531828" y="2251861"/>
            <a:ext cx="311317" cy="311317"/>
          </a:xfrm>
          <a:custGeom>
            <a:avLst/>
            <a:gdLst/>
            <a:ahLst/>
            <a:cxnLst/>
            <a:rect l="0" t="0" r="0" b="0"/>
            <a:pathLst>
              <a:path w="311317" h="311317">
                <a:moveTo>
                  <a:pt x="257175" y="153533"/>
                </a:moveTo>
                <a:lnTo>
                  <a:pt x="211993" y="54142"/>
                </a:lnTo>
                <a:lnTo>
                  <a:pt x="166811" y="153533"/>
                </a:lnTo>
                <a:moveTo>
                  <a:pt x="247158" y="131511"/>
                </a:moveTo>
                <a:lnTo>
                  <a:pt x="176828" y="131511"/>
                </a:lnTo>
                <a:moveTo>
                  <a:pt x="179345" y="230103"/>
                </a:moveTo>
                <a:lnTo>
                  <a:pt x="284246" y="230103"/>
                </a:lnTo>
                <a:cubicBezTo>
                  <a:pt x="299197" y="230103"/>
                  <a:pt x="311317" y="217983"/>
                  <a:pt x="311317" y="203032"/>
                </a:cubicBezTo>
                <a:lnTo>
                  <a:pt x="311317" y="27071"/>
                </a:lnTo>
                <a:cubicBezTo>
                  <a:pt x="311317" y="12120"/>
                  <a:pt x="299197" y="0"/>
                  <a:pt x="284246" y="0"/>
                </a:cubicBezTo>
                <a:lnTo>
                  <a:pt x="40606" y="0"/>
                </a:lnTo>
                <a:cubicBezTo>
                  <a:pt x="25655" y="0"/>
                  <a:pt x="13535" y="12120"/>
                  <a:pt x="13535" y="27071"/>
                </a:cubicBezTo>
                <a:lnTo>
                  <a:pt x="13535" y="150921"/>
                </a:lnTo>
                <a:moveTo>
                  <a:pt x="148890" y="297781"/>
                </a:moveTo>
                <a:cubicBezTo>
                  <a:pt x="148890" y="305257"/>
                  <a:pt x="142830" y="311317"/>
                  <a:pt x="135355" y="311317"/>
                </a:cubicBezTo>
                <a:lnTo>
                  <a:pt x="13535" y="311317"/>
                </a:lnTo>
                <a:cubicBezTo>
                  <a:pt x="6060" y="311317"/>
                  <a:pt x="0" y="305257"/>
                  <a:pt x="0" y="297781"/>
                </a:cubicBezTo>
                <a:lnTo>
                  <a:pt x="0" y="250407"/>
                </a:lnTo>
                <a:cubicBezTo>
                  <a:pt x="0" y="209292"/>
                  <a:pt x="33330" y="175961"/>
                  <a:pt x="74445" y="175961"/>
                </a:cubicBezTo>
                <a:cubicBezTo>
                  <a:pt x="115560" y="175961"/>
                  <a:pt x="148890" y="209292"/>
                  <a:pt x="148890" y="250407"/>
                </a:cubicBezTo>
                <a:close/>
                <a:moveTo>
                  <a:pt x="0" y="270710"/>
                </a:moveTo>
                <a:lnTo>
                  <a:pt x="148890" y="270710"/>
                </a:lnTo>
                <a:moveTo>
                  <a:pt x="40606" y="233487"/>
                </a:moveTo>
                <a:cubicBezTo>
                  <a:pt x="40606" y="235356"/>
                  <a:pt x="42121" y="236871"/>
                  <a:pt x="43990" y="236871"/>
                </a:cubicBezTo>
                <a:cubicBezTo>
                  <a:pt x="45859" y="236871"/>
                  <a:pt x="47374" y="235356"/>
                  <a:pt x="47374" y="233487"/>
                </a:cubicBezTo>
                <a:cubicBezTo>
                  <a:pt x="47374" y="231618"/>
                  <a:pt x="45859" y="230103"/>
                  <a:pt x="43990" y="230103"/>
                </a:cubicBezTo>
                <a:cubicBezTo>
                  <a:pt x="42121" y="230103"/>
                  <a:pt x="40606" y="231618"/>
                  <a:pt x="40606" y="233487"/>
                </a:cubicBezTo>
                <a:moveTo>
                  <a:pt x="101516" y="233487"/>
                </a:moveTo>
                <a:cubicBezTo>
                  <a:pt x="101516" y="235356"/>
                  <a:pt x="103031" y="236871"/>
                  <a:pt x="104900" y="236871"/>
                </a:cubicBezTo>
                <a:cubicBezTo>
                  <a:pt x="106769" y="236871"/>
                  <a:pt x="108284" y="235356"/>
                  <a:pt x="108284" y="233487"/>
                </a:cubicBezTo>
                <a:cubicBezTo>
                  <a:pt x="108284" y="231618"/>
                  <a:pt x="106769" y="230103"/>
                  <a:pt x="104900" y="230103"/>
                </a:cubicBezTo>
                <a:cubicBezTo>
                  <a:pt x="103031" y="230103"/>
                  <a:pt x="101516" y="231618"/>
                  <a:pt x="101516" y="233487"/>
                </a:cubicBezTo>
                <a:moveTo>
                  <a:pt x="74445" y="148890"/>
                </a:moveTo>
                <a:lnTo>
                  <a:pt x="74445" y="175961"/>
                </a:lnTo>
                <a:moveTo>
                  <a:pt x="54142" y="128587"/>
                </a:moveTo>
                <a:cubicBezTo>
                  <a:pt x="54142" y="117374"/>
                  <a:pt x="63232" y="108284"/>
                  <a:pt x="74445" y="108284"/>
                </a:cubicBezTo>
                <a:cubicBezTo>
                  <a:pt x="85658" y="108284"/>
                  <a:pt x="94748" y="117374"/>
                  <a:pt x="94748" y="128587"/>
                </a:cubicBezTo>
                <a:cubicBezTo>
                  <a:pt x="94748" y="139800"/>
                  <a:pt x="85658" y="148890"/>
                  <a:pt x="74445" y="148890"/>
                </a:cubicBezTo>
                <a:cubicBezTo>
                  <a:pt x="63232" y="148890"/>
                  <a:pt x="54142" y="139800"/>
                  <a:pt x="54142" y="128587"/>
                </a:cubicBezTo>
              </a:path>
            </a:pathLst>
          </a:custGeom>
          <a:noFill/>
          <a:ln w="6767">
            <a:solidFill>
              <a:srgbClr val="FFFFFF"/>
            </a:solidFill>
          </a:ln>
        </p:spPr>
        <p:txBody>
          <a:bodyPr rtlCol="0" anchor="ctr"/>
          <a:lstStyle/>
          <a:p>
            <a:pPr algn="ctr"/>
            <a:endParaRPr/>
          </a:p>
        </p:txBody>
      </p:sp>
      <p:sp>
        <p:nvSpPr>
          <p:cNvPr id="20" name="Rounded Rectangle 18">
            <a:extLst>
              <a:ext uri="{FF2B5EF4-FFF2-40B4-BE49-F238E27FC236}">
                <a16:creationId xmlns:a16="http://schemas.microsoft.com/office/drawing/2014/main" id="{A0FFCA92-DAF9-3698-5B81-B687B96A15B0}"/>
              </a:ext>
            </a:extLst>
          </p:cNvPr>
          <p:cNvSpPr/>
          <p:nvPr/>
        </p:nvSpPr>
        <p:spPr>
          <a:xfrm>
            <a:off x="7022518" y="2251861"/>
            <a:ext cx="310638" cy="311317"/>
          </a:xfrm>
          <a:custGeom>
            <a:avLst/>
            <a:gdLst/>
            <a:ahLst/>
            <a:cxnLst/>
            <a:rect l="0" t="0" r="0" b="0"/>
            <a:pathLst>
              <a:path w="310638" h="311317">
                <a:moveTo>
                  <a:pt x="159890" y="296820"/>
                </a:moveTo>
                <a:cubicBezTo>
                  <a:pt x="159890" y="304826"/>
                  <a:pt x="153400" y="311317"/>
                  <a:pt x="145394" y="311317"/>
                </a:cubicBezTo>
                <a:lnTo>
                  <a:pt x="14870" y="311317"/>
                </a:lnTo>
                <a:cubicBezTo>
                  <a:pt x="6864" y="311317"/>
                  <a:pt x="374" y="304826"/>
                  <a:pt x="374" y="296820"/>
                </a:cubicBezTo>
                <a:lnTo>
                  <a:pt x="374" y="260558"/>
                </a:lnTo>
                <a:cubicBezTo>
                  <a:pt x="0" y="231816"/>
                  <a:pt x="15119" y="205095"/>
                  <a:pt x="39950" y="190615"/>
                </a:cubicBezTo>
                <a:cubicBezTo>
                  <a:pt x="64781" y="176135"/>
                  <a:pt x="95483" y="176135"/>
                  <a:pt x="120314" y="190615"/>
                </a:cubicBezTo>
                <a:cubicBezTo>
                  <a:pt x="145145" y="205095"/>
                  <a:pt x="160264" y="231816"/>
                  <a:pt x="159890" y="260558"/>
                </a:cubicBezTo>
                <a:close/>
                <a:moveTo>
                  <a:pt x="49684" y="230103"/>
                </a:moveTo>
                <a:cubicBezTo>
                  <a:pt x="49684" y="231972"/>
                  <a:pt x="51199" y="233487"/>
                  <a:pt x="53068" y="233487"/>
                </a:cubicBezTo>
                <a:cubicBezTo>
                  <a:pt x="54937" y="233487"/>
                  <a:pt x="56452" y="231972"/>
                  <a:pt x="56452" y="230103"/>
                </a:cubicBezTo>
                <a:cubicBezTo>
                  <a:pt x="56452" y="228235"/>
                  <a:pt x="54937" y="226720"/>
                  <a:pt x="53068" y="226720"/>
                </a:cubicBezTo>
                <a:cubicBezTo>
                  <a:pt x="51199" y="226720"/>
                  <a:pt x="49684" y="228235"/>
                  <a:pt x="49684" y="230103"/>
                </a:cubicBezTo>
                <a:moveTo>
                  <a:pt x="103826" y="230022"/>
                </a:moveTo>
                <a:cubicBezTo>
                  <a:pt x="103826" y="231891"/>
                  <a:pt x="105341" y="233406"/>
                  <a:pt x="107210" y="233406"/>
                </a:cubicBezTo>
                <a:cubicBezTo>
                  <a:pt x="109079" y="233406"/>
                  <a:pt x="110594" y="231891"/>
                  <a:pt x="110594" y="230022"/>
                </a:cubicBezTo>
                <a:cubicBezTo>
                  <a:pt x="110594" y="228153"/>
                  <a:pt x="109079" y="226638"/>
                  <a:pt x="107210" y="226638"/>
                </a:cubicBezTo>
                <a:cubicBezTo>
                  <a:pt x="105341" y="226638"/>
                  <a:pt x="103826" y="228153"/>
                  <a:pt x="103826" y="230022"/>
                </a:cubicBezTo>
                <a:moveTo>
                  <a:pt x="80139" y="180794"/>
                </a:moveTo>
                <a:lnTo>
                  <a:pt x="80139" y="151787"/>
                </a:lnTo>
                <a:moveTo>
                  <a:pt x="58387" y="130035"/>
                </a:moveTo>
                <a:cubicBezTo>
                  <a:pt x="58387" y="142048"/>
                  <a:pt x="68126" y="151787"/>
                  <a:pt x="80139" y="151787"/>
                </a:cubicBezTo>
                <a:cubicBezTo>
                  <a:pt x="92152" y="151787"/>
                  <a:pt x="101890" y="142048"/>
                  <a:pt x="101890" y="130035"/>
                </a:cubicBezTo>
                <a:cubicBezTo>
                  <a:pt x="101890" y="118022"/>
                  <a:pt x="92152" y="108284"/>
                  <a:pt x="80139" y="108284"/>
                </a:cubicBezTo>
                <a:cubicBezTo>
                  <a:pt x="68126" y="108284"/>
                  <a:pt x="58387" y="118022"/>
                  <a:pt x="58387" y="130035"/>
                </a:cubicBezTo>
                <a:moveTo>
                  <a:pt x="374" y="274974"/>
                </a:moveTo>
                <a:lnTo>
                  <a:pt x="159890" y="274974"/>
                </a:lnTo>
                <a:moveTo>
                  <a:pt x="108780" y="51435"/>
                </a:moveTo>
                <a:cubicBezTo>
                  <a:pt x="108780" y="79841"/>
                  <a:pt x="131808" y="102870"/>
                  <a:pt x="160215" y="102870"/>
                </a:cubicBezTo>
                <a:cubicBezTo>
                  <a:pt x="188622" y="102870"/>
                  <a:pt x="211650" y="79841"/>
                  <a:pt x="211650" y="51435"/>
                </a:cubicBezTo>
                <a:cubicBezTo>
                  <a:pt x="211650" y="23028"/>
                  <a:pt x="188622" y="0"/>
                  <a:pt x="160215" y="0"/>
                </a:cubicBezTo>
                <a:cubicBezTo>
                  <a:pt x="131808" y="0"/>
                  <a:pt x="108780" y="23028"/>
                  <a:pt x="108780" y="51435"/>
                </a:cubicBezTo>
                <a:moveTo>
                  <a:pt x="227216" y="134529"/>
                </a:moveTo>
                <a:cubicBezTo>
                  <a:pt x="227216" y="151102"/>
                  <a:pt x="240651" y="164537"/>
                  <a:pt x="257224" y="164537"/>
                </a:cubicBezTo>
                <a:cubicBezTo>
                  <a:pt x="273797" y="164537"/>
                  <a:pt x="287232" y="151102"/>
                  <a:pt x="287232" y="134529"/>
                </a:cubicBezTo>
                <a:cubicBezTo>
                  <a:pt x="287232" y="117956"/>
                  <a:pt x="273797" y="104521"/>
                  <a:pt x="257224" y="104521"/>
                </a:cubicBezTo>
                <a:cubicBezTo>
                  <a:pt x="240651" y="104521"/>
                  <a:pt x="227216" y="117956"/>
                  <a:pt x="227216" y="134529"/>
                </a:cubicBezTo>
                <a:moveTo>
                  <a:pt x="227216" y="241351"/>
                </a:moveTo>
                <a:cubicBezTo>
                  <a:pt x="227216" y="257925"/>
                  <a:pt x="240651" y="271360"/>
                  <a:pt x="257224" y="271360"/>
                </a:cubicBezTo>
                <a:cubicBezTo>
                  <a:pt x="273797" y="271360"/>
                  <a:pt x="287232" y="257925"/>
                  <a:pt x="287232" y="241351"/>
                </a:cubicBezTo>
                <a:cubicBezTo>
                  <a:pt x="287232" y="224778"/>
                  <a:pt x="273797" y="211343"/>
                  <a:pt x="257224" y="211343"/>
                </a:cubicBezTo>
                <a:cubicBezTo>
                  <a:pt x="240651" y="211343"/>
                  <a:pt x="227216" y="224778"/>
                  <a:pt x="227216" y="241351"/>
                </a:cubicBezTo>
                <a:moveTo>
                  <a:pt x="270543" y="54683"/>
                </a:moveTo>
                <a:cubicBezTo>
                  <a:pt x="270540" y="65757"/>
                  <a:pt x="279516" y="74735"/>
                  <a:pt x="290589" y="74735"/>
                </a:cubicBezTo>
                <a:cubicBezTo>
                  <a:pt x="301663" y="74735"/>
                  <a:pt x="310638" y="65757"/>
                  <a:pt x="310635" y="54683"/>
                </a:cubicBezTo>
                <a:cubicBezTo>
                  <a:pt x="310638" y="43610"/>
                  <a:pt x="301663" y="34631"/>
                  <a:pt x="290589" y="34631"/>
                </a:cubicBezTo>
                <a:cubicBezTo>
                  <a:pt x="279516" y="34631"/>
                  <a:pt x="270540" y="43610"/>
                  <a:pt x="270543" y="54683"/>
                </a:cubicBezTo>
              </a:path>
            </a:pathLst>
          </a:custGeom>
          <a:noFill/>
          <a:ln w="6767">
            <a:solidFill>
              <a:srgbClr val="FFFFFF"/>
            </a:solidFill>
          </a:ln>
        </p:spPr>
        <p:txBody>
          <a:bodyPr rtlCol="0" anchor="ctr"/>
          <a:lstStyle/>
          <a:p>
            <a:pPr algn="ctr"/>
            <a:endParaRPr/>
          </a:p>
        </p:txBody>
      </p:sp>
      <p:grpSp>
        <p:nvGrpSpPr>
          <p:cNvPr id="41" name="Group 40">
            <a:extLst>
              <a:ext uri="{FF2B5EF4-FFF2-40B4-BE49-F238E27FC236}">
                <a16:creationId xmlns:a16="http://schemas.microsoft.com/office/drawing/2014/main" id="{68C8988C-D845-F9C8-D435-B8518B8F1BF6}"/>
              </a:ext>
            </a:extLst>
          </p:cNvPr>
          <p:cNvGrpSpPr>
            <a:grpSpLocks noChangeAspect="1"/>
          </p:cNvGrpSpPr>
          <p:nvPr/>
        </p:nvGrpSpPr>
        <p:grpSpPr>
          <a:xfrm>
            <a:off x="1548063" y="3488557"/>
            <a:ext cx="9095874" cy="2468880"/>
            <a:chOff x="2297723" y="3694297"/>
            <a:chExt cx="7385539" cy="2004646"/>
          </a:xfrm>
        </p:grpSpPr>
        <p:grpSp>
          <p:nvGrpSpPr>
            <p:cNvPr id="21" name="Group 20">
              <a:extLst>
                <a:ext uri="{FF2B5EF4-FFF2-40B4-BE49-F238E27FC236}">
                  <a16:creationId xmlns:a16="http://schemas.microsoft.com/office/drawing/2014/main" id="{E2B07269-1E87-B171-CA35-7D6A2E9AA60B}"/>
                </a:ext>
              </a:extLst>
            </p:cNvPr>
            <p:cNvGrpSpPr/>
            <p:nvPr/>
          </p:nvGrpSpPr>
          <p:grpSpPr>
            <a:xfrm>
              <a:off x="2297723" y="3694297"/>
              <a:ext cx="1688123" cy="1371600"/>
              <a:chOff x="422030" y="1160584"/>
              <a:chExt cx="1688123" cy="1371600"/>
            </a:xfrm>
          </p:grpSpPr>
          <p:sp>
            <p:nvSpPr>
              <p:cNvPr id="22" name="Rounded Rectangle 1">
                <a:extLst>
                  <a:ext uri="{FF2B5EF4-FFF2-40B4-BE49-F238E27FC236}">
                    <a16:creationId xmlns:a16="http://schemas.microsoft.com/office/drawing/2014/main" id="{E3CA803A-87A3-0E71-9B95-F52219AC7ABD}"/>
                  </a:ext>
                </a:extLst>
              </p:cNvPr>
              <p:cNvSpPr/>
              <p:nvPr/>
            </p:nvSpPr>
            <p:spPr>
              <a:xfrm>
                <a:off x="422030" y="1160584"/>
                <a:ext cx="1688123" cy="1371600"/>
              </a:xfrm>
              <a:custGeom>
                <a:avLst/>
                <a:gdLst/>
                <a:ahLst/>
                <a:cxnLst/>
                <a:rect l="0" t="0" r="0" b="0"/>
                <a:pathLst>
                  <a:path w="1688123" h="1371600">
                    <a:moveTo>
                      <a:pt x="1688123" y="422030"/>
                    </a:moveTo>
                    <a:lnTo>
                      <a:pt x="0" y="422030"/>
                    </a:lnTo>
                    <a:cubicBezTo>
                      <a:pt x="0" y="188949"/>
                      <a:pt x="0" y="0"/>
                      <a:pt x="0" y="0"/>
                    </a:cubicBezTo>
                    <a:lnTo>
                      <a:pt x="1688123" y="0"/>
                    </a:lnTo>
                    <a:lnTo>
                      <a:pt x="1688123" y="422030"/>
                    </a:lnTo>
                    <a:close/>
                    <a:moveTo>
                      <a:pt x="1688123" y="949569"/>
                    </a:moveTo>
                    <a:lnTo>
                      <a:pt x="1688123" y="422030"/>
                    </a:lnTo>
                    <a:lnTo>
                      <a:pt x="0" y="422030"/>
                    </a:lnTo>
                    <a:lnTo>
                      <a:pt x="0" y="949569"/>
                    </a:lnTo>
                    <a:lnTo>
                      <a:pt x="1688123" y="949569"/>
                    </a:lnTo>
                    <a:close/>
                    <a:moveTo>
                      <a:pt x="0" y="949569"/>
                    </a:moveTo>
                    <a:lnTo>
                      <a:pt x="0" y="1371600"/>
                    </a:lnTo>
                    <a:lnTo>
                      <a:pt x="941374" y="1371600"/>
                    </a:lnTo>
                    <a:cubicBezTo>
                      <a:pt x="1166906" y="1371600"/>
                      <a:pt x="1406769" y="1371600"/>
                      <a:pt x="1626576" y="1318846"/>
                    </a:cubicBezTo>
                    <a:cubicBezTo>
                      <a:pt x="1626576" y="1318846"/>
                      <a:pt x="1688123" y="1239715"/>
                      <a:pt x="1688123" y="949569"/>
                    </a:cubicBezTo>
                    <a:lnTo>
                      <a:pt x="0" y="949569"/>
                    </a:lnTo>
                    <a:close/>
                  </a:path>
                </a:pathLst>
              </a:custGeom>
              <a:solidFill>
                <a:srgbClr val="0486FF"/>
              </a:solidFill>
              <a:ln>
                <a:noFill/>
              </a:ln>
            </p:spPr>
            <p:txBody>
              <a:bodyPr rtlCol="0" anchor="ctr"/>
              <a:lstStyle/>
              <a:p>
                <a:pPr algn="ctr"/>
                <a:endParaRPr sz="2800"/>
              </a:p>
            </p:txBody>
          </p:sp>
          <p:sp>
            <p:nvSpPr>
              <p:cNvPr id="23" name="Rounded Rectangle 2">
                <a:extLst>
                  <a:ext uri="{FF2B5EF4-FFF2-40B4-BE49-F238E27FC236}">
                    <a16:creationId xmlns:a16="http://schemas.microsoft.com/office/drawing/2014/main" id="{6D5D0159-EBD8-7724-AFC0-AE6B9983D118}"/>
                  </a:ext>
                </a:extLst>
              </p:cNvPr>
              <p:cNvSpPr/>
              <p:nvPr/>
            </p:nvSpPr>
            <p:spPr>
              <a:xfrm>
                <a:off x="422030" y="1160584"/>
                <a:ext cx="1688123" cy="1371600"/>
              </a:xfrm>
              <a:custGeom>
                <a:avLst/>
                <a:gdLst/>
                <a:ahLst/>
                <a:cxnLst/>
                <a:rect l="0" t="0" r="0" b="0"/>
                <a:pathLst>
                  <a:path w="1688123" h="1371600">
                    <a:moveTo>
                      <a:pt x="1688123" y="422030"/>
                    </a:moveTo>
                    <a:lnTo>
                      <a:pt x="1688123" y="0"/>
                    </a:lnTo>
                    <a:lnTo>
                      <a:pt x="0" y="0"/>
                    </a:lnTo>
                    <a:lnTo>
                      <a:pt x="0" y="422029"/>
                    </a:lnTo>
                    <a:moveTo>
                      <a:pt x="1688123" y="949569"/>
                    </a:moveTo>
                    <a:lnTo>
                      <a:pt x="1688123" y="422030"/>
                    </a:lnTo>
                    <a:moveTo>
                      <a:pt x="0" y="949569"/>
                    </a:moveTo>
                    <a:lnTo>
                      <a:pt x="0" y="422030"/>
                    </a:lnTo>
                    <a:moveTo>
                      <a:pt x="0" y="949569"/>
                    </a:moveTo>
                    <a:lnTo>
                      <a:pt x="0" y="1371600"/>
                    </a:lnTo>
                    <a:lnTo>
                      <a:pt x="941377" y="1371600"/>
                    </a:lnTo>
                    <a:cubicBezTo>
                      <a:pt x="1166907" y="1371600"/>
                      <a:pt x="1406769" y="1371600"/>
                      <a:pt x="1626576" y="1318846"/>
                    </a:cubicBezTo>
                    <a:cubicBezTo>
                      <a:pt x="1626576" y="1318846"/>
                      <a:pt x="1688123" y="1239715"/>
                      <a:pt x="1688123" y="949569"/>
                    </a:cubicBezTo>
                  </a:path>
                </a:pathLst>
              </a:custGeom>
              <a:noFill/>
              <a:ln w="6594">
                <a:solidFill>
                  <a:srgbClr val="FFFFFF"/>
                </a:solidFill>
              </a:ln>
            </p:spPr>
            <p:txBody>
              <a:bodyPr rtlCol="0" anchor="ctr"/>
              <a:lstStyle/>
              <a:p>
                <a:pPr algn="ctr"/>
                <a:endParaRPr sz="2800"/>
              </a:p>
            </p:txBody>
          </p:sp>
        </p:grpSp>
        <p:grpSp>
          <p:nvGrpSpPr>
            <p:cNvPr id="24" name="Group 23">
              <a:extLst>
                <a:ext uri="{FF2B5EF4-FFF2-40B4-BE49-F238E27FC236}">
                  <a16:creationId xmlns:a16="http://schemas.microsoft.com/office/drawing/2014/main" id="{CB06436C-D4A8-4B62-FE25-61D66AEC82DE}"/>
                </a:ext>
              </a:extLst>
            </p:cNvPr>
            <p:cNvGrpSpPr/>
            <p:nvPr/>
          </p:nvGrpSpPr>
          <p:grpSpPr>
            <a:xfrm>
              <a:off x="4196862" y="3799805"/>
              <a:ext cx="1688123" cy="1582615"/>
              <a:chOff x="2321169" y="1266092"/>
              <a:chExt cx="1688123" cy="1582615"/>
            </a:xfrm>
          </p:grpSpPr>
          <p:sp>
            <p:nvSpPr>
              <p:cNvPr id="25" name="Rounded Rectangle 4">
                <a:extLst>
                  <a:ext uri="{FF2B5EF4-FFF2-40B4-BE49-F238E27FC236}">
                    <a16:creationId xmlns:a16="http://schemas.microsoft.com/office/drawing/2014/main" id="{DCDB1354-E517-A1FA-C854-C391BFDA8536}"/>
                  </a:ext>
                </a:extLst>
              </p:cNvPr>
              <p:cNvSpPr/>
              <p:nvPr/>
            </p:nvSpPr>
            <p:spPr>
              <a:xfrm>
                <a:off x="2321169" y="1266092"/>
                <a:ext cx="1688123" cy="1582615"/>
              </a:xfrm>
              <a:custGeom>
                <a:avLst/>
                <a:gdLst/>
                <a:ahLst/>
                <a:cxnLst/>
                <a:rect l="0" t="0" r="0" b="0"/>
                <a:pathLst>
                  <a:path w="1688123" h="1582615">
                    <a:moveTo>
                      <a:pt x="1688123" y="422030"/>
                    </a:moveTo>
                    <a:lnTo>
                      <a:pt x="0" y="422030"/>
                    </a:lnTo>
                    <a:cubicBezTo>
                      <a:pt x="0" y="188949"/>
                      <a:pt x="0" y="0"/>
                      <a:pt x="0" y="0"/>
                    </a:cubicBezTo>
                    <a:lnTo>
                      <a:pt x="1688123" y="0"/>
                    </a:lnTo>
                    <a:lnTo>
                      <a:pt x="1688123" y="422030"/>
                    </a:lnTo>
                    <a:close/>
                    <a:moveTo>
                      <a:pt x="1688123" y="1160584"/>
                    </a:moveTo>
                    <a:lnTo>
                      <a:pt x="1688123" y="422030"/>
                    </a:lnTo>
                    <a:lnTo>
                      <a:pt x="0" y="422030"/>
                    </a:lnTo>
                    <a:lnTo>
                      <a:pt x="0" y="1160584"/>
                    </a:lnTo>
                    <a:lnTo>
                      <a:pt x="1688123" y="1160584"/>
                    </a:lnTo>
                    <a:close/>
                    <a:moveTo>
                      <a:pt x="1688123" y="1160584"/>
                    </a:moveTo>
                    <a:lnTo>
                      <a:pt x="1688123" y="1582615"/>
                    </a:lnTo>
                    <a:lnTo>
                      <a:pt x="479180" y="1582615"/>
                    </a:lnTo>
                    <a:cubicBezTo>
                      <a:pt x="389199" y="1582615"/>
                      <a:pt x="231795" y="1577056"/>
                      <a:pt x="167053" y="1529861"/>
                    </a:cubicBezTo>
                    <a:lnTo>
                      <a:pt x="65942" y="1446334"/>
                    </a:lnTo>
                    <a:cubicBezTo>
                      <a:pt x="35169" y="1415561"/>
                      <a:pt x="6902" y="1379589"/>
                      <a:pt x="3965" y="1317216"/>
                    </a:cubicBezTo>
                    <a:cubicBezTo>
                      <a:pt x="1886" y="1273078"/>
                      <a:pt x="0" y="1222366"/>
                      <a:pt x="0" y="1183714"/>
                    </a:cubicBezTo>
                    <a:lnTo>
                      <a:pt x="0" y="1160584"/>
                    </a:lnTo>
                    <a:lnTo>
                      <a:pt x="1688123" y="1160584"/>
                    </a:lnTo>
                    <a:close/>
                  </a:path>
                </a:pathLst>
              </a:custGeom>
              <a:solidFill>
                <a:srgbClr val="2093FF"/>
              </a:solidFill>
              <a:ln>
                <a:noFill/>
              </a:ln>
            </p:spPr>
            <p:txBody>
              <a:bodyPr rtlCol="0" anchor="ctr"/>
              <a:lstStyle/>
              <a:p>
                <a:pPr algn="ctr"/>
                <a:endParaRPr sz="2800"/>
              </a:p>
            </p:txBody>
          </p:sp>
          <p:sp>
            <p:nvSpPr>
              <p:cNvPr id="26" name="Rounded Rectangle 5">
                <a:extLst>
                  <a:ext uri="{FF2B5EF4-FFF2-40B4-BE49-F238E27FC236}">
                    <a16:creationId xmlns:a16="http://schemas.microsoft.com/office/drawing/2014/main" id="{6766F08A-7E3F-68C8-1C2D-9E5A673CCACD}"/>
                  </a:ext>
                </a:extLst>
              </p:cNvPr>
              <p:cNvSpPr/>
              <p:nvPr/>
            </p:nvSpPr>
            <p:spPr>
              <a:xfrm>
                <a:off x="2321169" y="1266092"/>
                <a:ext cx="1688123" cy="1582615"/>
              </a:xfrm>
              <a:custGeom>
                <a:avLst/>
                <a:gdLst/>
                <a:ahLst/>
                <a:cxnLst/>
                <a:rect l="0" t="0" r="0" b="0"/>
                <a:pathLst>
                  <a:path w="1688123" h="1582615">
                    <a:moveTo>
                      <a:pt x="1688123" y="422030"/>
                    </a:moveTo>
                    <a:lnTo>
                      <a:pt x="1688123" y="0"/>
                    </a:lnTo>
                    <a:lnTo>
                      <a:pt x="0" y="0"/>
                    </a:lnTo>
                    <a:lnTo>
                      <a:pt x="0" y="422029"/>
                    </a:lnTo>
                    <a:moveTo>
                      <a:pt x="1688123" y="1160584"/>
                    </a:moveTo>
                    <a:lnTo>
                      <a:pt x="1688123" y="422030"/>
                    </a:lnTo>
                    <a:moveTo>
                      <a:pt x="0" y="1160584"/>
                    </a:moveTo>
                    <a:lnTo>
                      <a:pt x="0" y="422030"/>
                    </a:lnTo>
                    <a:moveTo>
                      <a:pt x="1688123" y="1160584"/>
                    </a:moveTo>
                    <a:lnTo>
                      <a:pt x="1688123" y="1582615"/>
                    </a:lnTo>
                    <a:lnTo>
                      <a:pt x="479180" y="1582615"/>
                    </a:lnTo>
                    <a:cubicBezTo>
                      <a:pt x="389199" y="1582615"/>
                      <a:pt x="231795" y="1577056"/>
                      <a:pt x="167053" y="1529861"/>
                    </a:cubicBezTo>
                    <a:lnTo>
                      <a:pt x="65942" y="1446334"/>
                    </a:lnTo>
                    <a:cubicBezTo>
                      <a:pt x="35169" y="1415561"/>
                      <a:pt x="6902" y="1379589"/>
                      <a:pt x="3965" y="1317216"/>
                    </a:cubicBezTo>
                    <a:cubicBezTo>
                      <a:pt x="1886" y="1273078"/>
                      <a:pt x="0" y="1222366"/>
                      <a:pt x="0" y="1183714"/>
                    </a:cubicBezTo>
                    <a:lnTo>
                      <a:pt x="0" y="1160584"/>
                    </a:lnTo>
                    <a:moveTo>
                      <a:pt x="4396" y="1327638"/>
                    </a:moveTo>
                    <a:cubicBezTo>
                      <a:pt x="17584" y="1441938"/>
                      <a:pt x="153865" y="1428750"/>
                      <a:pt x="153865" y="1428750"/>
                    </a:cubicBezTo>
                    <a:cubicBezTo>
                      <a:pt x="184638" y="1507880"/>
                      <a:pt x="206619" y="1556238"/>
                      <a:pt x="320919" y="1573823"/>
                    </a:cubicBezTo>
                  </a:path>
                </a:pathLst>
              </a:custGeom>
              <a:noFill/>
              <a:ln w="6594">
                <a:solidFill>
                  <a:srgbClr val="FFFFFF"/>
                </a:solidFill>
              </a:ln>
            </p:spPr>
            <p:txBody>
              <a:bodyPr rtlCol="0" anchor="ctr"/>
              <a:lstStyle/>
              <a:p>
                <a:pPr algn="ctr"/>
                <a:endParaRPr sz="2800"/>
              </a:p>
            </p:txBody>
          </p:sp>
        </p:grpSp>
        <p:grpSp>
          <p:nvGrpSpPr>
            <p:cNvPr id="27" name="Group 26">
              <a:extLst>
                <a:ext uri="{FF2B5EF4-FFF2-40B4-BE49-F238E27FC236}">
                  <a16:creationId xmlns:a16="http://schemas.microsoft.com/office/drawing/2014/main" id="{5B2DC5FA-0D39-075D-4DC8-1093F65EB9A3}"/>
                </a:ext>
              </a:extLst>
            </p:cNvPr>
            <p:cNvGrpSpPr/>
            <p:nvPr/>
          </p:nvGrpSpPr>
          <p:grpSpPr>
            <a:xfrm>
              <a:off x="6096000" y="3694297"/>
              <a:ext cx="1688123" cy="1688123"/>
              <a:chOff x="4220307" y="1160584"/>
              <a:chExt cx="1688123" cy="1688123"/>
            </a:xfrm>
          </p:grpSpPr>
          <p:sp>
            <p:nvSpPr>
              <p:cNvPr id="28" name="Rounded Rectangle 7">
                <a:extLst>
                  <a:ext uri="{FF2B5EF4-FFF2-40B4-BE49-F238E27FC236}">
                    <a16:creationId xmlns:a16="http://schemas.microsoft.com/office/drawing/2014/main" id="{31A7788D-DFD1-EB60-0E56-1CDA8EEBE37C}"/>
                  </a:ext>
                </a:extLst>
              </p:cNvPr>
              <p:cNvSpPr/>
              <p:nvPr/>
            </p:nvSpPr>
            <p:spPr>
              <a:xfrm>
                <a:off x="4220307" y="1160584"/>
                <a:ext cx="1688123" cy="1688123"/>
              </a:xfrm>
              <a:custGeom>
                <a:avLst/>
                <a:gdLst/>
                <a:ahLst/>
                <a:cxnLst/>
                <a:rect l="0" t="0" r="0" b="0"/>
                <a:pathLst>
                  <a:path w="1688123" h="1688123">
                    <a:moveTo>
                      <a:pt x="0" y="1266092"/>
                    </a:moveTo>
                    <a:lnTo>
                      <a:pt x="1688123" y="1266092"/>
                    </a:lnTo>
                    <a:cubicBezTo>
                      <a:pt x="1688123" y="1499173"/>
                      <a:pt x="1688123" y="1688123"/>
                      <a:pt x="1688123" y="1688123"/>
                    </a:cubicBezTo>
                    <a:lnTo>
                      <a:pt x="0" y="1688123"/>
                    </a:lnTo>
                    <a:lnTo>
                      <a:pt x="0" y="1266092"/>
                    </a:lnTo>
                    <a:close/>
                    <a:moveTo>
                      <a:pt x="1688123" y="1266092"/>
                    </a:moveTo>
                    <a:lnTo>
                      <a:pt x="1688123" y="422030"/>
                    </a:lnTo>
                    <a:lnTo>
                      <a:pt x="0" y="422030"/>
                    </a:lnTo>
                    <a:lnTo>
                      <a:pt x="0" y="1266092"/>
                    </a:lnTo>
                    <a:lnTo>
                      <a:pt x="1688123" y="1266092"/>
                    </a:lnTo>
                    <a:close/>
                    <a:moveTo>
                      <a:pt x="1688123" y="422030"/>
                    </a:moveTo>
                    <a:lnTo>
                      <a:pt x="1688123" y="0"/>
                    </a:lnTo>
                    <a:lnTo>
                      <a:pt x="746745" y="0"/>
                    </a:lnTo>
                    <a:cubicBezTo>
                      <a:pt x="531083" y="0"/>
                      <a:pt x="316234" y="26449"/>
                      <a:pt x="107011" y="78754"/>
                    </a:cubicBezTo>
                    <a:lnTo>
                      <a:pt x="79918" y="85528"/>
                    </a:lnTo>
                    <a:cubicBezTo>
                      <a:pt x="32950" y="97270"/>
                      <a:pt x="0" y="139471"/>
                      <a:pt x="0" y="187885"/>
                    </a:cubicBezTo>
                    <a:lnTo>
                      <a:pt x="0" y="422030"/>
                    </a:lnTo>
                    <a:lnTo>
                      <a:pt x="1688123" y="422030"/>
                    </a:lnTo>
                    <a:close/>
                  </a:path>
                </a:pathLst>
              </a:custGeom>
              <a:solidFill>
                <a:srgbClr val="3CA1FF"/>
              </a:solidFill>
              <a:ln>
                <a:noFill/>
              </a:ln>
            </p:spPr>
            <p:txBody>
              <a:bodyPr rtlCol="0" anchor="ctr"/>
              <a:lstStyle/>
              <a:p>
                <a:pPr algn="ctr"/>
                <a:endParaRPr sz="2800"/>
              </a:p>
            </p:txBody>
          </p:sp>
          <p:sp>
            <p:nvSpPr>
              <p:cNvPr id="29" name="Rounded Rectangle 8">
                <a:extLst>
                  <a:ext uri="{FF2B5EF4-FFF2-40B4-BE49-F238E27FC236}">
                    <a16:creationId xmlns:a16="http://schemas.microsoft.com/office/drawing/2014/main" id="{AA477A23-2FE7-D462-F0AD-B6376A063D35}"/>
                  </a:ext>
                </a:extLst>
              </p:cNvPr>
              <p:cNvSpPr/>
              <p:nvPr/>
            </p:nvSpPr>
            <p:spPr>
              <a:xfrm>
                <a:off x="4220307" y="1160584"/>
                <a:ext cx="1688123" cy="1688123"/>
              </a:xfrm>
              <a:custGeom>
                <a:avLst/>
                <a:gdLst/>
                <a:ahLst/>
                <a:cxnLst/>
                <a:rect l="0" t="0" r="0" b="0"/>
                <a:pathLst>
                  <a:path w="1688123" h="1688123">
                    <a:moveTo>
                      <a:pt x="0" y="1266092"/>
                    </a:moveTo>
                    <a:lnTo>
                      <a:pt x="0" y="1688123"/>
                    </a:lnTo>
                    <a:lnTo>
                      <a:pt x="1688123" y="1688123"/>
                    </a:lnTo>
                    <a:lnTo>
                      <a:pt x="1688123" y="1266093"/>
                    </a:lnTo>
                    <a:moveTo>
                      <a:pt x="1688123" y="1266092"/>
                    </a:moveTo>
                    <a:lnTo>
                      <a:pt x="1688123" y="422030"/>
                    </a:lnTo>
                    <a:moveTo>
                      <a:pt x="0" y="1266092"/>
                    </a:moveTo>
                    <a:lnTo>
                      <a:pt x="0" y="422030"/>
                    </a:lnTo>
                    <a:moveTo>
                      <a:pt x="1688123" y="422030"/>
                    </a:moveTo>
                    <a:lnTo>
                      <a:pt x="1688123" y="0"/>
                    </a:lnTo>
                    <a:lnTo>
                      <a:pt x="746745" y="0"/>
                    </a:lnTo>
                    <a:cubicBezTo>
                      <a:pt x="531083" y="0"/>
                      <a:pt x="316234" y="26449"/>
                      <a:pt x="107011" y="78754"/>
                    </a:cubicBezTo>
                    <a:lnTo>
                      <a:pt x="79918" y="85528"/>
                    </a:lnTo>
                    <a:cubicBezTo>
                      <a:pt x="32950" y="97270"/>
                      <a:pt x="0" y="139471"/>
                      <a:pt x="0" y="187885"/>
                    </a:cubicBezTo>
                    <a:lnTo>
                      <a:pt x="0" y="422030"/>
                    </a:lnTo>
                    <a:moveTo>
                      <a:pt x="61546" y="92319"/>
                    </a:moveTo>
                    <a:cubicBezTo>
                      <a:pt x="145073" y="61546"/>
                      <a:pt x="171450" y="149469"/>
                      <a:pt x="171450" y="149469"/>
                    </a:cubicBezTo>
                    <a:cubicBezTo>
                      <a:pt x="342411" y="43394"/>
                      <a:pt x="562924" y="22501"/>
                      <a:pt x="712176" y="1"/>
                    </a:cubicBezTo>
                  </a:path>
                </a:pathLst>
              </a:custGeom>
              <a:noFill/>
              <a:ln w="6594">
                <a:solidFill>
                  <a:srgbClr val="FFFFFF"/>
                </a:solidFill>
              </a:ln>
            </p:spPr>
            <p:txBody>
              <a:bodyPr rtlCol="0" anchor="ctr"/>
              <a:lstStyle/>
              <a:p>
                <a:pPr algn="ctr"/>
                <a:endParaRPr sz="2800"/>
              </a:p>
            </p:txBody>
          </p:sp>
        </p:grpSp>
        <p:grpSp>
          <p:nvGrpSpPr>
            <p:cNvPr id="30" name="Group 29">
              <a:extLst>
                <a:ext uri="{FF2B5EF4-FFF2-40B4-BE49-F238E27FC236}">
                  <a16:creationId xmlns:a16="http://schemas.microsoft.com/office/drawing/2014/main" id="{447CADD6-4AEB-67AE-2301-AB02DA7097DE}"/>
                </a:ext>
              </a:extLst>
            </p:cNvPr>
            <p:cNvGrpSpPr/>
            <p:nvPr/>
          </p:nvGrpSpPr>
          <p:grpSpPr>
            <a:xfrm>
              <a:off x="7995139" y="3799805"/>
              <a:ext cx="1688123" cy="1899138"/>
              <a:chOff x="6119446" y="1266092"/>
              <a:chExt cx="1688123" cy="1899138"/>
            </a:xfrm>
          </p:grpSpPr>
          <p:sp>
            <p:nvSpPr>
              <p:cNvPr id="31" name="Rounded Rectangle 10">
                <a:extLst>
                  <a:ext uri="{FF2B5EF4-FFF2-40B4-BE49-F238E27FC236}">
                    <a16:creationId xmlns:a16="http://schemas.microsoft.com/office/drawing/2014/main" id="{DB7C71E2-7432-565C-A207-5C92C065BC43}"/>
                  </a:ext>
                </a:extLst>
              </p:cNvPr>
              <p:cNvSpPr/>
              <p:nvPr/>
            </p:nvSpPr>
            <p:spPr>
              <a:xfrm>
                <a:off x="6119446" y="1266092"/>
                <a:ext cx="1688123" cy="1899138"/>
              </a:xfrm>
              <a:custGeom>
                <a:avLst/>
                <a:gdLst/>
                <a:ahLst/>
                <a:cxnLst/>
                <a:rect l="0" t="0" r="0" b="0"/>
                <a:pathLst>
                  <a:path w="1688123" h="1899138">
                    <a:moveTo>
                      <a:pt x="0" y="1477107"/>
                    </a:moveTo>
                    <a:lnTo>
                      <a:pt x="1688123" y="1477108"/>
                    </a:lnTo>
                    <a:cubicBezTo>
                      <a:pt x="1688123" y="1710189"/>
                      <a:pt x="1688123" y="1899138"/>
                      <a:pt x="1688123" y="1899138"/>
                    </a:cubicBezTo>
                    <a:lnTo>
                      <a:pt x="0" y="1899138"/>
                    </a:lnTo>
                    <a:lnTo>
                      <a:pt x="0" y="1477107"/>
                    </a:lnTo>
                    <a:close/>
                    <a:moveTo>
                      <a:pt x="1688123" y="1477107"/>
                    </a:moveTo>
                    <a:lnTo>
                      <a:pt x="1688123" y="422030"/>
                    </a:lnTo>
                    <a:lnTo>
                      <a:pt x="0" y="422030"/>
                    </a:lnTo>
                    <a:lnTo>
                      <a:pt x="0" y="1477107"/>
                    </a:lnTo>
                    <a:lnTo>
                      <a:pt x="1688123" y="1477107"/>
                    </a:lnTo>
                    <a:close/>
                    <a:moveTo>
                      <a:pt x="0" y="422030"/>
                    </a:moveTo>
                    <a:lnTo>
                      <a:pt x="0" y="0"/>
                    </a:lnTo>
                    <a:lnTo>
                      <a:pt x="941374" y="0"/>
                    </a:lnTo>
                    <a:cubicBezTo>
                      <a:pt x="1166906" y="0"/>
                      <a:pt x="1406769" y="0"/>
                      <a:pt x="1626576" y="52753"/>
                    </a:cubicBezTo>
                    <a:cubicBezTo>
                      <a:pt x="1626576" y="52753"/>
                      <a:pt x="1688123" y="131884"/>
                      <a:pt x="1688123" y="422030"/>
                    </a:cubicBezTo>
                    <a:lnTo>
                      <a:pt x="0" y="422030"/>
                    </a:lnTo>
                    <a:close/>
                  </a:path>
                </a:pathLst>
              </a:custGeom>
              <a:solidFill>
                <a:srgbClr val="8AC6FF"/>
              </a:solidFill>
              <a:ln>
                <a:noFill/>
              </a:ln>
            </p:spPr>
            <p:txBody>
              <a:bodyPr rtlCol="0" anchor="ctr"/>
              <a:lstStyle/>
              <a:p>
                <a:pPr algn="ctr"/>
                <a:endParaRPr sz="2800"/>
              </a:p>
            </p:txBody>
          </p:sp>
          <p:sp>
            <p:nvSpPr>
              <p:cNvPr id="32" name="Rounded Rectangle 11">
                <a:extLst>
                  <a:ext uri="{FF2B5EF4-FFF2-40B4-BE49-F238E27FC236}">
                    <a16:creationId xmlns:a16="http://schemas.microsoft.com/office/drawing/2014/main" id="{01B3B33C-C6B6-BA8C-E1FE-BAB3E26FA581}"/>
                  </a:ext>
                </a:extLst>
              </p:cNvPr>
              <p:cNvSpPr/>
              <p:nvPr/>
            </p:nvSpPr>
            <p:spPr>
              <a:xfrm>
                <a:off x="6119446" y="1266092"/>
                <a:ext cx="1688123" cy="1899138"/>
              </a:xfrm>
              <a:custGeom>
                <a:avLst/>
                <a:gdLst/>
                <a:ahLst/>
                <a:cxnLst/>
                <a:rect l="0" t="0" r="0" b="0"/>
                <a:pathLst>
                  <a:path w="1688123" h="1899138">
                    <a:moveTo>
                      <a:pt x="0" y="1477107"/>
                    </a:moveTo>
                    <a:lnTo>
                      <a:pt x="0" y="1899138"/>
                    </a:lnTo>
                    <a:lnTo>
                      <a:pt x="1688123" y="1899138"/>
                    </a:lnTo>
                    <a:lnTo>
                      <a:pt x="1688123" y="1477108"/>
                    </a:lnTo>
                    <a:moveTo>
                      <a:pt x="1688123" y="1477107"/>
                    </a:moveTo>
                    <a:lnTo>
                      <a:pt x="1688123" y="422030"/>
                    </a:lnTo>
                    <a:moveTo>
                      <a:pt x="0" y="1477107"/>
                    </a:moveTo>
                    <a:lnTo>
                      <a:pt x="0" y="422030"/>
                    </a:lnTo>
                    <a:moveTo>
                      <a:pt x="0" y="422030"/>
                    </a:moveTo>
                    <a:lnTo>
                      <a:pt x="0" y="0"/>
                    </a:lnTo>
                    <a:lnTo>
                      <a:pt x="941377" y="0"/>
                    </a:lnTo>
                    <a:cubicBezTo>
                      <a:pt x="1166907" y="0"/>
                      <a:pt x="1406769" y="0"/>
                      <a:pt x="1626576" y="52753"/>
                    </a:cubicBezTo>
                    <a:cubicBezTo>
                      <a:pt x="1626576" y="52753"/>
                      <a:pt x="1688123" y="131884"/>
                      <a:pt x="1688123" y="422030"/>
                    </a:cubicBezTo>
                  </a:path>
                </a:pathLst>
              </a:custGeom>
              <a:noFill/>
              <a:ln w="6594">
                <a:solidFill>
                  <a:srgbClr val="FFFFFF"/>
                </a:solidFill>
              </a:ln>
            </p:spPr>
            <p:txBody>
              <a:bodyPr rtlCol="0" anchor="ctr"/>
              <a:lstStyle/>
              <a:p>
                <a:pPr algn="ctr"/>
                <a:endParaRPr sz="2800"/>
              </a:p>
            </p:txBody>
          </p:sp>
        </p:grpSp>
        <p:sp>
          <p:nvSpPr>
            <p:cNvPr id="33" name="TextBox 32">
              <a:extLst>
                <a:ext uri="{FF2B5EF4-FFF2-40B4-BE49-F238E27FC236}">
                  <a16:creationId xmlns:a16="http://schemas.microsoft.com/office/drawing/2014/main" id="{458E3345-5232-91C2-6A3F-C6825825E67C}"/>
                </a:ext>
              </a:extLst>
            </p:cNvPr>
            <p:cNvSpPr txBox="1"/>
            <p:nvPr/>
          </p:nvSpPr>
          <p:spPr>
            <a:xfrm>
              <a:off x="2496234" y="3914105"/>
              <a:ext cx="1291172" cy="224914"/>
            </a:xfrm>
            <a:prstGeom prst="rect">
              <a:avLst/>
            </a:prstGeom>
            <a:noFill/>
            <a:ln>
              <a:noFill/>
            </a:ln>
          </p:spPr>
          <p:txBody>
            <a:bodyPr wrap="none" lIns="0" tIns="0" rIns="0" bIns="0" anchor="t">
              <a:spAutoFit/>
            </a:bodyPr>
            <a:lstStyle/>
            <a:p>
              <a:pPr algn="ctr"/>
              <a:r>
                <a:rPr b="1">
                  <a:solidFill>
                    <a:srgbClr val="FFFFFF"/>
                  </a:solidFill>
                  <a:latin typeface="Arial"/>
                </a:rPr>
                <a:t>Diverse Inputs</a:t>
              </a:r>
            </a:p>
          </p:txBody>
        </p:sp>
        <p:sp>
          <p:nvSpPr>
            <p:cNvPr id="34" name="TextBox 33">
              <a:extLst>
                <a:ext uri="{FF2B5EF4-FFF2-40B4-BE49-F238E27FC236}">
                  <a16:creationId xmlns:a16="http://schemas.microsoft.com/office/drawing/2014/main" id="{BD362751-1A5C-001A-0406-E7748CFF4F0C}"/>
                </a:ext>
              </a:extLst>
            </p:cNvPr>
            <p:cNvSpPr txBox="1"/>
            <p:nvPr/>
          </p:nvSpPr>
          <p:spPr>
            <a:xfrm>
              <a:off x="4504641" y="4019613"/>
              <a:ext cx="1072505" cy="224914"/>
            </a:xfrm>
            <a:prstGeom prst="rect">
              <a:avLst/>
            </a:prstGeom>
            <a:noFill/>
            <a:ln>
              <a:noFill/>
            </a:ln>
          </p:spPr>
          <p:txBody>
            <a:bodyPr wrap="none" lIns="0" tIns="0" rIns="0" bIns="0" anchor="t">
              <a:spAutoFit/>
            </a:bodyPr>
            <a:lstStyle/>
            <a:p>
              <a:pPr algn="ctr"/>
              <a:r>
                <a:rPr b="1">
                  <a:solidFill>
                    <a:srgbClr val="FFFFFF"/>
                  </a:solidFill>
                  <a:latin typeface="Arial"/>
                </a:rPr>
                <a:t>Adaptability</a:t>
              </a:r>
            </a:p>
          </p:txBody>
        </p:sp>
        <p:sp>
          <p:nvSpPr>
            <p:cNvPr id="35" name="TextBox 34">
              <a:extLst>
                <a:ext uri="{FF2B5EF4-FFF2-40B4-BE49-F238E27FC236}">
                  <a16:creationId xmlns:a16="http://schemas.microsoft.com/office/drawing/2014/main" id="{261620FE-F05D-4BFF-02BF-EB84CC2F3449}"/>
                </a:ext>
              </a:extLst>
            </p:cNvPr>
            <p:cNvSpPr txBox="1"/>
            <p:nvPr/>
          </p:nvSpPr>
          <p:spPr>
            <a:xfrm>
              <a:off x="6476657" y="3914105"/>
              <a:ext cx="926728" cy="224914"/>
            </a:xfrm>
            <a:prstGeom prst="rect">
              <a:avLst/>
            </a:prstGeom>
            <a:noFill/>
            <a:ln>
              <a:noFill/>
            </a:ln>
          </p:spPr>
          <p:txBody>
            <a:bodyPr wrap="none" lIns="0" tIns="0" rIns="0" bIns="0" anchor="t">
              <a:spAutoFit/>
            </a:bodyPr>
            <a:lstStyle/>
            <a:p>
              <a:pPr algn="ctr"/>
              <a:r>
                <a:rPr b="1">
                  <a:solidFill>
                    <a:srgbClr val="FFFFFF"/>
                  </a:solidFill>
                  <a:latin typeface="Arial"/>
                </a:rPr>
                <a:t>Autonomy</a:t>
              </a:r>
            </a:p>
          </p:txBody>
        </p:sp>
        <p:sp>
          <p:nvSpPr>
            <p:cNvPr id="36" name="TextBox 35">
              <a:extLst>
                <a:ext uri="{FF2B5EF4-FFF2-40B4-BE49-F238E27FC236}">
                  <a16:creationId xmlns:a16="http://schemas.microsoft.com/office/drawing/2014/main" id="{945BEEF2-B230-2C4F-35CE-46A956D4558D}"/>
                </a:ext>
              </a:extLst>
            </p:cNvPr>
            <p:cNvSpPr txBox="1"/>
            <p:nvPr/>
          </p:nvSpPr>
          <p:spPr>
            <a:xfrm>
              <a:off x="8433142" y="4019613"/>
              <a:ext cx="812188" cy="449827"/>
            </a:xfrm>
            <a:prstGeom prst="rect">
              <a:avLst/>
            </a:prstGeom>
            <a:noFill/>
            <a:ln>
              <a:noFill/>
            </a:ln>
          </p:spPr>
          <p:txBody>
            <a:bodyPr wrap="none" lIns="0" tIns="0" rIns="0" bIns="0" anchor="t">
              <a:spAutoFit/>
            </a:bodyPr>
            <a:lstStyle/>
            <a:p>
              <a:pPr algn="ctr"/>
              <a:r>
                <a:rPr b="1">
                  <a:solidFill>
                    <a:srgbClr val="FFFFFF"/>
                  </a:solidFill>
                  <a:latin typeface="Arial"/>
                </a:rPr>
                <a:t>Problem-
Solving</a:t>
              </a:r>
            </a:p>
          </p:txBody>
        </p:sp>
        <p:sp>
          <p:nvSpPr>
            <p:cNvPr id="37" name="TextBox 36">
              <a:extLst>
                <a:ext uri="{FF2B5EF4-FFF2-40B4-BE49-F238E27FC236}">
                  <a16:creationId xmlns:a16="http://schemas.microsoft.com/office/drawing/2014/main" id="{4F014012-676A-020C-E59D-8FCACF8DD637}"/>
                </a:ext>
              </a:extLst>
            </p:cNvPr>
            <p:cNvSpPr txBox="1"/>
            <p:nvPr/>
          </p:nvSpPr>
          <p:spPr>
            <a:xfrm>
              <a:off x="2619810" y="4226232"/>
              <a:ext cx="1043871" cy="549789"/>
            </a:xfrm>
            <a:prstGeom prst="rect">
              <a:avLst/>
            </a:prstGeom>
            <a:noFill/>
            <a:ln>
              <a:noFill/>
            </a:ln>
          </p:spPr>
          <p:txBody>
            <a:bodyPr wrap="none" lIns="0" tIns="0" rIns="0" bIns="0" anchor="t">
              <a:spAutoFit/>
            </a:bodyPr>
            <a:lstStyle/>
            <a:p>
              <a:pPr algn="ctr"/>
              <a:r>
                <a:rPr sz="1100" b="0">
                  <a:solidFill>
                    <a:srgbClr val="FFFFFF"/>
                  </a:solidFill>
                  <a:latin typeface="Arial"/>
                </a:rPr>
                <a:t>Processes various
data types, including
text, tables, speech,
images, and videos.</a:t>
              </a:r>
            </a:p>
          </p:txBody>
        </p:sp>
        <p:sp>
          <p:nvSpPr>
            <p:cNvPr id="38" name="TextBox 37">
              <a:extLst>
                <a:ext uri="{FF2B5EF4-FFF2-40B4-BE49-F238E27FC236}">
                  <a16:creationId xmlns:a16="http://schemas.microsoft.com/office/drawing/2014/main" id="{2D558E97-CAEB-A733-2492-C67E0E1EA19B}"/>
                </a:ext>
              </a:extLst>
            </p:cNvPr>
            <p:cNvSpPr txBox="1"/>
            <p:nvPr/>
          </p:nvSpPr>
          <p:spPr>
            <a:xfrm>
              <a:off x="4516358" y="4358116"/>
              <a:ext cx="1049077" cy="687236"/>
            </a:xfrm>
            <a:prstGeom prst="rect">
              <a:avLst/>
            </a:prstGeom>
            <a:noFill/>
            <a:ln>
              <a:noFill/>
            </a:ln>
          </p:spPr>
          <p:txBody>
            <a:bodyPr wrap="none" lIns="0" tIns="0" rIns="0" bIns="0" anchor="t">
              <a:spAutoFit/>
            </a:bodyPr>
            <a:lstStyle/>
            <a:p>
              <a:pPr algn="ctr"/>
              <a:r>
                <a:rPr sz="1100" b="0">
                  <a:solidFill>
                    <a:srgbClr val="FFFFFF"/>
                  </a:solidFill>
                  <a:latin typeface="Arial"/>
                </a:rPr>
                <a:t>Uses machine
learning to improve
performance,
recognize patterns,
and suggest actions.</a:t>
              </a:r>
            </a:p>
          </p:txBody>
        </p:sp>
        <p:sp>
          <p:nvSpPr>
            <p:cNvPr id="39" name="TextBox 38">
              <a:extLst>
                <a:ext uri="{FF2B5EF4-FFF2-40B4-BE49-F238E27FC236}">
                  <a16:creationId xmlns:a16="http://schemas.microsoft.com/office/drawing/2014/main" id="{6FA50344-6890-F76B-B12C-251044495422}"/>
                </a:ext>
              </a:extLst>
            </p:cNvPr>
            <p:cNvSpPr txBox="1"/>
            <p:nvPr/>
          </p:nvSpPr>
          <p:spPr>
            <a:xfrm>
              <a:off x="6466945" y="4226232"/>
              <a:ext cx="946252" cy="824684"/>
            </a:xfrm>
            <a:prstGeom prst="rect">
              <a:avLst/>
            </a:prstGeom>
            <a:noFill/>
            <a:ln>
              <a:noFill/>
            </a:ln>
          </p:spPr>
          <p:txBody>
            <a:bodyPr wrap="none" lIns="0" tIns="0" rIns="0" bIns="0" anchor="t">
              <a:spAutoFit/>
            </a:bodyPr>
            <a:lstStyle/>
            <a:p>
              <a:pPr algn="ctr"/>
              <a:r>
                <a:rPr sz="1100" b="0">
                  <a:solidFill>
                    <a:srgbClr val="FFFFFF"/>
                  </a:solidFill>
                  <a:latin typeface="Arial"/>
                </a:rPr>
                <a:t>Independently
interprets queries,
retrieves data, and
decides on tool
usage and result
interpretation.</a:t>
              </a:r>
            </a:p>
          </p:txBody>
        </p:sp>
        <p:sp>
          <p:nvSpPr>
            <p:cNvPr id="40" name="TextBox 39">
              <a:extLst>
                <a:ext uri="{FF2B5EF4-FFF2-40B4-BE49-F238E27FC236}">
                  <a16:creationId xmlns:a16="http://schemas.microsoft.com/office/drawing/2014/main" id="{279FA169-1993-14DF-CB2D-3ECF20035EF2}"/>
                </a:ext>
              </a:extLst>
            </p:cNvPr>
            <p:cNvSpPr txBox="1"/>
            <p:nvPr/>
          </p:nvSpPr>
          <p:spPr>
            <a:xfrm>
              <a:off x="8349796" y="4542755"/>
              <a:ext cx="978791" cy="824684"/>
            </a:xfrm>
            <a:prstGeom prst="rect">
              <a:avLst/>
            </a:prstGeom>
            <a:noFill/>
            <a:ln>
              <a:noFill/>
            </a:ln>
          </p:spPr>
          <p:txBody>
            <a:bodyPr wrap="none" lIns="0" tIns="0" rIns="0" bIns="0" anchor="t">
              <a:spAutoFit/>
            </a:bodyPr>
            <a:lstStyle/>
            <a:p>
              <a:pPr algn="ctr"/>
              <a:r>
                <a:rPr sz="1100" b="0">
                  <a:solidFill>
                    <a:srgbClr val="FFFFFF"/>
                  </a:solidFill>
                  <a:latin typeface="Arial"/>
                </a:rPr>
                <a:t>Executes complex
tasks by interacting
with external
resources through
tool or function
calling.</a:t>
              </a:r>
            </a:p>
          </p:txBody>
        </p:sp>
      </p:grpSp>
    </p:spTree>
    <p:extLst>
      <p:ext uri="{BB962C8B-B14F-4D97-AF65-F5344CB8AC3E}">
        <p14:creationId xmlns:p14="http://schemas.microsoft.com/office/powerpoint/2010/main" val="179721150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721D98-24A7-BDE3-CE72-265416DC3B5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9B5FD08-595D-E5A8-8DFD-AD57F595C6E4}"/>
              </a:ext>
            </a:extLst>
          </p:cNvPr>
          <p:cNvSpPr>
            <a:spLocks noGrp="1"/>
          </p:cNvSpPr>
          <p:nvPr>
            <p:ph type="title"/>
          </p:nvPr>
        </p:nvSpPr>
        <p:spPr/>
        <p:txBody>
          <a:bodyPr/>
          <a:lstStyle/>
          <a:p>
            <a:r>
              <a:rPr lang="en-US"/>
              <a:t>Building a System of Agents</a:t>
            </a:r>
          </a:p>
        </p:txBody>
      </p:sp>
      <p:pic>
        <p:nvPicPr>
          <p:cNvPr id="6" name="Graphic 5" descr="User with solid fill">
            <a:extLst>
              <a:ext uri="{FF2B5EF4-FFF2-40B4-BE49-F238E27FC236}">
                <a16:creationId xmlns:a16="http://schemas.microsoft.com/office/drawing/2014/main" id="{5199FA15-F314-DABD-EB70-0D850FCFCA4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010419" y="767678"/>
            <a:ext cx="1161047" cy="1060078"/>
          </a:xfrm>
          <a:prstGeom prst="rect">
            <a:avLst/>
          </a:prstGeom>
        </p:spPr>
      </p:pic>
      <p:cxnSp>
        <p:nvCxnSpPr>
          <p:cNvPr id="16" name="Straight Arrow Connector 15">
            <a:extLst>
              <a:ext uri="{FF2B5EF4-FFF2-40B4-BE49-F238E27FC236}">
                <a16:creationId xmlns:a16="http://schemas.microsoft.com/office/drawing/2014/main" id="{CBBD7E29-09E4-F2D1-9248-437316ACA8EB}"/>
              </a:ext>
            </a:extLst>
          </p:cNvPr>
          <p:cNvCxnSpPr>
            <a:cxnSpLocks/>
          </p:cNvCxnSpPr>
          <p:nvPr/>
        </p:nvCxnSpPr>
        <p:spPr>
          <a:xfrm>
            <a:off x="6503265" y="1759763"/>
            <a:ext cx="0" cy="376608"/>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3C4B5CEF-3884-B863-5055-04467618E2E5}"/>
              </a:ext>
            </a:extLst>
          </p:cNvPr>
          <p:cNvCxnSpPr>
            <a:cxnSpLocks/>
          </p:cNvCxnSpPr>
          <p:nvPr/>
        </p:nvCxnSpPr>
        <p:spPr>
          <a:xfrm>
            <a:off x="6712201" y="1786202"/>
            <a:ext cx="0" cy="350169"/>
          </a:xfrm>
          <a:prstGeom prst="straightConnector1">
            <a:avLst/>
          </a:prstGeom>
          <a:ln w="28575">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DD0FD1BA-F314-56CC-CF62-BF7AB6B01B40}"/>
              </a:ext>
            </a:extLst>
          </p:cNvPr>
          <p:cNvSpPr txBox="1"/>
          <p:nvPr/>
        </p:nvSpPr>
        <p:spPr>
          <a:xfrm>
            <a:off x="7422434" y="1376510"/>
            <a:ext cx="1114343" cy="537170"/>
          </a:xfrm>
          <a:prstGeom prst="rect">
            <a:avLst/>
          </a:prstGeom>
          <a:noFill/>
        </p:spPr>
        <p:txBody>
          <a:bodyPr wrap="square" lIns="0" tIns="0" rIns="0" bIns="0" rtlCol="0">
            <a:noAutofit/>
          </a:bodyPr>
          <a:lstStyle/>
          <a:p>
            <a:pPr algn="l" defTabSz="228600">
              <a:spcAft>
                <a:spcPts val="1200"/>
              </a:spcAft>
            </a:pPr>
            <a:r>
              <a:rPr lang="en-US" sz="1000"/>
              <a:t>Please create a report of last years sales</a:t>
            </a:r>
            <a:endParaRPr lang="en-US" sz="1000" noProof="0"/>
          </a:p>
        </p:txBody>
      </p:sp>
      <p:sp>
        <p:nvSpPr>
          <p:cNvPr id="19" name="TextBox 18">
            <a:extLst>
              <a:ext uri="{FF2B5EF4-FFF2-40B4-BE49-F238E27FC236}">
                <a16:creationId xmlns:a16="http://schemas.microsoft.com/office/drawing/2014/main" id="{2EA01326-20EE-D396-76DB-ABBC5F021809}"/>
              </a:ext>
            </a:extLst>
          </p:cNvPr>
          <p:cNvSpPr txBox="1"/>
          <p:nvPr/>
        </p:nvSpPr>
        <p:spPr>
          <a:xfrm>
            <a:off x="3372649" y="1756952"/>
            <a:ext cx="676843" cy="140945"/>
          </a:xfrm>
          <a:prstGeom prst="rect">
            <a:avLst/>
          </a:prstGeom>
          <a:noFill/>
        </p:spPr>
        <p:txBody>
          <a:bodyPr wrap="none" lIns="0" tIns="0" rIns="0" bIns="0" rtlCol="0">
            <a:noAutofit/>
          </a:bodyPr>
          <a:lstStyle/>
          <a:p>
            <a:pPr algn="l" defTabSz="228600">
              <a:spcAft>
                <a:spcPts val="1200"/>
              </a:spcAft>
            </a:pPr>
            <a:r>
              <a:rPr lang="en-US" sz="1050" noProof="0"/>
              <a:t>Answer</a:t>
            </a:r>
          </a:p>
        </p:txBody>
      </p:sp>
      <p:sp>
        <p:nvSpPr>
          <p:cNvPr id="62" name="Rounded Rectangle 61">
            <a:extLst>
              <a:ext uri="{FF2B5EF4-FFF2-40B4-BE49-F238E27FC236}">
                <a16:creationId xmlns:a16="http://schemas.microsoft.com/office/drawing/2014/main" id="{0AB46A40-EEF9-BE06-8045-F3ADF65239D4}"/>
              </a:ext>
            </a:extLst>
          </p:cNvPr>
          <p:cNvSpPr/>
          <p:nvPr/>
        </p:nvSpPr>
        <p:spPr>
          <a:xfrm>
            <a:off x="2547901" y="2184962"/>
            <a:ext cx="8523952" cy="1613640"/>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3" name="TextBox 62">
            <a:extLst>
              <a:ext uri="{FF2B5EF4-FFF2-40B4-BE49-F238E27FC236}">
                <a16:creationId xmlns:a16="http://schemas.microsoft.com/office/drawing/2014/main" id="{A1693CB7-DFE6-20D1-0B8D-3B9D0E438695}"/>
              </a:ext>
            </a:extLst>
          </p:cNvPr>
          <p:cNvSpPr txBox="1"/>
          <p:nvPr/>
        </p:nvSpPr>
        <p:spPr>
          <a:xfrm>
            <a:off x="2775734" y="2328143"/>
            <a:ext cx="4530437" cy="1169551"/>
          </a:xfrm>
          <a:prstGeom prst="rect">
            <a:avLst/>
          </a:prstGeom>
          <a:noFill/>
        </p:spPr>
        <p:txBody>
          <a:bodyPr wrap="square" rtlCol="0">
            <a:spAutoFit/>
          </a:bodyPr>
          <a:lstStyle/>
          <a:p>
            <a:r>
              <a:rPr lang="en-US" sz="1400"/>
              <a:t>Planning: Agent takes the goal and breaks it into tasks.</a:t>
            </a:r>
          </a:p>
          <a:p>
            <a:pPr marL="342900" indent="-342900">
              <a:buAutoNum type="arabicPeriod"/>
            </a:pPr>
            <a:r>
              <a:rPr lang="en-US" sz="1400"/>
              <a:t>Collect data</a:t>
            </a:r>
          </a:p>
          <a:p>
            <a:pPr marL="342900" indent="-342900">
              <a:buAutoNum type="arabicPeriod"/>
            </a:pPr>
            <a:r>
              <a:rPr lang="en-US" sz="1400"/>
              <a:t>Annotate Data</a:t>
            </a:r>
          </a:p>
          <a:p>
            <a:pPr marL="342900" indent="-342900">
              <a:buAutoNum type="arabicPeriod"/>
            </a:pPr>
            <a:r>
              <a:rPr lang="en-US" sz="1400"/>
              <a:t>Format data and create visual representations</a:t>
            </a:r>
          </a:p>
          <a:p>
            <a:pPr marL="342900" indent="-342900">
              <a:buAutoNum type="arabicPeriod"/>
            </a:pPr>
            <a:r>
              <a:rPr lang="en-US" sz="1400"/>
              <a:t>Present the report.</a:t>
            </a:r>
          </a:p>
        </p:txBody>
      </p:sp>
      <p:sp>
        <p:nvSpPr>
          <p:cNvPr id="68" name="Rounded Rectangle 67">
            <a:extLst>
              <a:ext uri="{FF2B5EF4-FFF2-40B4-BE49-F238E27FC236}">
                <a16:creationId xmlns:a16="http://schemas.microsoft.com/office/drawing/2014/main" id="{D216A5DC-3CF1-9510-69E5-01615ADCE6EC}"/>
              </a:ext>
            </a:extLst>
          </p:cNvPr>
          <p:cNvSpPr/>
          <p:nvPr/>
        </p:nvSpPr>
        <p:spPr>
          <a:xfrm>
            <a:off x="2547902" y="3865418"/>
            <a:ext cx="8458150" cy="349135"/>
          </a:xfrm>
          <a:prstGeom prst="roundRect">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t>Natural Language Semantic Layer</a:t>
            </a:r>
          </a:p>
        </p:txBody>
      </p:sp>
      <p:pic>
        <p:nvPicPr>
          <p:cNvPr id="70" name="Graphic 69" descr="Database with solid fill">
            <a:extLst>
              <a:ext uri="{FF2B5EF4-FFF2-40B4-BE49-F238E27FC236}">
                <a16:creationId xmlns:a16="http://schemas.microsoft.com/office/drawing/2014/main" id="{55B01583-9061-1019-54C6-CD3E4FC721B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796670" y="4642192"/>
            <a:ext cx="914400" cy="914400"/>
          </a:xfrm>
          <a:prstGeom prst="rect">
            <a:avLst/>
          </a:prstGeom>
        </p:spPr>
      </p:pic>
      <p:sp>
        <p:nvSpPr>
          <p:cNvPr id="71" name="TextBox 70">
            <a:extLst>
              <a:ext uri="{FF2B5EF4-FFF2-40B4-BE49-F238E27FC236}">
                <a16:creationId xmlns:a16="http://schemas.microsoft.com/office/drawing/2014/main" id="{DB10882B-D638-B2D5-789D-39CFF93C980A}"/>
              </a:ext>
            </a:extLst>
          </p:cNvPr>
          <p:cNvSpPr txBox="1"/>
          <p:nvPr/>
        </p:nvSpPr>
        <p:spPr>
          <a:xfrm>
            <a:off x="243596" y="4633262"/>
            <a:ext cx="2019993" cy="923330"/>
          </a:xfrm>
          <a:prstGeom prst="rect">
            <a:avLst/>
          </a:prstGeom>
          <a:noFill/>
        </p:spPr>
        <p:txBody>
          <a:bodyPr wrap="square" rtlCol="0">
            <a:spAutoFit/>
          </a:bodyPr>
          <a:lstStyle/>
          <a:p>
            <a:r>
              <a:rPr lang="en-US"/>
              <a:t>Natural language query is converted to SQL</a:t>
            </a:r>
          </a:p>
        </p:txBody>
      </p:sp>
      <p:sp>
        <p:nvSpPr>
          <p:cNvPr id="72" name="TextBox 71">
            <a:extLst>
              <a:ext uri="{FF2B5EF4-FFF2-40B4-BE49-F238E27FC236}">
                <a16:creationId xmlns:a16="http://schemas.microsoft.com/office/drawing/2014/main" id="{A6DDDF7E-DCF1-46B7-8BD4-6808ECFDB894}"/>
              </a:ext>
            </a:extLst>
          </p:cNvPr>
          <p:cNvSpPr txBox="1"/>
          <p:nvPr/>
        </p:nvSpPr>
        <p:spPr>
          <a:xfrm>
            <a:off x="3836402" y="4771761"/>
            <a:ext cx="1708901" cy="646331"/>
          </a:xfrm>
          <a:prstGeom prst="rect">
            <a:avLst/>
          </a:prstGeom>
          <a:noFill/>
        </p:spPr>
        <p:txBody>
          <a:bodyPr wrap="square" rtlCol="0">
            <a:spAutoFit/>
          </a:bodyPr>
          <a:lstStyle/>
          <a:p>
            <a:r>
              <a:rPr lang="en-US"/>
              <a:t>Database returns entries</a:t>
            </a:r>
          </a:p>
        </p:txBody>
      </p:sp>
      <p:cxnSp>
        <p:nvCxnSpPr>
          <p:cNvPr id="73" name="Straight Arrow Connector 72">
            <a:extLst>
              <a:ext uri="{FF2B5EF4-FFF2-40B4-BE49-F238E27FC236}">
                <a16:creationId xmlns:a16="http://schemas.microsoft.com/office/drawing/2014/main" id="{62345E31-DCED-117D-8508-749291603F4B}"/>
              </a:ext>
            </a:extLst>
          </p:cNvPr>
          <p:cNvCxnSpPr>
            <a:cxnSpLocks/>
          </p:cNvCxnSpPr>
          <p:nvPr/>
        </p:nvCxnSpPr>
        <p:spPr>
          <a:xfrm>
            <a:off x="2432800" y="2184962"/>
            <a:ext cx="0" cy="3484318"/>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4D3782D2-236E-F85E-EE2F-740894A6102C}"/>
              </a:ext>
            </a:extLst>
          </p:cNvPr>
          <p:cNvCxnSpPr>
            <a:cxnSpLocks/>
          </p:cNvCxnSpPr>
          <p:nvPr/>
        </p:nvCxnSpPr>
        <p:spPr>
          <a:xfrm flipV="1">
            <a:off x="11197185" y="2184962"/>
            <a:ext cx="0" cy="3484318"/>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3" name="TextBox 82">
            <a:extLst>
              <a:ext uri="{FF2B5EF4-FFF2-40B4-BE49-F238E27FC236}">
                <a16:creationId xmlns:a16="http://schemas.microsoft.com/office/drawing/2014/main" id="{CE2E78EB-5035-CF89-F091-4C86E5E49747}"/>
              </a:ext>
            </a:extLst>
          </p:cNvPr>
          <p:cNvSpPr txBox="1"/>
          <p:nvPr/>
        </p:nvSpPr>
        <p:spPr>
          <a:xfrm>
            <a:off x="229416" y="1159233"/>
            <a:ext cx="2140718" cy="1477328"/>
          </a:xfrm>
          <a:prstGeom prst="rect">
            <a:avLst/>
          </a:prstGeom>
          <a:noFill/>
        </p:spPr>
        <p:txBody>
          <a:bodyPr wrap="square" rtlCol="0">
            <a:spAutoFit/>
          </a:bodyPr>
          <a:lstStyle/>
          <a:p>
            <a:r>
              <a:rPr lang="en-US"/>
              <a:t>Semantic Layer does heavy lifting of Data2NL tasks such as result ranking.</a:t>
            </a:r>
          </a:p>
        </p:txBody>
      </p:sp>
      <p:cxnSp>
        <p:nvCxnSpPr>
          <p:cNvPr id="85" name="Curved Connector 84">
            <a:extLst>
              <a:ext uri="{FF2B5EF4-FFF2-40B4-BE49-F238E27FC236}">
                <a16:creationId xmlns:a16="http://schemas.microsoft.com/office/drawing/2014/main" id="{90D816AF-D9B1-3D5B-5CC9-68C30E03496E}"/>
              </a:ext>
            </a:extLst>
          </p:cNvPr>
          <p:cNvCxnSpPr>
            <a:stCxn id="83" idx="2"/>
            <a:endCxn id="68" idx="1"/>
          </p:cNvCxnSpPr>
          <p:nvPr/>
        </p:nvCxnSpPr>
        <p:spPr>
          <a:xfrm rot="16200000" flipH="1">
            <a:off x="1222126" y="2714209"/>
            <a:ext cx="1403425" cy="1248127"/>
          </a:xfrm>
          <a:prstGeom prst="curvedConnector2">
            <a:avLst/>
          </a:prstGeom>
          <a:ln w="19050"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89" name="Graphic 88" descr="Artificial Intelligence with solid fill">
            <a:extLst>
              <a:ext uri="{FF2B5EF4-FFF2-40B4-BE49-F238E27FC236}">
                <a16:creationId xmlns:a16="http://schemas.microsoft.com/office/drawing/2014/main" id="{47CD25E7-946A-83B2-1F43-D3D5C4B90BF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194523" y="4633262"/>
            <a:ext cx="914400" cy="914400"/>
          </a:xfrm>
          <a:prstGeom prst="rect">
            <a:avLst/>
          </a:prstGeom>
        </p:spPr>
      </p:pic>
      <p:sp>
        <p:nvSpPr>
          <p:cNvPr id="90" name="TextBox 89">
            <a:extLst>
              <a:ext uri="{FF2B5EF4-FFF2-40B4-BE49-F238E27FC236}">
                <a16:creationId xmlns:a16="http://schemas.microsoft.com/office/drawing/2014/main" id="{A7154836-0BAD-1F94-C332-A2B4F722CEDD}"/>
              </a:ext>
            </a:extLst>
          </p:cNvPr>
          <p:cNvSpPr txBox="1"/>
          <p:nvPr/>
        </p:nvSpPr>
        <p:spPr>
          <a:xfrm>
            <a:off x="7174305" y="4767296"/>
            <a:ext cx="1708901" cy="369332"/>
          </a:xfrm>
          <a:prstGeom prst="rect">
            <a:avLst/>
          </a:prstGeom>
          <a:noFill/>
        </p:spPr>
        <p:txBody>
          <a:bodyPr wrap="square" rtlCol="0">
            <a:spAutoFit/>
          </a:bodyPr>
          <a:lstStyle/>
          <a:p>
            <a:r>
              <a:rPr lang="en-US"/>
              <a:t>GPTs</a:t>
            </a:r>
          </a:p>
        </p:txBody>
      </p:sp>
      <p:pic>
        <p:nvPicPr>
          <p:cNvPr id="91" name="Graphic 90" descr="Artificial Intelligence with solid fill">
            <a:extLst>
              <a:ext uri="{FF2B5EF4-FFF2-40B4-BE49-F238E27FC236}">
                <a16:creationId xmlns:a16="http://schemas.microsoft.com/office/drawing/2014/main" id="{837FE8D2-381C-DE7C-44BA-C52C372F471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949950" y="5115703"/>
            <a:ext cx="553577" cy="553577"/>
          </a:xfrm>
          <a:prstGeom prst="rect">
            <a:avLst/>
          </a:prstGeom>
        </p:spPr>
      </p:pic>
      <p:pic>
        <p:nvPicPr>
          <p:cNvPr id="92" name="Graphic 91" descr="Artificial Intelligence with solid fill">
            <a:extLst>
              <a:ext uri="{FF2B5EF4-FFF2-40B4-BE49-F238E27FC236}">
                <a16:creationId xmlns:a16="http://schemas.microsoft.com/office/drawing/2014/main" id="{C293DBA1-702C-CBC3-C41B-0F22AFEC42F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949950" y="4574819"/>
            <a:ext cx="553577" cy="553577"/>
          </a:xfrm>
          <a:prstGeom prst="rect">
            <a:avLst/>
          </a:prstGeom>
        </p:spPr>
      </p:pic>
      <p:pic>
        <p:nvPicPr>
          <p:cNvPr id="94" name="Graphic 93" descr="Qr Code with solid fill">
            <a:extLst>
              <a:ext uri="{FF2B5EF4-FFF2-40B4-BE49-F238E27FC236}">
                <a16:creationId xmlns:a16="http://schemas.microsoft.com/office/drawing/2014/main" id="{3CFCDBF0-A797-1C6D-E7FE-29A29613519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628859" y="4804363"/>
            <a:ext cx="448421" cy="448421"/>
          </a:xfrm>
          <a:prstGeom prst="rect">
            <a:avLst/>
          </a:prstGeom>
        </p:spPr>
      </p:pic>
      <p:sp>
        <p:nvSpPr>
          <p:cNvPr id="95" name="TextBox 94">
            <a:extLst>
              <a:ext uri="{FF2B5EF4-FFF2-40B4-BE49-F238E27FC236}">
                <a16:creationId xmlns:a16="http://schemas.microsoft.com/office/drawing/2014/main" id="{DE885616-20B2-E01A-0DE2-CECDFA66F045}"/>
              </a:ext>
            </a:extLst>
          </p:cNvPr>
          <p:cNvSpPr txBox="1"/>
          <p:nvPr/>
        </p:nvSpPr>
        <p:spPr>
          <a:xfrm>
            <a:off x="10202612" y="4843907"/>
            <a:ext cx="1708901" cy="369332"/>
          </a:xfrm>
          <a:prstGeom prst="rect">
            <a:avLst/>
          </a:prstGeom>
          <a:noFill/>
        </p:spPr>
        <p:txBody>
          <a:bodyPr wrap="square" rtlCol="0">
            <a:spAutoFit/>
          </a:bodyPr>
          <a:lstStyle/>
          <a:p>
            <a:r>
              <a:rPr lang="en-US"/>
              <a:t>Agents</a:t>
            </a:r>
          </a:p>
        </p:txBody>
      </p:sp>
      <p:sp>
        <p:nvSpPr>
          <p:cNvPr id="96" name="TextBox 95">
            <a:extLst>
              <a:ext uri="{FF2B5EF4-FFF2-40B4-BE49-F238E27FC236}">
                <a16:creationId xmlns:a16="http://schemas.microsoft.com/office/drawing/2014/main" id="{BE658ECE-12D9-A094-D493-E768D02A77F2}"/>
              </a:ext>
            </a:extLst>
          </p:cNvPr>
          <p:cNvSpPr txBox="1"/>
          <p:nvPr/>
        </p:nvSpPr>
        <p:spPr>
          <a:xfrm>
            <a:off x="9047955" y="2228168"/>
            <a:ext cx="1814842" cy="307777"/>
          </a:xfrm>
          <a:prstGeom prst="rect">
            <a:avLst/>
          </a:prstGeom>
          <a:noFill/>
          <a:ln>
            <a:solidFill>
              <a:schemeClr val="tx1"/>
            </a:solidFill>
          </a:ln>
        </p:spPr>
        <p:txBody>
          <a:bodyPr wrap="square" rtlCol="0">
            <a:spAutoFit/>
          </a:bodyPr>
          <a:lstStyle/>
          <a:p>
            <a:r>
              <a:rPr lang="en-US" sz="1400" i="1" u="sng"/>
              <a:t>Agent interface layer</a:t>
            </a:r>
          </a:p>
        </p:txBody>
      </p:sp>
      <p:cxnSp>
        <p:nvCxnSpPr>
          <p:cNvPr id="100" name="Straight Arrow Connector 99">
            <a:extLst>
              <a:ext uri="{FF2B5EF4-FFF2-40B4-BE49-F238E27FC236}">
                <a16:creationId xmlns:a16="http://schemas.microsoft.com/office/drawing/2014/main" id="{601B24A7-AADB-148B-33E8-FF09CE34B92E}"/>
              </a:ext>
            </a:extLst>
          </p:cNvPr>
          <p:cNvCxnSpPr>
            <a:stCxn id="68" idx="2"/>
          </p:cNvCxnSpPr>
          <p:nvPr/>
        </p:nvCxnSpPr>
        <p:spPr>
          <a:xfrm flipH="1">
            <a:off x="4365744" y="4214553"/>
            <a:ext cx="2411233" cy="418709"/>
          </a:xfrm>
          <a:prstGeom prst="straightConnector1">
            <a:avLst/>
          </a:prstGeom>
          <a:ln>
            <a:headEnd type="triangle"/>
            <a:tailEnd type="triangle"/>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cxnSp>
        <p:nvCxnSpPr>
          <p:cNvPr id="102" name="Straight Arrow Connector 101">
            <a:extLst>
              <a:ext uri="{FF2B5EF4-FFF2-40B4-BE49-F238E27FC236}">
                <a16:creationId xmlns:a16="http://schemas.microsoft.com/office/drawing/2014/main" id="{99094BD9-B58D-F096-D577-BBCEF68FCCBF}"/>
              </a:ext>
            </a:extLst>
          </p:cNvPr>
          <p:cNvCxnSpPr>
            <a:stCxn id="68" idx="2"/>
          </p:cNvCxnSpPr>
          <p:nvPr/>
        </p:nvCxnSpPr>
        <p:spPr>
          <a:xfrm>
            <a:off x="6776977" y="4214553"/>
            <a:ext cx="0" cy="418709"/>
          </a:xfrm>
          <a:prstGeom prst="straightConnector1">
            <a:avLst/>
          </a:prstGeom>
          <a:ln>
            <a:headEnd type="triangle"/>
            <a:tailEnd type="triangle"/>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cxnSp>
        <p:nvCxnSpPr>
          <p:cNvPr id="104" name="Straight Arrow Connector 103">
            <a:extLst>
              <a:ext uri="{FF2B5EF4-FFF2-40B4-BE49-F238E27FC236}">
                <a16:creationId xmlns:a16="http://schemas.microsoft.com/office/drawing/2014/main" id="{3918CA90-A956-EAC8-B7EF-49DE1F65C4A0}"/>
              </a:ext>
            </a:extLst>
          </p:cNvPr>
          <p:cNvCxnSpPr>
            <a:cxnSpLocks/>
            <a:stCxn id="92" idx="0"/>
          </p:cNvCxnSpPr>
          <p:nvPr/>
        </p:nvCxnSpPr>
        <p:spPr>
          <a:xfrm flipH="1" flipV="1">
            <a:off x="6776976" y="4214554"/>
            <a:ext cx="2449763" cy="360265"/>
          </a:xfrm>
          <a:prstGeom prst="straightConnector1">
            <a:avLst/>
          </a:prstGeom>
          <a:ln>
            <a:headEnd type="triangle"/>
            <a:tailEnd type="triangle"/>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83197317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007BB2-61F0-002B-593F-3F0CCAD8AA3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09ED08C-C9F9-8A95-C9EB-7A355E3960E1}"/>
              </a:ext>
            </a:extLst>
          </p:cNvPr>
          <p:cNvSpPr>
            <a:spLocks noGrp="1"/>
          </p:cNvSpPr>
          <p:nvPr>
            <p:ph type="title"/>
          </p:nvPr>
        </p:nvSpPr>
        <p:spPr/>
        <p:txBody>
          <a:bodyPr/>
          <a:lstStyle/>
          <a:p>
            <a:r>
              <a:rPr lang="en-US" sz="3200"/>
              <a:t>Multi-Agent Systems</a:t>
            </a:r>
          </a:p>
        </p:txBody>
      </p:sp>
      <p:sp>
        <p:nvSpPr>
          <p:cNvPr id="3" name="Content Placeholder 2">
            <a:extLst>
              <a:ext uri="{FF2B5EF4-FFF2-40B4-BE49-F238E27FC236}">
                <a16:creationId xmlns:a16="http://schemas.microsoft.com/office/drawing/2014/main" id="{0DD0FB5A-7B8D-8145-E621-E62887828D4A}"/>
              </a:ext>
            </a:extLst>
          </p:cNvPr>
          <p:cNvSpPr>
            <a:spLocks noGrp="1"/>
          </p:cNvSpPr>
          <p:nvPr>
            <p:ph sz="quarter" idx="10"/>
          </p:nvPr>
        </p:nvSpPr>
        <p:spPr>
          <a:xfrm>
            <a:off x="8723074" y="778810"/>
            <a:ext cx="2942867" cy="901263"/>
          </a:xfrm>
        </p:spPr>
        <p:txBody>
          <a:bodyPr/>
          <a:lstStyle/>
          <a:p>
            <a:pPr marL="0" indent="0">
              <a:buNone/>
            </a:pPr>
            <a:r>
              <a:rPr lang="en-US" sz="1400" b="1"/>
              <a:t>AI Agent: </a:t>
            </a:r>
            <a:r>
              <a:rPr lang="en-US" sz="1400"/>
              <a:t>A software component that has agency to act on behalf of a user or system to perform a task..</a:t>
            </a:r>
            <a:endParaRPr lang="en-US" sz="1400" b="1"/>
          </a:p>
        </p:txBody>
      </p:sp>
      <p:grpSp>
        <p:nvGrpSpPr>
          <p:cNvPr id="121" name="Group 120">
            <a:extLst>
              <a:ext uri="{FF2B5EF4-FFF2-40B4-BE49-F238E27FC236}">
                <a16:creationId xmlns:a16="http://schemas.microsoft.com/office/drawing/2014/main" id="{713382F6-5E8B-7031-93A9-727981A8FA3E}"/>
              </a:ext>
            </a:extLst>
          </p:cNvPr>
          <p:cNvGrpSpPr/>
          <p:nvPr/>
        </p:nvGrpSpPr>
        <p:grpSpPr>
          <a:xfrm>
            <a:off x="1260738" y="1034374"/>
            <a:ext cx="10550262" cy="5264826"/>
            <a:chOff x="1910366" y="1389398"/>
            <a:chExt cx="8309020" cy="4541322"/>
          </a:xfrm>
        </p:grpSpPr>
        <p:sp>
          <p:nvSpPr>
            <p:cNvPr id="6" name="Oval 5">
              <a:extLst>
                <a:ext uri="{FF2B5EF4-FFF2-40B4-BE49-F238E27FC236}">
                  <a16:creationId xmlns:a16="http://schemas.microsoft.com/office/drawing/2014/main" id="{DDB82428-1F3F-3426-6AEA-8B4403842CF1}"/>
                </a:ext>
              </a:extLst>
            </p:cNvPr>
            <p:cNvSpPr/>
            <p:nvPr/>
          </p:nvSpPr>
          <p:spPr>
            <a:xfrm>
              <a:off x="2079938" y="1918951"/>
              <a:ext cx="8139448" cy="4011769"/>
            </a:xfrm>
            <a:prstGeom prst="ellipse">
              <a:avLst/>
            </a:prstGeom>
            <a:noFill/>
            <a:ln>
              <a:solidFill>
                <a:schemeClr val="tx1"/>
              </a:solidFill>
              <a:prstDash val="dash"/>
              <a:extLst>
                <a:ext uri="{C807C97D-BFC1-408E-A445-0C87EB9F89A2}">
                  <ask:lineSketchStyleProps xmlns:ask="http://schemas.microsoft.com/office/drawing/2018/sketchyshapes" sd="1219033472">
                    <a:custGeom>
                      <a:avLst/>
                      <a:gdLst>
                        <a:gd name="connsiteX0" fmla="*/ 0 w 8139448"/>
                        <a:gd name="connsiteY0" fmla="*/ 2228045 h 4456090"/>
                        <a:gd name="connsiteX1" fmla="*/ 4069724 w 8139448"/>
                        <a:gd name="connsiteY1" fmla="*/ 0 h 4456090"/>
                        <a:gd name="connsiteX2" fmla="*/ 8139448 w 8139448"/>
                        <a:gd name="connsiteY2" fmla="*/ 2228045 h 4456090"/>
                        <a:gd name="connsiteX3" fmla="*/ 4069724 w 8139448"/>
                        <a:gd name="connsiteY3" fmla="*/ 4456090 h 4456090"/>
                        <a:gd name="connsiteX4" fmla="*/ 0 w 8139448"/>
                        <a:gd name="connsiteY4" fmla="*/ 2228045 h 4456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39448" h="4456090" extrusionOk="0">
                          <a:moveTo>
                            <a:pt x="0" y="2228045"/>
                          </a:moveTo>
                          <a:cubicBezTo>
                            <a:pt x="-111860" y="928532"/>
                            <a:pt x="1485351" y="126379"/>
                            <a:pt x="4069724" y="0"/>
                          </a:cubicBezTo>
                          <a:cubicBezTo>
                            <a:pt x="6343377" y="5475"/>
                            <a:pt x="8050431" y="1000360"/>
                            <a:pt x="8139448" y="2228045"/>
                          </a:cubicBezTo>
                          <a:cubicBezTo>
                            <a:pt x="7858304" y="3733112"/>
                            <a:pt x="6293176" y="4589822"/>
                            <a:pt x="4069724" y="4456090"/>
                          </a:cubicBezTo>
                          <a:cubicBezTo>
                            <a:pt x="1808366" y="4448589"/>
                            <a:pt x="203733" y="3555905"/>
                            <a:pt x="0" y="2228045"/>
                          </a:cubicBezTo>
                          <a:close/>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pic>
          <p:nvPicPr>
            <p:cNvPr id="8" name="Graphic 7" descr="User with solid fill">
              <a:extLst>
                <a:ext uri="{FF2B5EF4-FFF2-40B4-BE49-F238E27FC236}">
                  <a16:creationId xmlns:a16="http://schemas.microsoft.com/office/drawing/2014/main" id="{D276AE3A-08A7-3B46-D3FA-347D5CF8832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910366" y="1389398"/>
              <a:ext cx="914400" cy="914400"/>
            </a:xfrm>
            <a:prstGeom prst="rect">
              <a:avLst/>
            </a:prstGeom>
          </p:spPr>
        </p:pic>
        <p:sp>
          <p:nvSpPr>
            <p:cNvPr id="22" name="Rectangle 21">
              <a:extLst>
                <a:ext uri="{FF2B5EF4-FFF2-40B4-BE49-F238E27FC236}">
                  <a16:creationId xmlns:a16="http://schemas.microsoft.com/office/drawing/2014/main" id="{12B02D24-4D03-E19B-F5D1-D730AF096353}"/>
                </a:ext>
              </a:extLst>
            </p:cNvPr>
            <p:cNvSpPr/>
            <p:nvPr/>
          </p:nvSpPr>
          <p:spPr>
            <a:xfrm>
              <a:off x="3498656" y="2452519"/>
              <a:ext cx="1490785" cy="856543"/>
            </a:xfrm>
            <a:prstGeom prst="rect">
              <a:avLst/>
            </a:prstGeom>
            <a:noFill/>
            <a:ln w="31750">
              <a:solidFill>
                <a:srgbClr val="FFFF00"/>
              </a:solidFill>
              <a:prstDash val="dash"/>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23" name="TextBox 22">
              <a:extLst>
                <a:ext uri="{FF2B5EF4-FFF2-40B4-BE49-F238E27FC236}">
                  <a16:creationId xmlns:a16="http://schemas.microsoft.com/office/drawing/2014/main" id="{F2BD46FE-E98C-90B3-1248-6EAA5BD5BEF9}"/>
                </a:ext>
              </a:extLst>
            </p:cNvPr>
            <p:cNvSpPr txBox="1"/>
            <p:nvPr/>
          </p:nvSpPr>
          <p:spPr>
            <a:xfrm>
              <a:off x="3580261" y="3350976"/>
              <a:ext cx="836492" cy="156047"/>
            </a:xfrm>
            <a:prstGeom prst="rect">
              <a:avLst/>
            </a:prstGeom>
            <a:noFill/>
          </p:spPr>
          <p:txBody>
            <a:bodyPr wrap="none" lIns="0" tIns="0" rIns="0" bIns="0" rtlCol="0">
              <a:noAutofit/>
            </a:bodyPr>
            <a:lstStyle/>
            <a:p>
              <a:pPr algn="l" defTabSz="228600">
                <a:spcAft>
                  <a:spcPts val="1200"/>
                </a:spcAft>
              </a:pPr>
              <a:r>
                <a:rPr lang="en-US" sz="1050"/>
                <a:t>Orchestrator (Controller)</a:t>
              </a:r>
              <a:endParaRPr lang="en-US" sz="1050" noProof="0"/>
            </a:p>
          </p:txBody>
        </p:sp>
        <p:sp>
          <p:nvSpPr>
            <p:cNvPr id="33" name="Rectangle 32">
              <a:extLst>
                <a:ext uri="{FF2B5EF4-FFF2-40B4-BE49-F238E27FC236}">
                  <a16:creationId xmlns:a16="http://schemas.microsoft.com/office/drawing/2014/main" id="{303EF340-85F1-153F-A00E-9E52CE9B81AE}"/>
                </a:ext>
              </a:extLst>
            </p:cNvPr>
            <p:cNvSpPr/>
            <p:nvPr/>
          </p:nvSpPr>
          <p:spPr>
            <a:xfrm>
              <a:off x="5570229" y="2330806"/>
              <a:ext cx="2126066" cy="959505"/>
            </a:xfrm>
            <a:prstGeom prst="rect">
              <a:avLst/>
            </a:prstGeom>
            <a:noFill/>
            <a:ln w="31750">
              <a:solidFill>
                <a:srgbClr val="7030A0"/>
              </a:solidFill>
              <a:prstDash val="dash"/>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34" name="TextBox 33">
              <a:extLst>
                <a:ext uri="{FF2B5EF4-FFF2-40B4-BE49-F238E27FC236}">
                  <a16:creationId xmlns:a16="http://schemas.microsoft.com/office/drawing/2014/main" id="{543EB3D9-A5FE-04CA-6747-C5635C9E4756}"/>
                </a:ext>
              </a:extLst>
            </p:cNvPr>
            <p:cNvSpPr txBox="1"/>
            <p:nvPr/>
          </p:nvSpPr>
          <p:spPr>
            <a:xfrm>
              <a:off x="5607853" y="3374282"/>
              <a:ext cx="3846878" cy="177254"/>
            </a:xfrm>
            <a:prstGeom prst="rect">
              <a:avLst/>
            </a:prstGeom>
            <a:noFill/>
          </p:spPr>
          <p:txBody>
            <a:bodyPr wrap="none" lIns="0" tIns="0" rIns="0" bIns="0" rtlCol="0">
              <a:noAutofit/>
            </a:bodyPr>
            <a:lstStyle/>
            <a:p>
              <a:pPr algn="l" defTabSz="228600">
                <a:spcAft>
                  <a:spcPts val="1200"/>
                </a:spcAft>
              </a:pPr>
              <a:r>
                <a:rPr lang="en-US" sz="1050"/>
                <a:t>Software Planner (Super Agent)</a:t>
              </a:r>
              <a:endParaRPr lang="en-US" sz="1050" noProof="0"/>
            </a:p>
          </p:txBody>
        </p:sp>
        <p:grpSp>
          <p:nvGrpSpPr>
            <p:cNvPr id="64" name="Group 63">
              <a:extLst>
                <a:ext uri="{FF2B5EF4-FFF2-40B4-BE49-F238E27FC236}">
                  <a16:creationId xmlns:a16="http://schemas.microsoft.com/office/drawing/2014/main" id="{DF72EF59-7BE9-CE98-E3EE-779645708BD8}"/>
                </a:ext>
              </a:extLst>
            </p:cNvPr>
            <p:cNvGrpSpPr/>
            <p:nvPr/>
          </p:nvGrpSpPr>
          <p:grpSpPr>
            <a:xfrm>
              <a:off x="7696295" y="4030618"/>
              <a:ext cx="1599175" cy="1173121"/>
              <a:chOff x="5478882" y="4060128"/>
              <a:chExt cx="1599175" cy="1173121"/>
            </a:xfrm>
          </p:grpSpPr>
          <p:sp>
            <p:nvSpPr>
              <p:cNvPr id="43" name="Rectangle 42">
                <a:extLst>
                  <a:ext uri="{FF2B5EF4-FFF2-40B4-BE49-F238E27FC236}">
                    <a16:creationId xmlns:a16="http://schemas.microsoft.com/office/drawing/2014/main" id="{9A5CC6A6-C6EE-2439-577F-B3F34B4653F3}"/>
                  </a:ext>
                </a:extLst>
              </p:cNvPr>
              <p:cNvSpPr/>
              <p:nvPr/>
            </p:nvSpPr>
            <p:spPr>
              <a:xfrm>
                <a:off x="5478882" y="4060128"/>
                <a:ext cx="1599175" cy="959505"/>
              </a:xfrm>
              <a:prstGeom prst="rect">
                <a:avLst/>
              </a:prstGeom>
              <a:noFill/>
              <a:ln w="31750">
                <a:solidFill>
                  <a:srgbClr val="92D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44" name="TextBox 43">
                <a:extLst>
                  <a:ext uri="{FF2B5EF4-FFF2-40B4-BE49-F238E27FC236}">
                    <a16:creationId xmlns:a16="http://schemas.microsoft.com/office/drawing/2014/main" id="{47EE51B6-B277-3543-ADC0-8FE1A435931C}"/>
                  </a:ext>
                </a:extLst>
              </p:cNvPr>
              <p:cNvSpPr txBox="1"/>
              <p:nvPr/>
            </p:nvSpPr>
            <p:spPr>
              <a:xfrm>
                <a:off x="5631124" y="5077202"/>
                <a:ext cx="836492" cy="156047"/>
              </a:xfrm>
              <a:prstGeom prst="rect">
                <a:avLst/>
              </a:prstGeom>
              <a:noFill/>
            </p:spPr>
            <p:txBody>
              <a:bodyPr wrap="none" lIns="0" tIns="0" rIns="0" bIns="0" rtlCol="0">
                <a:noAutofit/>
              </a:bodyPr>
              <a:lstStyle/>
              <a:p>
                <a:pPr algn="l" defTabSz="228600">
                  <a:spcAft>
                    <a:spcPts val="1200"/>
                  </a:spcAft>
                </a:pPr>
                <a:r>
                  <a:rPr lang="en-US" sz="1050"/>
                  <a:t>Tester ( Worker Agent)</a:t>
                </a:r>
                <a:endParaRPr lang="en-US" sz="1050" noProof="0"/>
              </a:p>
            </p:txBody>
          </p:sp>
        </p:grpSp>
        <p:grpSp>
          <p:nvGrpSpPr>
            <p:cNvPr id="65" name="Group 64">
              <a:extLst>
                <a:ext uri="{FF2B5EF4-FFF2-40B4-BE49-F238E27FC236}">
                  <a16:creationId xmlns:a16="http://schemas.microsoft.com/office/drawing/2014/main" id="{4C431485-1F11-7174-83BA-434A834AACDF}"/>
                </a:ext>
              </a:extLst>
            </p:cNvPr>
            <p:cNvGrpSpPr/>
            <p:nvPr/>
          </p:nvGrpSpPr>
          <p:grpSpPr>
            <a:xfrm>
              <a:off x="5424222" y="4413147"/>
              <a:ext cx="1599175" cy="1187439"/>
              <a:chOff x="3136172" y="4016300"/>
              <a:chExt cx="1599175" cy="1187439"/>
            </a:xfrm>
          </p:grpSpPr>
          <p:sp>
            <p:nvSpPr>
              <p:cNvPr id="53" name="Rectangle 52">
                <a:extLst>
                  <a:ext uri="{FF2B5EF4-FFF2-40B4-BE49-F238E27FC236}">
                    <a16:creationId xmlns:a16="http://schemas.microsoft.com/office/drawing/2014/main" id="{A6A9508F-8403-37A0-ACDC-A1E7B5048E92}"/>
                  </a:ext>
                </a:extLst>
              </p:cNvPr>
              <p:cNvSpPr/>
              <p:nvPr/>
            </p:nvSpPr>
            <p:spPr>
              <a:xfrm>
                <a:off x="3136172" y="4016300"/>
                <a:ext cx="1599175" cy="959505"/>
              </a:xfrm>
              <a:prstGeom prst="rect">
                <a:avLst/>
              </a:prstGeom>
              <a:noFill/>
              <a:ln w="31750">
                <a:solidFill>
                  <a:srgbClr val="92D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56" name="TextBox 55">
                <a:extLst>
                  <a:ext uri="{FF2B5EF4-FFF2-40B4-BE49-F238E27FC236}">
                    <a16:creationId xmlns:a16="http://schemas.microsoft.com/office/drawing/2014/main" id="{EF4F57B3-DC5A-7536-A6D5-BF437BC5B186}"/>
                  </a:ext>
                </a:extLst>
              </p:cNvPr>
              <p:cNvSpPr txBox="1"/>
              <p:nvPr/>
            </p:nvSpPr>
            <p:spPr>
              <a:xfrm>
                <a:off x="3252982" y="5047692"/>
                <a:ext cx="836492" cy="156047"/>
              </a:xfrm>
              <a:prstGeom prst="rect">
                <a:avLst/>
              </a:prstGeom>
              <a:noFill/>
            </p:spPr>
            <p:txBody>
              <a:bodyPr wrap="none" lIns="0" tIns="0" rIns="0" bIns="0" rtlCol="0">
                <a:noAutofit/>
              </a:bodyPr>
              <a:lstStyle/>
              <a:p>
                <a:pPr algn="l" defTabSz="228600">
                  <a:spcAft>
                    <a:spcPts val="1200"/>
                  </a:spcAft>
                </a:pPr>
                <a:r>
                  <a:rPr lang="en-US" sz="1050"/>
                  <a:t>Utility (Worker Agent)</a:t>
                </a:r>
                <a:endParaRPr lang="en-US" sz="1050" noProof="0"/>
              </a:p>
            </p:txBody>
          </p:sp>
          <p:pic>
            <p:nvPicPr>
              <p:cNvPr id="58" name="Graphic 57" descr="Programmer female with solid fill">
                <a:extLst>
                  <a:ext uri="{FF2B5EF4-FFF2-40B4-BE49-F238E27FC236}">
                    <a16:creationId xmlns:a16="http://schemas.microsoft.com/office/drawing/2014/main" id="{21C97A10-1F10-6572-66F4-762020E04C4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168224" y="4168762"/>
                <a:ext cx="601301" cy="601301"/>
              </a:xfrm>
              <a:prstGeom prst="rect">
                <a:avLst/>
              </a:prstGeom>
            </p:spPr>
          </p:pic>
        </p:grpSp>
        <p:pic>
          <p:nvPicPr>
            <p:cNvPr id="60" name="Graphic 59" descr="Call center with solid fill">
              <a:extLst>
                <a:ext uri="{FF2B5EF4-FFF2-40B4-BE49-F238E27FC236}">
                  <a16:creationId xmlns:a16="http://schemas.microsoft.com/office/drawing/2014/main" id="{BDB1F4EC-A3E1-6C34-AC96-7268A2E015F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532550" y="2574282"/>
              <a:ext cx="535224" cy="535224"/>
            </a:xfrm>
            <a:prstGeom prst="rect">
              <a:avLst/>
            </a:prstGeom>
          </p:spPr>
        </p:pic>
        <p:pic>
          <p:nvPicPr>
            <p:cNvPr id="62" name="Graphic 61" descr="Scientist male with solid fill">
              <a:extLst>
                <a:ext uri="{FF2B5EF4-FFF2-40B4-BE49-F238E27FC236}">
                  <a16:creationId xmlns:a16="http://schemas.microsoft.com/office/drawing/2014/main" id="{BEF81EB0-BF6E-D6A2-3862-16CD4B23690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806680" y="4222520"/>
              <a:ext cx="560395" cy="560395"/>
            </a:xfrm>
            <a:prstGeom prst="rect">
              <a:avLst/>
            </a:prstGeom>
          </p:spPr>
        </p:pic>
        <p:grpSp>
          <p:nvGrpSpPr>
            <p:cNvPr id="66" name="Group 65">
              <a:extLst>
                <a:ext uri="{FF2B5EF4-FFF2-40B4-BE49-F238E27FC236}">
                  <a16:creationId xmlns:a16="http://schemas.microsoft.com/office/drawing/2014/main" id="{7A359C4A-D103-7FB4-A911-4F24DB4F573F}"/>
                </a:ext>
              </a:extLst>
            </p:cNvPr>
            <p:cNvGrpSpPr/>
            <p:nvPr/>
          </p:nvGrpSpPr>
          <p:grpSpPr>
            <a:xfrm>
              <a:off x="2757907" y="3812157"/>
              <a:ext cx="2176129" cy="1201979"/>
              <a:chOff x="5989992" y="2792929"/>
              <a:chExt cx="2176129" cy="1201979"/>
            </a:xfrm>
          </p:grpSpPr>
          <p:sp>
            <p:nvSpPr>
              <p:cNvPr id="67" name="Rectangle 66">
                <a:extLst>
                  <a:ext uri="{FF2B5EF4-FFF2-40B4-BE49-F238E27FC236}">
                    <a16:creationId xmlns:a16="http://schemas.microsoft.com/office/drawing/2014/main" id="{EA149A5C-97E8-189C-4BE6-27CC21E81B8E}"/>
                  </a:ext>
                </a:extLst>
              </p:cNvPr>
              <p:cNvSpPr/>
              <p:nvPr/>
            </p:nvSpPr>
            <p:spPr>
              <a:xfrm>
                <a:off x="6217648" y="2792929"/>
                <a:ext cx="1599175" cy="959505"/>
              </a:xfrm>
              <a:prstGeom prst="rect">
                <a:avLst/>
              </a:prstGeom>
              <a:noFill/>
              <a:ln w="31750">
                <a:solidFill>
                  <a:srgbClr val="92D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68" name="TextBox 67">
                <a:extLst>
                  <a:ext uri="{FF2B5EF4-FFF2-40B4-BE49-F238E27FC236}">
                    <a16:creationId xmlns:a16="http://schemas.microsoft.com/office/drawing/2014/main" id="{75675AD5-D16B-02CC-7D6D-2F53DB0E751C}"/>
                  </a:ext>
                </a:extLst>
              </p:cNvPr>
              <p:cNvSpPr txBox="1"/>
              <p:nvPr/>
            </p:nvSpPr>
            <p:spPr>
              <a:xfrm>
                <a:off x="5989992" y="3817654"/>
                <a:ext cx="2176129" cy="177254"/>
              </a:xfrm>
              <a:prstGeom prst="rect">
                <a:avLst/>
              </a:prstGeom>
              <a:noFill/>
            </p:spPr>
            <p:txBody>
              <a:bodyPr wrap="none" lIns="0" tIns="0" rIns="0" bIns="0" rtlCol="0">
                <a:noAutofit/>
              </a:bodyPr>
              <a:lstStyle/>
              <a:p>
                <a:pPr algn="l" defTabSz="228600">
                  <a:spcAft>
                    <a:spcPts val="1200"/>
                  </a:spcAft>
                </a:pPr>
                <a:r>
                  <a:rPr lang="en-US" sz="1050"/>
                  <a:t>Secure Code (Worker Agent)</a:t>
                </a:r>
                <a:endParaRPr lang="en-US" sz="1050" noProof="0"/>
              </a:p>
            </p:txBody>
          </p:sp>
        </p:grpSp>
        <p:cxnSp>
          <p:nvCxnSpPr>
            <p:cNvPr id="70" name="Straight Arrow Connector 69">
              <a:extLst>
                <a:ext uri="{FF2B5EF4-FFF2-40B4-BE49-F238E27FC236}">
                  <a16:creationId xmlns:a16="http://schemas.microsoft.com/office/drawing/2014/main" id="{939E3139-2618-95BB-BAF5-A0333DE900A9}"/>
                </a:ext>
              </a:extLst>
            </p:cNvPr>
            <p:cNvCxnSpPr/>
            <p:nvPr/>
          </p:nvCxnSpPr>
          <p:spPr>
            <a:xfrm>
              <a:off x="2769755" y="1918951"/>
              <a:ext cx="689318" cy="46335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86E1C984-6703-67A1-1F3D-AE8E02956F36}"/>
                </a:ext>
              </a:extLst>
            </p:cNvPr>
            <p:cNvCxnSpPr/>
            <p:nvPr/>
          </p:nvCxnSpPr>
          <p:spPr>
            <a:xfrm>
              <a:off x="2939327" y="1820986"/>
              <a:ext cx="689318" cy="463351"/>
            </a:xfrm>
            <a:prstGeom prst="straightConnector1">
              <a:avLst/>
            </a:prstGeom>
            <a:ln w="28575">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647F6ED6-858C-B1E6-4ECA-FCEED69FE196}"/>
                </a:ext>
              </a:extLst>
            </p:cNvPr>
            <p:cNvSpPr txBox="1"/>
            <p:nvPr/>
          </p:nvSpPr>
          <p:spPr>
            <a:xfrm>
              <a:off x="2480107" y="2254423"/>
              <a:ext cx="689318" cy="177255"/>
            </a:xfrm>
            <a:prstGeom prst="rect">
              <a:avLst/>
            </a:prstGeom>
            <a:noFill/>
          </p:spPr>
          <p:txBody>
            <a:bodyPr wrap="none" lIns="0" tIns="0" rIns="0" bIns="0" rtlCol="0">
              <a:noAutofit/>
            </a:bodyPr>
            <a:lstStyle/>
            <a:p>
              <a:pPr algn="l" defTabSz="228600">
                <a:spcAft>
                  <a:spcPts val="1200"/>
                </a:spcAft>
              </a:pPr>
              <a:r>
                <a:rPr lang="en-US" sz="1000"/>
                <a:t>User Query</a:t>
              </a:r>
              <a:endParaRPr lang="en-US" sz="1000" noProof="0"/>
            </a:p>
          </p:txBody>
        </p:sp>
        <p:sp>
          <p:nvSpPr>
            <p:cNvPr id="73" name="TextBox 72">
              <a:extLst>
                <a:ext uri="{FF2B5EF4-FFF2-40B4-BE49-F238E27FC236}">
                  <a16:creationId xmlns:a16="http://schemas.microsoft.com/office/drawing/2014/main" id="{2383926C-DA77-5B59-79CD-CF96927F3349}"/>
                </a:ext>
              </a:extLst>
            </p:cNvPr>
            <p:cNvSpPr txBox="1"/>
            <p:nvPr/>
          </p:nvSpPr>
          <p:spPr>
            <a:xfrm>
              <a:off x="3573634" y="2012678"/>
              <a:ext cx="533058" cy="121576"/>
            </a:xfrm>
            <a:prstGeom prst="rect">
              <a:avLst/>
            </a:prstGeom>
            <a:noFill/>
          </p:spPr>
          <p:txBody>
            <a:bodyPr wrap="none" lIns="0" tIns="0" rIns="0" bIns="0" rtlCol="0">
              <a:noAutofit/>
            </a:bodyPr>
            <a:lstStyle/>
            <a:p>
              <a:pPr algn="l" defTabSz="228600">
                <a:spcAft>
                  <a:spcPts val="1200"/>
                </a:spcAft>
              </a:pPr>
              <a:r>
                <a:rPr lang="en-US" sz="1050" noProof="0"/>
                <a:t>Answer</a:t>
              </a:r>
            </a:p>
          </p:txBody>
        </p:sp>
        <p:sp>
          <p:nvSpPr>
            <p:cNvPr id="4" name="TextBox 3">
              <a:extLst>
                <a:ext uri="{FF2B5EF4-FFF2-40B4-BE49-F238E27FC236}">
                  <a16:creationId xmlns:a16="http://schemas.microsoft.com/office/drawing/2014/main" id="{DF964238-B1C7-DEFE-2C27-0BC1204CD4A4}"/>
                </a:ext>
              </a:extLst>
            </p:cNvPr>
            <p:cNvSpPr txBox="1"/>
            <p:nvPr/>
          </p:nvSpPr>
          <p:spPr>
            <a:xfrm>
              <a:off x="4026833" y="2593039"/>
              <a:ext cx="836492" cy="757937"/>
            </a:xfrm>
            <a:prstGeom prst="rect">
              <a:avLst/>
            </a:prstGeom>
            <a:noFill/>
          </p:spPr>
          <p:txBody>
            <a:bodyPr wrap="square" lIns="0" tIns="0" rIns="0" bIns="0" rtlCol="0">
              <a:normAutofit/>
            </a:bodyPr>
            <a:lstStyle/>
            <a:p>
              <a:pPr algn="l" defTabSz="228600">
                <a:spcAft>
                  <a:spcPts val="1200"/>
                </a:spcAft>
              </a:pPr>
              <a:r>
                <a:rPr lang="en-US" sz="1000" noProof="0"/>
                <a:t>The controller agent plans the task on the user’s behalf.</a:t>
              </a:r>
            </a:p>
          </p:txBody>
        </p:sp>
        <p:sp>
          <p:nvSpPr>
            <p:cNvPr id="5" name="TextBox 4">
              <a:extLst>
                <a:ext uri="{FF2B5EF4-FFF2-40B4-BE49-F238E27FC236}">
                  <a16:creationId xmlns:a16="http://schemas.microsoft.com/office/drawing/2014/main" id="{7B40BE06-163E-C494-443D-4675707AF094}"/>
                </a:ext>
              </a:extLst>
            </p:cNvPr>
            <p:cNvSpPr txBox="1"/>
            <p:nvPr/>
          </p:nvSpPr>
          <p:spPr>
            <a:xfrm>
              <a:off x="6416910" y="2589210"/>
              <a:ext cx="1144472" cy="520296"/>
            </a:xfrm>
            <a:prstGeom prst="rect">
              <a:avLst/>
            </a:prstGeom>
            <a:noFill/>
          </p:spPr>
          <p:txBody>
            <a:bodyPr wrap="square" lIns="0" tIns="0" rIns="0" bIns="0" rtlCol="0">
              <a:normAutofit fontScale="62500" lnSpcReduction="20000"/>
            </a:bodyPr>
            <a:lstStyle/>
            <a:p>
              <a:pPr algn="l" defTabSz="228600">
                <a:spcAft>
                  <a:spcPts val="1200"/>
                </a:spcAft>
              </a:pPr>
              <a:r>
                <a:rPr lang="en-US" noProof="0"/>
                <a:t>The software planner builds a sets of tasks based on capabilities.</a:t>
              </a:r>
            </a:p>
          </p:txBody>
        </p:sp>
        <p:pic>
          <p:nvPicPr>
            <p:cNvPr id="9" name="Graphic 8" descr="Aspiration outline">
              <a:extLst>
                <a:ext uri="{FF2B5EF4-FFF2-40B4-BE49-F238E27FC236}">
                  <a16:creationId xmlns:a16="http://schemas.microsoft.com/office/drawing/2014/main" id="{33C0F79A-9B40-B727-DA31-A81391B0A92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651050" y="2452519"/>
              <a:ext cx="731534" cy="731534"/>
            </a:xfrm>
            <a:prstGeom prst="rect">
              <a:avLst/>
            </a:prstGeom>
          </p:spPr>
        </p:pic>
        <p:cxnSp>
          <p:nvCxnSpPr>
            <p:cNvPr id="11" name="Straight Arrow Connector 10">
              <a:extLst>
                <a:ext uri="{FF2B5EF4-FFF2-40B4-BE49-F238E27FC236}">
                  <a16:creationId xmlns:a16="http://schemas.microsoft.com/office/drawing/2014/main" id="{A15FE14E-5F66-B717-CE38-5310F9D3FED8}"/>
                </a:ext>
              </a:extLst>
            </p:cNvPr>
            <p:cNvCxnSpPr>
              <a:cxnSpLocks/>
            </p:cNvCxnSpPr>
            <p:nvPr/>
          </p:nvCxnSpPr>
          <p:spPr>
            <a:xfrm>
              <a:off x="6205928" y="3551536"/>
              <a:ext cx="0" cy="79882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8" name="Straight Arrow Connector 17">
              <a:extLst>
                <a:ext uri="{FF2B5EF4-FFF2-40B4-BE49-F238E27FC236}">
                  <a16:creationId xmlns:a16="http://schemas.microsoft.com/office/drawing/2014/main" id="{3F98DD9A-5C2D-9A57-8F78-305F4B20533D}"/>
                </a:ext>
              </a:extLst>
            </p:cNvPr>
            <p:cNvCxnSpPr>
              <a:cxnSpLocks/>
            </p:cNvCxnSpPr>
            <p:nvPr/>
          </p:nvCxnSpPr>
          <p:spPr>
            <a:xfrm flipV="1">
              <a:off x="6377524" y="3551536"/>
              <a:ext cx="0" cy="79882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1" name="TextBox 20">
              <a:extLst>
                <a:ext uri="{FF2B5EF4-FFF2-40B4-BE49-F238E27FC236}">
                  <a16:creationId xmlns:a16="http://schemas.microsoft.com/office/drawing/2014/main" id="{457DCAA7-4417-53E3-8113-747CE35CB37F}"/>
                </a:ext>
              </a:extLst>
            </p:cNvPr>
            <p:cNvSpPr txBox="1"/>
            <p:nvPr/>
          </p:nvSpPr>
          <p:spPr>
            <a:xfrm>
              <a:off x="5441430" y="3859967"/>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24" name="TextBox 23">
              <a:extLst>
                <a:ext uri="{FF2B5EF4-FFF2-40B4-BE49-F238E27FC236}">
                  <a16:creationId xmlns:a16="http://schemas.microsoft.com/office/drawing/2014/main" id="{DB052105-8AA4-0C5E-D424-2DB8142F20C8}"/>
                </a:ext>
              </a:extLst>
            </p:cNvPr>
            <p:cNvSpPr txBox="1"/>
            <p:nvPr/>
          </p:nvSpPr>
          <p:spPr>
            <a:xfrm>
              <a:off x="5140105" y="3931994"/>
              <a:ext cx="1276805" cy="124438"/>
            </a:xfrm>
            <a:prstGeom prst="rect">
              <a:avLst/>
            </a:prstGeom>
            <a:noFill/>
          </p:spPr>
          <p:txBody>
            <a:bodyPr wrap="square" lIns="0" tIns="0" rIns="0" bIns="0" rtlCol="0">
              <a:normAutofit fontScale="92500" lnSpcReduction="20000"/>
            </a:bodyPr>
            <a:lstStyle/>
            <a:p>
              <a:pPr algn="l" defTabSz="228600">
                <a:spcAft>
                  <a:spcPts val="1200"/>
                </a:spcAft>
              </a:pPr>
              <a:r>
                <a:rPr lang="en-US" sz="1200" noProof="0"/>
                <a:t>Feature Request</a:t>
              </a:r>
            </a:p>
          </p:txBody>
        </p:sp>
        <p:sp>
          <p:nvSpPr>
            <p:cNvPr id="26" name="TextBox 25">
              <a:extLst>
                <a:ext uri="{FF2B5EF4-FFF2-40B4-BE49-F238E27FC236}">
                  <a16:creationId xmlns:a16="http://schemas.microsoft.com/office/drawing/2014/main" id="{72AB7E54-B2CB-661C-3608-D6C6F66750C7}"/>
                </a:ext>
              </a:extLst>
            </p:cNvPr>
            <p:cNvSpPr txBox="1"/>
            <p:nvPr/>
          </p:nvSpPr>
          <p:spPr>
            <a:xfrm>
              <a:off x="6473102" y="3935307"/>
              <a:ext cx="428045" cy="124438"/>
            </a:xfrm>
            <a:prstGeom prst="rect">
              <a:avLst/>
            </a:prstGeom>
            <a:noFill/>
          </p:spPr>
          <p:txBody>
            <a:bodyPr wrap="square" lIns="0" tIns="0" rIns="0" bIns="0" rtlCol="0">
              <a:normAutofit fontScale="62500" lnSpcReduction="20000"/>
            </a:bodyPr>
            <a:lstStyle/>
            <a:p>
              <a:pPr algn="l" defTabSz="228600">
                <a:spcAft>
                  <a:spcPts val="1200"/>
                </a:spcAft>
              </a:pPr>
              <a:r>
                <a:rPr lang="en-US" noProof="0"/>
                <a:t>Code</a:t>
              </a:r>
            </a:p>
          </p:txBody>
        </p:sp>
        <p:sp>
          <p:nvSpPr>
            <p:cNvPr id="27" name="TextBox 26">
              <a:extLst>
                <a:ext uri="{FF2B5EF4-FFF2-40B4-BE49-F238E27FC236}">
                  <a16:creationId xmlns:a16="http://schemas.microsoft.com/office/drawing/2014/main" id="{3EDFC62F-9198-BC56-7300-35CF782B701B}"/>
                </a:ext>
              </a:extLst>
            </p:cNvPr>
            <p:cNvSpPr txBox="1"/>
            <p:nvPr/>
          </p:nvSpPr>
          <p:spPr>
            <a:xfrm>
              <a:off x="7351046" y="3693315"/>
              <a:ext cx="668755" cy="177254"/>
            </a:xfrm>
            <a:prstGeom prst="rect">
              <a:avLst/>
            </a:prstGeom>
            <a:noFill/>
          </p:spPr>
          <p:txBody>
            <a:bodyPr wrap="square" lIns="0" tIns="0" rIns="0" bIns="0" rtlCol="0">
              <a:normAutofit/>
            </a:bodyPr>
            <a:lstStyle/>
            <a:p>
              <a:pPr algn="l" defTabSz="228600">
                <a:spcAft>
                  <a:spcPts val="1200"/>
                </a:spcAft>
              </a:pPr>
              <a:r>
                <a:rPr lang="en-US" sz="1050" noProof="0"/>
                <a:t>Unit Tests</a:t>
              </a:r>
            </a:p>
          </p:txBody>
        </p:sp>
        <p:grpSp>
          <p:nvGrpSpPr>
            <p:cNvPr id="45" name="Group 44">
              <a:extLst>
                <a:ext uri="{FF2B5EF4-FFF2-40B4-BE49-F238E27FC236}">
                  <a16:creationId xmlns:a16="http://schemas.microsoft.com/office/drawing/2014/main" id="{92E47FBD-B6CF-2237-EEA0-C507FFE1A888}"/>
                </a:ext>
              </a:extLst>
            </p:cNvPr>
            <p:cNvGrpSpPr/>
            <p:nvPr/>
          </p:nvGrpSpPr>
          <p:grpSpPr>
            <a:xfrm>
              <a:off x="6070489" y="4491637"/>
              <a:ext cx="882414" cy="799685"/>
              <a:chOff x="5988376" y="4485530"/>
              <a:chExt cx="882414" cy="799685"/>
            </a:xfrm>
          </p:grpSpPr>
          <p:sp>
            <p:nvSpPr>
              <p:cNvPr id="39" name="Rounded Rectangle 38">
                <a:extLst>
                  <a:ext uri="{FF2B5EF4-FFF2-40B4-BE49-F238E27FC236}">
                    <a16:creationId xmlns:a16="http://schemas.microsoft.com/office/drawing/2014/main" id="{5F2D5C79-7817-060B-9007-6915BB41AD5E}"/>
                  </a:ext>
                </a:extLst>
              </p:cNvPr>
              <p:cNvSpPr/>
              <p:nvPr/>
            </p:nvSpPr>
            <p:spPr>
              <a:xfrm>
                <a:off x="5988376" y="4527616"/>
                <a:ext cx="882414" cy="757599"/>
              </a:xfrm>
              <a:prstGeom prst="roundRect">
                <a:avLst/>
              </a:prstGeom>
              <a:solidFill>
                <a:srgbClr val="92D050"/>
              </a:solidFill>
              <a:ln w="31750">
                <a:solidFill>
                  <a:srgbClr val="92D050"/>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b"/>
              <a:lstStyle/>
              <a:p>
                <a:pPr algn="ctr"/>
                <a:r>
                  <a:rPr lang="en-US"/>
                  <a:t>LLM</a:t>
                </a:r>
              </a:p>
            </p:txBody>
          </p:sp>
          <p:pic>
            <p:nvPicPr>
              <p:cNvPr id="42" name="Graphic 41" descr="Brain with solid fill">
                <a:extLst>
                  <a:ext uri="{FF2B5EF4-FFF2-40B4-BE49-F238E27FC236}">
                    <a16:creationId xmlns:a16="http://schemas.microsoft.com/office/drawing/2014/main" id="{5CEE47EA-CC77-419D-8F40-9DC6BFCC25C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154154" y="4485530"/>
                <a:ext cx="490775" cy="490775"/>
              </a:xfrm>
              <a:prstGeom prst="rect">
                <a:avLst/>
              </a:prstGeom>
            </p:spPr>
          </p:pic>
        </p:grpSp>
        <p:grpSp>
          <p:nvGrpSpPr>
            <p:cNvPr id="46" name="Group 45">
              <a:extLst>
                <a:ext uri="{FF2B5EF4-FFF2-40B4-BE49-F238E27FC236}">
                  <a16:creationId xmlns:a16="http://schemas.microsoft.com/office/drawing/2014/main" id="{C048FED6-4F6C-9C7E-0062-930E4BA6A263}"/>
                </a:ext>
              </a:extLst>
            </p:cNvPr>
            <p:cNvGrpSpPr/>
            <p:nvPr/>
          </p:nvGrpSpPr>
          <p:grpSpPr>
            <a:xfrm>
              <a:off x="3630305" y="3882495"/>
              <a:ext cx="882414" cy="799685"/>
              <a:chOff x="5988376" y="4485530"/>
              <a:chExt cx="882414" cy="799685"/>
            </a:xfrm>
          </p:grpSpPr>
          <p:sp>
            <p:nvSpPr>
              <p:cNvPr id="47" name="Rounded Rectangle 46">
                <a:extLst>
                  <a:ext uri="{FF2B5EF4-FFF2-40B4-BE49-F238E27FC236}">
                    <a16:creationId xmlns:a16="http://schemas.microsoft.com/office/drawing/2014/main" id="{B3F242A0-9AA6-AB69-A41A-6C98C4D8590E}"/>
                  </a:ext>
                </a:extLst>
              </p:cNvPr>
              <p:cNvSpPr/>
              <p:nvPr/>
            </p:nvSpPr>
            <p:spPr>
              <a:xfrm>
                <a:off x="5988376" y="4527616"/>
                <a:ext cx="882414" cy="757599"/>
              </a:xfrm>
              <a:prstGeom prst="roundRect">
                <a:avLst/>
              </a:prstGeom>
              <a:solidFill>
                <a:srgbClr val="92D050"/>
              </a:solidFill>
              <a:ln w="31750">
                <a:solidFill>
                  <a:srgbClr val="92D050"/>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b"/>
              <a:lstStyle/>
              <a:p>
                <a:pPr algn="ctr"/>
                <a:r>
                  <a:rPr lang="en-US"/>
                  <a:t>LLM</a:t>
                </a:r>
              </a:p>
            </p:txBody>
          </p:sp>
          <p:pic>
            <p:nvPicPr>
              <p:cNvPr id="48" name="Graphic 47" descr="Brain with solid fill">
                <a:extLst>
                  <a:ext uri="{FF2B5EF4-FFF2-40B4-BE49-F238E27FC236}">
                    <a16:creationId xmlns:a16="http://schemas.microsoft.com/office/drawing/2014/main" id="{8A365270-766F-2290-B418-D496C9DC914B}"/>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154154" y="4485530"/>
                <a:ext cx="490775" cy="490775"/>
              </a:xfrm>
              <a:prstGeom prst="rect">
                <a:avLst/>
              </a:prstGeom>
            </p:spPr>
          </p:pic>
        </p:grpSp>
        <p:grpSp>
          <p:nvGrpSpPr>
            <p:cNvPr id="49" name="Group 48">
              <a:extLst>
                <a:ext uri="{FF2B5EF4-FFF2-40B4-BE49-F238E27FC236}">
                  <a16:creationId xmlns:a16="http://schemas.microsoft.com/office/drawing/2014/main" id="{2490EE81-EB53-6CCC-6CA6-CA7DB2A2D1B7}"/>
                </a:ext>
              </a:extLst>
            </p:cNvPr>
            <p:cNvGrpSpPr/>
            <p:nvPr/>
          </p:nvGrpSpPr>
          <p:grpSpPr>
            <a:xfrm>
              <a:off x="8325353" y="4097719"/>
              <a:ext cx="882414" cy="799685"/>
              <a:chOff x="5988376" y="4485530"/>
              <a:chExt cx="882414" cy="799685"/>
            </a:xfrm>
          </p:grpSpPr>
          <p:sp>
            <p:nvSpPr>
              <p:cNvPr id="50" name="Rounded Rectangle 49">
                <a:extLst>
                  <a:ext uri="{FF2B5EF4-FFF2-40B4-BE49-F238E27FC236}">
                    <a16:creationId xmlns:a16="http://schemas.microsoft.com/office/drawing/2014/main" id="{75819007-C1C1-E59B-7C43-3AC7257D1721}"/>
                  </a:ext>
                </a:extLst>
              </p:cNvPr>
              <p:cNvSpPr/>
              <p:nvPr/>
            </p:nvSpPr>
            <p:spPr>
              <a:xfrm>
                <a:off x="5988376" y="4527616"/>
                <a:ext cx="882414" cy="757599"/>
              </a:xfrm>
              <a:prstGeom prst="roundRect">
                <a:avLst/>
              </a:prstGeom>
              <a:solidFill>
                <a:srgbClr val="92D050"/>
              </a:solidFill>
              <a:ln w="31750">
                <a:solidFill>
                  <a:srgbClr val="92D050"/>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b"/>
              <a:lstStyle/>
              <a:p>
                <a:pPr algn="ctr"/>
                <a:r>
                  <a:rPr lang="en-US"/>
                  <a:t>LLM</a:t>
                </a:r>
              </a:p>
            </p:txBody>
          </p:sp>
          <p:pic>
            <p:nvPicPr>
              <p:cNvPr id="51" name="Graphic 50" descr="Brain with solid fill">
                <a:extLst>
                  <a:ext uri="{FF2B5EF4-FFF2-40B4-BE49-F238E27FC236}">
                    <a16:creationId xmlns:a16="http://schemas.microsoft.com/office/drawing/2014/main" id="{76251DD7-8676-E4DD-79DC-44FE59B015D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154154" y="4485530"/>
                <a:ext cx="490775" cy="490775"/>
              </a:xfrm>
              <a:prstGeom prst="rect">
                <a:avLst/>
              </a:prstGeom>
            </p:spPr>
          </p:pic>
        </p:grpSp>
        <p:pic>
          <p:nvPicPr>
            <p:cNvPr id="54" name="Graphic 53" descr="Shield Tick with solid fill">
              <a:extLst>
                <a:ext uri="{FF2B5EF4-FFF2-40B4-BE49-F238E27FC236}">
                  <a16:creationId xmlns:a16="http://schemas.microsoft.com/office/drawing/2014/main" id="{7F602CF7-7D06-56A1-AA2F-E87A6992FF77}"/>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2976832" y="3946668"/>
              <a:ext cx="679818" cy="679818"/>
            </a:xfrm>
            <a:prstGeom prst="rect">
              <a:avLst/>
            </a:prstGeom>
          </p:spPr>
        </p:pic>
        <p:cxnSp>
          <p:nvCxnSpPr>
            <p:cNvPr id="55" name="Straight Arrow Connector 54">
              <a:extLst>
                <a:ext uri="{FF2B5EF4-FFF2-40B4-BE49-F238E27FC236}">
                  <a16:creationId xmlns:a16="http://schemas.microsoft.com/office/drawing/2014/main" id="{99DC8F8F-8949-A146-B436-7622C44ABCDD}"/>
                </a:ext>
              </a:extLst>
            </p:cNvPr>
            <p:cNvCxnSpPr>
              <a:cxnSpLocks/>
            </p:cNvCxnSpPr>
            <p:nvPr/>
          </p:nvCxnSpPr>
          <p:spPr>
            <a:xfrm flipH="1" flipV="1">
              <a:off x="7712493" y="3350976"/>
              <a:ext cx="554290" cy="62207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61" name="Straight Arrow Connector 60">
              <a:extLst>
                <a:ext uri="{FF2B5EF4-FFF2-40B4-BE49-F238E27FC236}">
                  <a16:creationId xmlns:a16="http://schemas.microsoft.com/office/drawing/2014/main" id="{CB62AD78-13A7-8B82-2C0E-06DE4085ED7C}"/>
                </a:ext>
              </a:extLst>
            </p:cNvPr>
            <p:cNvCxnSpPr>
              <a:cxnSpLocks/>
            </p:cNvCxnSpPr>
            <p:nvPr/>
          </p:nvCxnSpPr>
          <p:spPr>
            <a:xfrm>
              <a:off x="7778275" y="3199107"/>
              <a:ext cx="668755" cy="76187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78" name="TextBox 77">
              <a:extLst>
                <a:ext uri="{FF2B5EF4-FFF2-40B4-BE49-F238E27FC236}">
                  <a16:creationId xmlns:a16="http://schemas.microsoft.com/office/drawing/2014/main" id="{FC6E9EA9-8213-2243-B659-B8468D9AA2E7}"/>
                </a:ext>
              </a:extLst>
            </p:cNvPr>
            <p:cNvSpPr txBox="1"/>
            <p:nvPr/>
          </p:nvSpPr>
          <p:spPr>
            <a:xfrm>
              <a:off x="8188557" y="3505061"/>
              <a:ext cx="428045" cy="124438"/>
            </a:xfrm>
            <a:prstGeom prst="rect">
              <a:avLst/>
            </a:prstGeom>
            <a:noFill/>
          </p:spPr>
          <p:txBody>
            <a:bodyPr wrap="square" lIns="0" tIns="0" rIns="0" bIns="0" rtlCol="0">
              <a:normAutofit fontScale="62500" lnSpcReduction="20000"/>
            </a:bodyPr>
            <a:lstStyle/>
            <a:p>
              <a:pPr algn="l" defTabSz="228600">
                <a:spcAft>
                  <a:spcPts val="1200"/>
                </a:spcAft>
              </a:pPr>
              <a:r>
                <a:rPr lang="en-US" noProof="0"/>
                <a:t>Code</a:t>
              </a:r>
            </a:p>
          </p:txBody>
        </p:sp>
        <p:cxnSp>
          <p:nvCxnSpPr>
            <p:cNvPr id="79" name="Straight Arrow Connector 78">
              <a:extLst>
                <a:ext uri="{FF2B5EF4-FFF2-40B4-BE49-F238E27FC236}">
                  <a16:creationId xmlns:a16="http://schemas.microsoft.com/office/drawing/2014/main" id="{D6D37876-A853-9AAD-3B85-8A7A969C9FAA}"/>
                </a:ext>
              </a:extLst>
            </p:cNvPr>
            <p:cNvCxnSpPr>
              <a:cxnSpLocks/>
            </p:cNvCxnSpPr>
            <p:nvPr/>
          </p:nvCxnSpPr>
          <p:spPr>
            <a:xfrm flipH="1">
              <a:off x="5041065" y="2873198"/>
              <a:ext cx="499967"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89" name="Straight Arrow Connector 88">
              <a:extLst>
                <a:ext uri="{FF2B5EF4-FFF2-40B4-BE49-F238E27FC236}">
                  <a16:creationId xmlns:a16="http://schemas.microsoft.com/office/drawing/2014/main" id="{76F41E56-8C9B-7832-2C98-4421252412DB}"/>
                </a:ext>
              </a:extLst>
            </p:cNvPr>
            <p:cNvCxnSpPr>
              <a:cxnSpLocks/>
            </p:cNvCxnSpPr>
            <p:nvPr/>
          </p:nvCxnSpPr>
          <p:spPr>
            <a:xfrm>
              <a:off x="5027394" y="2984582"/>
              <a:ext cx="542835"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91" name="TextBox 90">
              <a:extLst>
                <a:ext uri="{FF2B5EF4-FFF2-40B4-BE49-F238E27FC236}">
                  <a16:creationId xmlns:a16="http://schemas.microsoft.com/office/drawing/2014/main" id="{3FFB7EB8-13B5-EDA8-88C1-985ACABCE89F}"/>
                </a:ext>
              </a:extLst>
            </p:cNvPr>
            <p:cNvSpPr txBox="1"/>
            <p:nvPr/>
          </p:nvSpPr>
          <p:spPr>
            <a:xfrm>
              <a:off x="5104231" y="2724920"/>
              <a:ext cx="428045" cy="124438"/>
            </a:xfrm>
            <a:prstGeom prst="rect">
              <a:avLst/>
            </a:prstGeom>
            <a:noFill/>
          </p:spPr>
          <p:txBody>
            <a:bodyPr wrap="square" lIns="0" tIns="0" rIns="0" bIns="0" rtlCol="0">
              <a:normAutofit fontScale="62500" lnSpcReduction="20000"/>
            </a:bodyPr>
            <a:lstStyle/>
            <a:p>
              <a:pPr algn="l" defTabSz="228600">
                <a:spcAft>
                  <a:spcPts val="1200"/>
                </a:spcAft>
              </a:pPr>
              <a:r>
                <a:rPr lang="en-US" noProof="0"/>
                <a:t>Code</a:t>
              </a:r>
            </a:p>
          </p:txBody>
        </p:sp>
        <p:sp>
          <p:nvSpPr>
            <p:cNvPr id="92" name="TextBox 91">
              <a:extLst>
                <a:ext uri="{FF2B5EF4-FFF2-40B4-BE49-F238E27FC236}">
                  <a16:creationId xmlns:a16="http://schemas.microsoft.com/office/drawing/2014/main" id="{83A8D188-25F8-6D25-AD90-479593D43B86}"/>
                </a:ext>
              </a:extLst>
            </p:cNvPr>
            <p:cNvSpPr txBox="1"/>
            <p:nvPr/>
          </p:nvSpPr>
          <p:spPr>
            <a:xfrm>
              <a:off x="5077025" y="3038502"/>
              <a:ext cx="428045" cy="124438"/>
            </a:xfrm>
            <a:prstGeom prst="rect">
              <a:avLst/>
            </a:prstGeom>
            <a:noFill/>
          </p:spPr>
          <p:txBody>
            <a:bodyPr wrap="square" lIns="0" tIns="0" rIns="0" bIns="0" rtlCol="0">
              <a:normAutofit fontScale="62500" lnSpcReduction="20000"/>
            </a:bodyPr>
            <a:lstStyle/>
            <a:p>
              <a:pPr algn="l" defTabSz="228600">
                <a:spcAft>
                  <a:spcPts val="1200"/>
                </a:spcAft>
              </a:pPr>
              <a:r>
                <a:rPr lang="en-US" noProof="0"/>
                <a:t>Criteria</a:t>
              </a:r>
            </a:p>
          </p:txBody>
        </p:sp>
        <p:cxnSp>
          <p:nvCxnSpPr>
            <p:cNvPr id="99" name="Curved Connector 98">
              <a:extLst>
                <a:ext uri="{FF2B5EF4-FFF2-40B4-BE49-F238E27FC236}">
                  <a16:creationId xmlns:a16="http://schemas.microsoft.com/office/drawing/2014/main" id="{56156D3E-A169-B846-86BD-EBD6B92F9A55}"/>
                </a:ext>
              </a:extLst>
            </p:cNvPr>
            <p:cNvCxnSpPr>
              <a:stCxn id="22" idx="1"/>
              <a:endCxn id="67" idx="1"/>
            </p:cNvCxnSpPr>
            <p:nvPr/>
          </p:nvCxnSpPr>
          <p:spPr>
            <a:xfrm rot="10800000" flipV="1">
              <a:off x="2985564" y="2880790"/>
              <a:ext cx="513093" cy="1411119"/>
            </a:xfrm>
            <a:prstGeom prst="curvedConnector3">
              <a:avLst>
                <a:gd name="adj1" fmla="val 163543"/>
              </a:avLst>
            </a:prstGeom>
            <a:ln>
              <a:tailEnd type="triangle"/>
            </a:ln>
          </p:spPr>
          <p:style>
            <a:lnRef idx="1">
              <a:schemeClr val="dk1"/>
            </a:lnRef>
            <a:fillRef idx="0">
              <a:schemeClr val="dk1"/>
            </a:fillRef>
            <a:effectRef idx="0">
              <a:schemeClr val="dk1"/>
            </a:effectRef>
            <a:fontRef idx="minor">
              <a:schemeClr val="tx1"/>
            </a:fontRef>
          </p:style>
        </p:cxnSp>
        <p:sp>
          <p:nvSpPr>
            <p:cNvPr id="100" name="TextBox 99">
              <a:extLst>
                <a:ext uri="{FF2B5EF4-FFF2-40B4-BE49-F238E27FC236}">
                  <a16:creationId xmlns:a16="http://schemas.microsoft.com/office/drawing/2014/main" id="{EF9E0108-AF7D-8710-C317-25A689A9885D}"/>
                </a:ext>
              </a:extLst>
            </p:cNvPr>
            <p:cNvSpPr txBox="1"/>
            <p:nvPr/>
          </p:nvSpPr>
          <p:spPr>
            <a:xfrm>
              <a:off x="2305494" y="3567280"/>
              <a:ext cx="428045" cy="124438"/>
            </a:xfrm>
            <a:prstGeom prst="rect">
              <a:avLst/>
            </a:prstGeom>
            <a:noFill/>
          </p:spPr>
          <p:txBody>
            <a:bodyPr wrap="square" lIns="0" tIns="0" rIns="0" bIns="0" rtlCol="0">
              <a:normAutofit fontScale="62500" lnSpcReduction="20000"/>
            </a:bodyPr>
            <a:lstStyle/>
            <a:p>
              <a:pPr algn="l" defTabSz="228600">
                <a:spcAft>
                  <a:spcPts val="1200"/>
                </a:spcAft>
              </a:pPr>
              <a:r>
                <a:rPr lang="en-US" noProof="0"/>
                <a:t>Code</a:t>
              </a:r>
            </a:p>
          </p:txBody>
        </p:sp>
        <p:cxnSp>
          <p:nvCxnSpPr>
            <p:cNvPr id="102" name="Curved Connector 101">
              <a:extLst>
                <a:ext uri="{FF2B5EF4-FFF2-40B4-BE49-F238E27FC236}">
                  <a16:creationId xmlns:a16="http://schemas.microsoft.com/office/drawing/2014/main" id="{C0B632F8-ACEA-E003-D4CD-221343666224}"/>
                </a:ext>
              </a:extLst>
            </p:cNvPr>
            <p:cNvCxnSpPr>
              <a:cxnSpLocks/>
              <a:stCxn id="108" idx="1"/>
            </p:cNvCxnSpPr>
            <p:nvPr/>
          </p:nvCxnSpPr>
          <p:spPr>
            <a:xfrm rot="10800000" flipH="1">
              <a:off x="3059285" y="3100722"/>
              <a:ext cx="617260" cy="831273"/>
            </a:xfrm>
            <a:prstGeom prst="curvedConnector4">
              <a:avLst>
                <a:gd name="adj1" fmla="val -37035"/>
                <a:gd name="adj2" fmla="val 53742"/>
              </a:avLst>
            </a:prstGeom>
            <a:ln>
              <a:tailEnd type="triangle"/>
            </a:ln>
          </p:spPr>
          <p:style>
            <a:lnRef idx="1">
              <a:schemeClr val="dk1"/>
            </a:lnRef>
            <a:fillRef idx="0">
              <a:schemeClr val="dk1"/>
            </a:fillRef>
            <a:effectRef idx="0">
              <a:schemeClr val="dk1"/>
            </a:effectRef>
            <a:fontRef idx="minor">
              <a:schemeClr val="tx1"/>
            </a:fontRef>
          </p:style>
        </p:cxnSp>
        <p:sp>
          <p:nvSpPr>
            <p:cNvPr id="108" name="TextBox 107">
              <a:extLst>
                <a:ext uri="{FF2B5EF4-FFF2-40B4-BE49-F238E27FC236}">
                  <a16:creationId xmlns:a16="http://schemas.microsoft.com/office/drawing/2014/main" id="{6900AAC9-FD00-2A74-7EC4-4333480F4FA9}"/>
                </a:ext>
              </a:extLst>
            </p:cNvPr>
            <p:cNvSpPr txBox="1"/>
            <p:nvPr/>
          </p:nvSpPr>
          <p:spPr>
            <a:xfrm>
              <a:off x="3059285" y="3869775"/>
              <a:ext cx="428045" cy="124438"/>
            </a:xfrm>
            <a:prstGeom prst="rect">
              <a:avLst/>
            </a:prstGeom>
            <a:noFill/>
          </p:spPr>
          <p:txBody>
            <a:bodyPr wrap="square" lIns="0" tIns="0" rIns="0" bIns="0" rtlCol="0">
              <a:normAutofit fontScale="55000" lnSpcReduction="20000"/>
            </a:bodyPr>
            <a:lstStyle/>
            <a:p>
              <a:pPr algn="l" defTabSz="228600">
                <a:spcAft>
                  <a:spcPts val="1200"/>
                </a:spcAft>
              </a:pPr>
              <a:r>
                <a:rPr lang="en-US" noProof="0"/>
                <a:t>Approval</a:t>
              </a:r>
            </a:p>
          </p:txBody>
        </p:sp>
      </p:grpSp>
      <p:sp>
        <p:nvSpPr>
          <p:cNvPr id="7" name="Snip Diagonal Corner Rectangle 6">
            <a:extLst>
              <a:ext uri="{FF2B5EF4-FFF2-40B4-BE49-F238E27FC236}">
                <a16:creationId xmlns:a16="http://schemas.microsoft.com/office/drawing/2014/main" id="{80D71713-D88E-91AF-3B09-608303DC39BD}"/>
              </a:ext>
            </a:extLst>
          </p:cNvPr>
          <p:cNvSpPr/>
          <p:nvPr/>
        </p:nvSpPr>
        <p:spPr>
          <a:xfrm>
            <a:off x="1307397" y="2582666"/>
            <a:ext cx="1790700" cy="459348"/>
          </a:xfrm>
          <a:prstGeom prst="snip2Diag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a:t>Agent</a:t>
            </a:r>
          </a:p>
        </p:txBody>
      </p:sp>
      <p:sp>
        <p:nvSpPr>
          <p:cNvPr id="10" name="Snip Diagonal Corner Rectangle 9">
            <a:extLst>
              <a:ext uri="{FF2B5EF4-FFF2-40B4-BE49-F238E27FC236}">
                <a16:creationId xmlns:a16="http://schemas.microsoft.com/office/drawing/2014/main" id="{0C7C0421-2279-60DB-3D34-D4C17005C47C}"/>
              </a:ext>
            </a:extLst>
          </p:cNvPr>
          <p:cNvSpPr/>
          <p:nvPr/>
        </p:nvSpPr>
        <p:spPr>
          <a:xfrm>
            <a:off x="624665" y="4375604"/>
            <a:ext cx="1790700" cy="459348"/>
          </a:xfrm>
          <a:prstGeom prst="snip2Diag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a:t>Agent</a:t>
            </a:r>
          </a:p>
        </p:txBody>
      </p:sp>
      <p:sp>
        <p:nvSpPr>
          <p:cNvPr id="12" name="Snip Diagonal Corner Rectangle 11">
            <a:extLst>
              <a:ext uri="{FF2B5EF4-FFF2-40B4-BE49-F238E27FC236}">
                <a16:creationId xmlns:a16="http://schemas.microsoft.com/office/drawing/2014/main" id="{874B8131-BB92-31F9-4979-BDF86820CE83}"/>
              </a:ext>
            </a:extLst>
          </p:cNvPr>
          <p:cNvSpPr/>
          <p:nvPr/>
        </p:nvSpPr>
        <p:spPr>
          <a:xfrm>
            <a:off x="3797155" y="5328261"/>
            <a:ext cx="1790700" cy="459348"/>
          </a:xfrm>
          <a:prstGeom prst="snip2Diag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a:t>Agent</a:t>
            </a:r>
          </a:p>
        </p:txBody>
      </p:sp>
      <p:sp>
        <p:nvSpPr>
          <p:cNvPr id="13" name="Snip Diagonal Corner Rectangle 12">
            <a:extLst>
              <a:ext uri="{FF2B5EF4-FFF2-40B4-BE49-F238E27FC236}">
                <a16:creationId xmlns:a16="http://schemas.microsoft.com/office/drawing/2014/main" id="{41CCC2FA-C265-3347-451A-483F32B6A704}"/>
              </a:ext>
            </a:extLst>
          </p:cNvPr>
          <p:cNvSpPr/>
          <p:nvPr/>
        </p:nvSpPr>
        <p:spPr>
          <a:xfrm>
            <a:off x="9648805" y="5523140"/>
            <a:ext cx="1790700" cy="459348"/>
          </a:xfrm>
          <a:prstGeom prst="snip2Diag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a:t>Agent</a:t>
            </a:r>
          </a:p>
        </p:txBody>
      </p:sp>
      <p:sp>
        <p:nvSpPr>
          <p:cNvPr id="14" name="Snip Diagonal Corner Rectangle 13">
            <a:extLst>
              <a:ext uri="{FF2B5EF4-FFF2-40B4-BE49-F238E27FC236}">
                <a16:creationId xmlns:a16="http://schemas.microsoft.com/office/drawing/2014/main" id="{8D90F4A9-0D40-0FA9-D2C8-BB7BF501B0BF}"/>
              </a:ext>
            </a:extLst>
          </p:cNvPr>
          <p:cNvSpPr/>
          <p:nvPr/>
        </p:nvSpPr>
        <p:spPr>
          <a:xfrm>
            <a:off x="8792258" y="2407489"/>
            <a:ext cx="1790700" cy="459348"/>
          </a:xfrm>
          <a:prstGeom prst="snip2Diag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a:t>Agent</a:t>
            </a:r>
          </a:p>
        </p:txBody>
      </p:sp>
      <p:sp>
        <p:nvSpPr>
          <p:cNvPr id="15" name="TextBox 14">
            <a:extLst>
              <a:ext uri="{FF2B5EF4-FFF2-40B4-BE49-F238E27FC236}">
                <a16:creationId xmlns:a16="http://schemas.microsoft.com/office/drawing/2014/main" id="{9132F38B-097D-E7EF-739F-24039344A3ED}"/>
              </a:ext>
            </a:extLst>
          </p:cNvPr>
          <p:cNvSpPr txBox="1"/>
          <p:nvPr/>
        </p:nvSpPr>
        <p:spPr>
          <a:xfrm>
            <a:off x="6231669" y="1287836"/>
            <a:ext cx="1294283" cy="263261"/>
          </a:xfrm>
          <a:prstGeom prst="rect">
            <a:avLst/>
          </a:prstGeom>
          <a:noFill/>
        </p:spPr>
        <p:txBody>
          <a:bodyPr wrap="none" lIns="0" tIns="0" rIns="0" bIns="0" rtlCol="0">
            <a:noAutofit/>
          </a:bodyPr>
          <a:lstStyle/>
          <a:p>
            <a:pPr algn="l" defTabSz="228600">
              <a:spcAft>
                <a:spcPts val="1200"/>
              </a:spcAft>
            </a:pPr>
            <a:r>
              <a:rPr lang="en-US"/>
              <a:t>Workflow</a:t>
            </a:r>
            <a:endParaRPr lang="en-US" noProof="0"/>
          </a:p>
        </p:txBody>
      </p:sp>
    </p:spTree>
    <p:extLst>
      <p:ext uri="{BB962C8B-B14F-4D97-AF65-F5344CB8AC3E}">
        <p14:creationId xmlns:p14="http://schemas.microsoft.com/office/powerpoint/2010/main" val="60782972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F9E19C-2572-FA33-5A60-EEA4918F866E}"/>
              </a:ext>
            </a:extLst>
          </p:cNvPr>
          <p:cNvSpPr>
            <a:spLocks noGrp="1"/>
          </p:cNvSpPr>
          <p:nvPr>
            <p:ph type="title"/>
          </p:nvPr>
        </p:nvSpPr>
        <p:spPr>
          <a:xfrm>
            <a:off x="461215" y="1171244"/>
            <a:ext cx="9997440" cy="2380579"/>
          </a:xfrm>
        </p:spPr>
        <p:txBody>
          <a:bodyPr/>
          <a:lstStyle/>
          <a:p>
            <a:r>
              <a:rPr lang="en-US"/>
              <a:t>AI Agents</a:t>
            </a:r>
          </a:p>
        </p:txBody>
      </p:sp>
      <p:sp>
        <p:nvSpPr>
          <p:cNvPr id="4" name="Text Placeholder 3">
            <a:extLst>
              <a:ext uri="{FF2B5EF4-FFF2-40B4-BE49-F238E27FC236}">
                <a16:creationId xmlns:a16="http://schemas.microsoft.com/office/drawing/2014/main" id="{90F73D24-D93E-228E-4017-5F9B88AE5363}"/>
              </a:ext>
            </a:extLst>
          </p:cNvPr>
          <p:cNvSpPr>
            <a:spLocks noGrp="1"/>
          </p:cNvSpPr>
          <p:nvPr>
            <p:ph type="body" idx="1"/>
          </p:nvPr>
        </p:nvSpPr>
        <p:spPr>
          <a:xfrm>
            <a:off x="480721" y="3569057"/>
            <a:ext cx="9997440" cy="2444881"/>
          </a:xfrm>
        </p:spPr>
        <p:txBody>
          <a:bodyPr vert="horz" lIns="91440" tIns="45720" rIns="91440" bIns="45720" rtlCol="0" anchor="t">
            <a:noAutofit/>
          </a:bodyPr>
          <a:lstStyle/>
          <a:p>
            <a:endParaRPr lang="en-US" sz="2000"/>
          </a:p>
        </p:txBody>
      </p:sp>
    </p:spTree>
    <p:extLst>
      <p:ext uri="{BB962C8B-B14F-4D97-AF65-F5344CB8AC3E}">
        <p14:creationId xmlns:p14="http://schemas.microsoft.com/office/powerpoint/2010/main" val="197551089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B1334A-1F15-8065-AA72-4C32A061C26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65FBB8D-D911-AF64-F6E1-C11ED075DF29}"/>
              </a:ext>
            </a:extLst>
          </p:cNvPr>
          <p:cNvSpPr>
            <a:spLocks noGrp="1"/>
          </p:cNvSpPr>
          <p:nvPr>
            <p:ph type="title"/>
          </p:nvPr>
        </p:nvSpPr>
        <p:spPr/>
        <p:txBody>
          <a:bodyPr/>
          <a:lstStyle/>
          <a:p>
            <a:r>
              <a:rPr lang="en-US" sz="3200"/>
              <a:t>Multi-Agent Systems</a:t>
            </a:r>
          </a:p>
        </p:txBody>
      </p:sp>
      <p:sp>
        <p:nvSpPr>
          <p:cNvPr id="3" name="Content Placeholder 2">
            <a:extLst>
              <a:ext uri="{FF2B5EF4-FFF2-40B4-BE49-F238E27FC236}">
                <a16:creationId xmlns:a16="http://schemas.microsoft.com/office/drawing/2014/main" id="{4999BC6B-58B2-D115-01C9-174B8302AA2A}"/>
              </a:ext>
            </a:extLst>
          </p:cNvPr>
          <p:cNvSpPr>
            <a:spLocks noGrp="1"/>
          </p:cNvSpPr>
          <p:nvPr>
            <p:ph sz="quarter" idx="10"/>
          </p:nvPr>
        </p:nvSpPr>
        <p:spPr>
          <a:xfrm>
            <a:off x="8723074" y="778810"/>
            <a:ext cx="2942867" cy="1119087"/>
          </a:xfrm>
        </p:spPr>
        <p:txBody>
          <a:bodyPr/>
          <a:lstStyle/>
          <a:p>
            <a:pPr marL="0" indent="0">
              <a:buNone/>
            </a:pPr>
            <a:r>
              <a:rPr lang="en-US" sz="1400" b="1"/>
              <a:t>Agent Orchestration:</a:t>
            </a:r>
            <a:r>
              <a:rPr lang="en-US" sz="1400"/>
              <a:t> Users can coordinate complex workflows and activities amongst multiple agents, apply logic, and solve challenging problems.</a:t>
            </a:r>
            <a:endParaRPr lang="en-US" sz="1400" b="1"/>
          </a:p>
        </p:txBody>
      </p:sp>
      <p:grpSp>
        <p:nvGrpSpPr>
          <p:cNvPr id="121" name="Group 120">
            <a:extLst>
              <a:ext uri="{FF2B5EF4-FFF2-40B4-BE49-F238E27FC236}">
                <a16:creationId xmlns:a16="http://schemas.microsoft.com/office/drawing/2014/main" id="{6E030F07-CDBA-BAB0-E128-F94B5DAD62B7}"/>
              </a:ext>
            </a:extLst>
          </p:cNvPr>
          <p:cNvGrpSpPr/>
          <p:nvPr/>
        </p:nvGrpSpPr>
        <p:grpSpPr>
          <a:xfrm>
            <a:off x="1260738" y="1034374"/>
            <a:ext cx="10550262" cy="5264826"/>
            <a:chOff x="1910366" y="1389398"/>
            <a:chExt cx="8309020" cy="4541322"/>
          </a:xfrm>
        </p:grpSpPr>
        <p:sp>
          <p:nvSpPr>
            <p:cNvPr id="6" name="Oval 5">
              <a:extLst>
                <a:ext uri="{FF2B5EF4-FFF2-40B4-BE49-F238E27FC236}">
                  <a16:creationId xmlns:a16="http://schemas.microsoft.com/office/drawing/2014/main" id="{B46A0FE5-A2FF-EDA8-5FC0-213AFA7EF198}"/>
                </a:ext>
              </a:extLst>
            </p:cNvPr>
            <p:cNvSpPr/>
            <p:nvPr/>
          </p:nvSpPr>
          <p:spPr>
            <a:xfrm>
              <a:off x="2079938" y="1918951"/>
              <a:ext cx="8139448" cy="4011769"/>
            </a:xfrm>
            <a:prstGeom prst="ellipse">
              <a:avLst/>
            </a:prstGeom>
            <a:noFill/>
            <a:ln>
              <a:solidFill>
                <a:schemeClr val="tx1"/>
              </a:solidFill>
              <a:prstDash val="dash"/>
              <a:extLst>
                <a:ext uri="{C807C97D-BFC1-408E-A445-0C87EB9F89A2}">
                  <ask:lineSketchStyleProps xmlns:ask="http://schemas.microsoft.com/office/drawing/2018/sketchyshapes" sd="1219033472">
                    <a:custGeom>
                      <a:avLst/>
                      <a:gdLst>
                        <a:gd name="connsiteX0" fmla="*/ 0 w 8139448"/>
                        <a:gd name="connsiteY0" fmla="*/ 2228045 h 4456090"/>
                        <a:gd name="connsiteX1" fmla="*/ 4069724 w 8139448"/>
                        <a:gd name="connsiteY1" fmla="*/ 0 h 4456090"/>
                        <a:gd name="connsiteX2" fmla="*/ 8139448 w 8139448"/>
                        <a:gd name="connsiteY2" fmla="*/ 2228045 h 4456090"/>
                        <a:gd name="connsiteX3" fmla="*/ 4069724 w 8139448"/>
                        <a:gd name="connsiteY3" fmla="*/ 4456090 h 4456090"/>
                        <a:gd name="connsiteX4" fmla="*/ 0 w 8139448"/>
                        <a:gd name="connsiteY4" fmla="*/ 2228045 h 4456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39448" h="4456090" extrusionOk="0">
                          <a:moveTo>
                            <a:pt x="0" y="2228045"/>
                          </a:moveTo>
                          <a:cubicBezTo>
                            <a:pt x="-111860" y="928532"/>
                            <a:pt x="1485351" y="126379"/>
                            <a:pt x="4069724" y="0"/>
                          </a:cubicBezTo>
                          <a:cubicBezTo>
                            <a:pt x="6343377" y="5475"/>
                            <a:pt x="8050431" y="1000360"/>
                            <a:pt x="8139448" y="2228045"/>
                          </a:cubicBezTo>
                          <a:cubicBezTo>
                            <a:pt x="7858304" y="3733112"/>
                            <a:pt x="6293176" y="4589822"/>
                            <a:pt x="4069724" y="4456090"/>
                          </a:cubicBezTo>
                          <a:cubicBezTo>
                            <a:pt x="1808366" y="4448589"/>
                            <a:pt x="203733" y="3555905"/>
                            <a:pt x="0" y="2228045"/>
                          </a:cubicBezTo>
                          <a:close/>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pic>
          <p:nvPicPr>
            <p:cNvPr id="8" name="Graphic 7" descr="User with solid fill">
              <a:extLst>
                <a:ext uri="{FF2B5EF4-FFF2-40B4-BE49-F238E27FC236}">
                  <a16:creationId xmlns:a16="http://schemas.microsoft.com/office/drawing/2014/main" id="{E98D42E9-6FC2-7F25-6042-A2F0C21B781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910366" y="1389398"/>
              <a:ext cx="914400" cy="914400"/>
            </a:xfrm>
            <a:prstGeom prst="rect">
              <a:avLst/>
            </a:prstGeom>
          </p:spPr>
        </p:pic>
        <p:sp>
          <p:nvSpPr>
            <p:cNvPr id="22" name="Rectangle 21">
              <a:extLst>
                <a:ext uri="{FF2B5EF4-FFF2-40B4-BE49-F238E27FC236}">
                  <a16:creationId xmlns:a16="http://schemas.microsoft.com/office/drawing/2014/main" id="{9CF7B4DD-223E-7708-8BD7-A2740DC0C4BD}"/>
                </a:ext>
              </a:extLst>
            </p:cNvPr>
            <p:cNvSpPr/>
            <p:nvPr/>
          </p:nvSpPr>
          <p:spPr>
            <a:xfrm>
              <a:off x="3498656" y="2452519"/>
              <a:ext cx="1490785" cy="856543"/>
            </a:xfrm>
            <a:prstGeom prst="rect">
              <a:avLst/>
            </a:prstGeom>
            <a:noFill/>
            <a:ln w="31750">
              <a:solidFill>
                <a:srgbClr val="FFFF00"/>
              </a:solidFill>
              <a:prstDash val="dash"/>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23" name="TextBox 22">
              <a:extLst>
                <a:ext uri="{FF2B5EF4-FFF2-40B4-BE49-F238E27FC236}">
                  <a16:creationId xmlns:a16="http://schemas.microsoft.com/office/drawing/2014/main" id="{1A73F9D3-F593-9236-74DB-6F0B696E202B}"/>
                </a:ext>
              </a:extLst>
            </p:cNvPr>
            <p:cNvSpPr txBox="1"/>
            <p:nvPr/>
          </p:nvSpPr>
          <p:spPr>
            <a:xfrm>
              <a:off x="3580261" y="3350976"/>
              <a:ext cx="836492" cy="156047"/>
            </a:xfrm>
            <a:prstGeom prst="rect">
              <a:avLst/>
            </a:prstGeom>
            <a:noFill/>
          </p:spPr>
          <p:txBody>
            <a:bodyPr wrap="none" lIns="0" tIns="0" rIns="0" bIns="0" rtlCol="0">
              <a:noAutofit/>
            </a:bodyPr>
            <a:lstStyle/>
            <a:p>
              <a:pPr algn="l" defTabSz="228600">
                <a:spcAft>
                  <a:spcPts val="1200"/>
                </a:spcAft>
              </a:pPr>
              <a:r>
                <a:rPr lang="en-US" sz="1050"/>
                <a:t>Orchestrator (Controller)</a:t>
              </a:r>
              <a:endParaRPr lang="en-US" sz="1050" noProof="0"/>
            </a:p>
          </p:txBody>
        </p:sp>
        <p:sp>
          <p:nvSpPr>
            <p:cNvPr id="33" name="Rectangle 32">
              <a:extLst>
                <a:ext uri="{FF2B5EF4-FFF2-40B4-BE49-F238E27FC236}">
                  <a16:creationId xmlns:a16="http://schemas.microsoft.com/office/drawing/2014/main" id="{0BCD782D-6068-CFE9-15C1-3B82FD587222}"/>
                </a:ext>
              </a:extLst>
            </p:cNvPr>
            <p:cNvSpPr/>
            <p:nvPr/>
          </p:nvSpPr>
          <p:spPr>
            <a:xfrm>
              <a:off x="5570229" y="2330806"/>
              <a:ext cx="2126066" cy="959505"/>
            </a:xfrm>
            <a:prstGeom prst="rect">
              <a:avLst/>
            </a:prstGeom>
            <a:noFill/>
            <a:ln w="31750">
              <a:solidFill>
                <a:srgbClr val="7030A0"/>
              </a:solidFill>
              <a:prstDash val="dash"/>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34" name="TextBox 33">
              <a:extLst>
                <a:ext uri="{FF2B5EF4-FFF2-40B4-BE49-F238E27FC236}">
                  <a16:creationId xmlns:a16="http://schemas.microsoft.com/office/drawing/2014/main" id="{A77D84F9-10C1-AC55-82ED-198CDB57FFA7}"/>
                </a:ext>
              </a:extLst>
            </p:cNvPr>
            <p:cNvSpPr txBox="1"/>
            <p:nvPr/>
          </p:nvSpPr>
          <p:spPr>
            <a:xfrm>
              <a:off x="5607853" y="3374282"/>
              <a:ext cx="3846878" cy="177254"/>
            </a:xfrm>
            <a:prstGeom prst="rect">
              <a:avLst/>
            </a:prstGeom>
            <a:noFill/>
          </p:spPr>
          <p:txBody>
            <a:bodyPr wrap="none" lIns="0" tIns="0" rIns="0" bIns="0" rtlCol="0">
              <a:noAutofit/>
            </a:bodyPr>
            <a:lstStyle/>
            <a:p>
              <a:pPr algn="l" defTabSz="228600">
                <a:spcAft>
                  <a:spcPts val="1200"/>
                </a:spcAft>
              </a:pPr>
              <a:r>
                <a:rPr lang="en-US" sz="1050"/>
                <a:t>Software Planner (Super Agent)</a:t>
              </a:r>
              <a:endParaRPr lang="en-US" sz="1050" noProof="0"/>
            </a:p>
          </p:txBody>
        </p:sp>
        <p:grpSp>
          <p:nvGrpSpPr>
            <p:cNvPr id="64" name="Group 63">
              <a:extLst>
                <a:ext uri="{FF2B5EF4-FFF2-40B4-BE49-F238E27FC236}">
                  <a16:creationId xmlns:a16="http://schemas.microsoft.com/office/drawing/2014/main" id="{80401B54-2262-5EB1-70E8-05EFB6BE53C2}"/>
                </a:ext>
              </a:extLst>
            </p:cNvPr>
            <p:cNvGrpSpPr/>
            <p:nvPr/>
          </p:nvGrpSpPr>
          <p:grpSpPr>
            <a:xfrm>
              <a:off x="7696295" y="4030618"/>
              <a:ext cx="1599175" cy="1173121"/>
              <a:chOff x="5478882" y="4060128"/>
              <a:chExt cx="1599175" cy="1173121"/>
            </a:xfrm>
          </p:grpSpPr>
          <p:sp>
            <p:nvSpPr>
              <p:cNvPr id="43" name="Rectangle 42">
                <a:extLst>
                  <a:ext uri="{FF2B5EF4-FFF2-40B4-BE49-F238E27FC236}">
                    <a16:creationId xmlns:a16="http://schemas.microsoft.com/office/drawing/2014/main" id="{D34BE6AC-1D47-9C10-6F7B-F9D6B989FE03}"/>
                  </a:ext>
                </a:extLst>
              </p:cNvPr>
              <p:cNvSpPr/>
              <p:nvPr/>
            </p:nvSpPr>
            <p:spPr>
              <a:xfrm>
                <a:off x="5478882" y="4060128"/>
                <a:ext cx="1599175" cy="959505"/>
              </a:xfrm>
              <a:prstGeom prst="rect">
                <a:avLst/>
              </a:prstGeom>
              <a:noFill/>
              <a:ln w="31750">
                <a:solidFill>
                  <a:srgbClr val="92D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44" name="TextBox 43">
                <a:extLst>
                  <a:ext uri="{FF2B5EF4-FFF2-40B4-BE49-F238E27FC236}">
                    <a16:creationId xmlns:a16="http://schemas.microsoft.com/office/drawing/2014/main" id="{3D8F60F7-561C-72DC-93BE-9EB1A354116C}"/>
                  </a:ext>
                </a:extLst>
              </p:cNvPr>
              <p:cNvSpPr txBox="1"/>
              <p:nvPr/>
            </p:nvSpPr>
            <p:spPr>
              <a:xfrm>
                <a:off x="5631124" y="5077202"/>
                <a:ext cx="836492" cy="156047"/>
              </a:xfrm>
              <a:prstGeom prst="rect">
                <a:avLst/>
              </a:prstGeom>
              <a:noFill/>
            </p:spPr>
            <p:txBody>
              <a:bodyPr wrap="none" lIns="0" tIns="0" rIns="0" bIns="0" rtlCol="0">
                <a:noAutofit/>
              </a:bodyPr>
              <a:lstStyle/>
              <a:p>
                <a:pPr algn="l" defTabSz="228600">
                  <a:spcAft>
                    <a:spcPts val="1200"/>
                  </a:spcAft>
                </a:pPr>
                <a:r>
                  <a:rPr lang="en-US" sz="1050"/>
                  <a:t>Tester ( Worker Agent)</a:t>
                </a:r>
                <a:endParaRPr lang="en-US" sz="1050" noProof="0"/>
              </a:p>
            </p:txBody>
          </p:sp>
        </p:grpSp>
        <p:grpSp>
          <p:nvGrpSpPr>
            <p:cNvPr id="65" name="Group 64">
              <a:extLst>
                <a:ext uri="{FF2B5EF4-FFF2-40B4-BE49-F238E27FC236}">
                  <a16:creationId xmlns:a16="http://schemas.microsoft.com/office/drawing/2014/main" id="{2AC12019-D64B-4CBF-15F4-2586FA38584F}"/>
                </a:ext>
              </a:extLst>
            </p:cNvPr>
            <p:cNvGrpSpPr/>
            <p:nvPr/>
          </p:nvGrpSpPr>
          <p:grpSpPr>
            <a:xfrm>
              <a:off x="5424222" y="4413147"/>
              <a:ext cx="1599175" cy="1187439"/>
              <a:chOff x="3136172" y="4016300"/>
              <a:chExt cx="1599175" cy="1187439"/>
            </a:xfrm>
          </p:grpSpPr>
          <p:sp>
            <p:nvSpPr>
              <p:cNvPr id="53" name="Rectangle 52">
                <a:extLst>
                  <a:ext uri="{FF2B5EF4-FFF2-40B4-BE49-F238E27FC236}">
                    <a16:creationId xmlns:a16="http://schemas.microsoft.com/office/drawing/2014/main" id="{5441A6F1-BAEF-B242-EF81-3081EC9CFF23}"/>
                  </a:ext>
                </a:extLst>
              </p:cNvPr>
              <p:cNvSpPr/>
              <p:nvPr/>
            </p:nvSpPr>
            <p:spPr>
              <a:xfrm>
                <a:off x="3136172" y="4016300"/>
                <a:ext cx="1599175" cy="959505"/>
              </a:xfrm>
              <a:prstGeom prst="rect">
                <a:avLst/>
              </a:prstGeom>
              <a:noFill/>
              <a:ln w="31750">
                <a:solidFill>
                  <a:srgbClr val="92D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56" name="TextBox 55">
                <a:extLst>
                  <a:ext uri="{FF2B5EF4-FFF2-40B4-BE49-F238E27FC236}">
                    <a16:creationId xmlns:a16="http://schemas.microsoft.com/office/drawing/2014/main" id="{5CA59CC7-9FF3-A423-899D-D64D06E0F492}"/>
                  </a:ext>
                </a:extLst>
              </p:cNvPr>
              <p:cNvSpPr txBox="1"/>
              <p:nvPr/>
            </p:nvSpPr>
            <p:spPr>
              <a:xfrm>
                <a:off x="3252982" y="5047692"/>
                <a:ext cx="836492" cy="156047"/>
              </a:xfrm>
              <a:prstGeom prst="rect">
                <a:avLst/>
              </a:prstGeom>
              <a:noFill/>
            </p:spPr>
            <p:txBody>
              <a:bodyPr wrap="none" lIns="0" tIns="0" rIns="0" bIns="0" rtlCol="0">
                <a:noAutofit/>
              </a:bodyPr>
              <a:lstStyle/>
              <a:p>
                <a:pPr algn="l" defTabSz="228600">
                  <a:spcAft>
                    <a:spcPts val="1200"/>
                  </a:spcAft>
                </a:pPr>
                <a:r>
                  <a:rPr lang="en-US" sz="1050"/>
                  <a:t>Utility (Worker Agent)</a:t>
                </a:r>
                <a:endParaRPr lang="en-US" sz="1050" noProof="0"/>
              </a:p>
            </p:txBody>
          </p:sp>
          <p:pic>
            <p:nvPicPr>
              <p:cNvPr id="58" name="Graphic 57" descr="Programmer female with solid fill">
                <a:extLst>
                  <a:ext uri="{FF2B5EF4-FFF2-40B4-BE49-F238E27FC236}">
                    <a16:creationId xmlns:a16="http://schemas.microsoft.com/office/drawing/2014/main" id="{51B70333-614C-3171-7D63-67B960B4938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168224" y="4168762"/>
                <a:ext cx="601301" cy="601301"/>
              </a:xfrm>
              <a:prstGeom prst="rect">
                <a:avLst/>
              </a:prstGeom>
            </p:spPr>
          </p:pic>
        </p:grpSp>
        <p:pic>
          <p:nvPicPr>
            <p:cNvPr id="60" name="Graphic 59" descr="Call center with solid fill">
              <a:extLst>
                <a:ext uri="{FF2B5EF4-FFF2-40B4-BE49-F238E27FC236}">
                  <a16:creationId xmlns:a16="http://schemas.microsoft.com/office/drawing/2014/main" id="{886285AC-8207-4B2F-63C6-D0EE8900301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532550" y="2574282"/>
              <a:ext cx="535224" cy="535224"/>
            </a:xfrm>
            <a:prstGeom prst="rect">
              <a:avLst/>
            </a:prstGeom>
          </p:spPr>
        </p:pic>
        <p:pic>
          <p:nvPicPr>
            <p:cNvPr id="62" name="Graphic 61" descr="Scientist male with solid fill">
              <a:extLst>
                <a:ext uri="{FF2B5EF4-FFF2-40B4-BE49-F238E27FC236}">
                  <a16:creationId xmlns:a16="http://schemas.microsoft.com/office/drawing/2014/main" id="{6534A942-4F1B-FEA1-70FA-F5982DEA949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806680" y="4222520"/>
              <a:ext cx="560395" cy="560395"/>
            </a:xfrm>
            <a:prstGeom prst="rect">
              <a:avLst/>
            </a:prstGeom>
          </p:spPr>
        </p:pic>
        <p:grpSp>
          <p:nvGrpSpPr>
            <p:cNvPr id="66" name="Group 65">
              <a:extLst>
                <a:ext uri="{FF2B5EF4-FFF2-40B4-BE49-F238E27FC236}">
                  <a16:creationId xmlns:a16="http://schemas.microsoft.com/office/drawing/2014/main" id="{A86227BB-6AC0-0D38-7DF0-88BEA873F778}"/>
                </a:ext>
              </a:extLst>
            </p:cNvPr>
            <p:cNvGrpSpPr/>
            <p:nvPr/>
          </p:nvGrpSpPr>
          <p:grpSpPr>
            <a:xfrm>
              <a:off x="2757907" y="3812157"/>
              <a:ext cx="2176129" cy="1201979"/>
              <a:chOff x="5989992" y="2792929"/>
              <a:chExt cx="2176129" cy="1201979"/>
            </a:xfrm>
          </p:grpSpPr>
          <p:sp>
            <p:nvSpPr>
              <p:cNvPr id="67" name="Rectangle 66">
                <a:extLst>
                  <a:ext uri="{FF2B5EF4-FFF2-40B4-BE49-F238E27FC236}">
                    <a16:creationId xmlns:a16="http://schemas.microsoft.com/office/drawing/2014/main" id="{8EB33393-044E-F533-2A4F-37C4205ECCE5}"/>
                  </a:ext>
                </a:extLst>
              </p:cNvPr>
              <p:cNvSpPr/>
              <p:nvPr/>
            </p:nvSpPr>
            <p:spPr>
              <a:xfrm>
                <a:off x="6217648" y="2792929"/>
                <a:ext cx="1599175" cy="959505"/>
              </a:xfrm>
              <a:prstGeom prst="rect">
                <a:avLst/>
              </a:prstGeom>
              <a:noFill/>
              <a:ln w="31750">
                <a:solidFill>
                  <a:srgbClr val="92D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68" name="TextBox 67">
                <a:extLst>
                  <a:ext uri="{FF2B5EF4-FFF2-40B4-BE49-F238E27FC236}">
                    <a16:creationId xmlns:a16="http://schemas.microsoft.com/office/drawing/2014/main" id="{5A573996-8C3E-F292-A134-0A7A36908D49}"/>
                  </a:ext>
                </a:extLst>
              </p:cNvPr>
              <p:cNvSpPr txBox="1"/>
              <p:nvPr/>
            </p:nvSpPr>
            <p:spPr>
              <a:xfrm>
                <a:off x="5989992" y="3817654"/>
                <a:ext cx="2176129" cy="177254"/>
              </a:xfrm>
              <a:prstGeom prst="rect">
                <a:avLst/>
              </a:prstGeom>
              <a:noFill/>
            </p:spPr>
            <p:txBody>
              <a:bodyPr wrap="none" lIns="0" tIns="0" rIns="0" bIns="0" rtlCol="0">
                <a:noAutofit/>
              </a:bodyPr>
              <a:lstStyle/>
              <a:p>
                <a:pPr algn="l" defTabSz="228600">
                  <a:spcAft>
                    <a:spcPts val="1200"/>
                  </a:spcAft>
                </a:pPr>
                <a:r>
                  <a:rPr lang="en-US" sz="1050"/>
                  <a:t>Secure Code (Worker Agent)</a:t>
                </a:r>
                <a:endParaRPr lang="en-US" sz="1050" noProof="0"/>
              </a:p>
            </p:txBody>
          </p:sp>
        </p:grpSp>
        <p:cxnSp>
          <p:nvCxnSpPr>
            <p:cNvPr id="70" name="Straight Arrow Connector 69">
              <a:extLst>
                <a:ext uri="{FF2B5EF4-FFF2-40B4-BE49-F238E27FC236}">
                  <a16:creationId xmlns:a16="http://schemas.microsoft.com/office/drawing/2014/main" id="{9E9A8E92-8C40-FDBF-943F-366144549890}"/>
                </a:ext>
              </a:extLst>
            </p:cNvPr>
            <p:cNvCxnSpPr/>
            <p:nvPr/>
          </p:nvCxnSpPr>
          <p:spPr>
            <a:xfrm>
              <a:off x="2769755" y="1918951"/>
              <a:ext cx="689318" cy="46335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E9EC3A8B-E992-F8F0-6514-5AA009907E90}"/>
                </a:ext>
              </a:extLst>
            </p:cNvPr>
            <p:cNvCxnSpPr/>
            <p:nvPr/>
          </p:nvCxnSpPr>
          <p:spPr>
            <a:xfrm>
              <a:off x="2939327" y="1820986"/>
              <a:ext cx="689318" cy="463351"/>
            </a:xfrm>
            <a:prstGeom prst="straightConnector1">
              <a:avLst/>
            </a:prstGeom>
            <a:ln w="28575">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E59B88F3-9828-E2C7-2383-7D2495579939}"/>
                </a:ext>
              </a:extLst>
            </p:cNvPr>
            <p:cNvSpPr txBox="1"/>
            <p:nvPr/>
          </p:nvSpPr>
          <p:spPr>
            <a:xfrm>
              <a:off x="2480107" y="2254423"/>
              <a:ext cx="689318" cy="177255"/>
            </a:xfrm>
            <a:prstGeom prst="rect">
              <a:avLst/>
            </a:prstGeom>
            <a:noFill/>
          </p:spPr>
          <p:txBody>
            <a:bodyPr wrap="none" lIns="0" tIns="0" rIns="0" bIns="0" rtlCol="0">
              <a:noAutofit/>
            </a:bodyPr>
            <a:lstStyle/>
            <a:p>
              <a:pPr algn="l" defTabSz="228600">
                <a:spcAft>
                  <a:spcPts val="1200"/>
                </a:spcAft>
              </a:pPr>
              <a:r>
                <a:rPr lang="en-US" sz="1000"/>
                <a:t>User Query</a:t>
              </a:r>
              <a:endParaRPr lang="en-US" sz="1000" noProof="0"/>
            </a:p>
          </p:txBody>
        </p:sp>
        <p:sp>
          <p:nvSpPr>
            <p:cNvPr id="73" name="TextBox 72">
              <a:extLst>
                <a:ext uri="{FF2B5EF4-FFF2-40B4-BE49-F238E27FC236}">
                  <a16:creationId xmlns:a16="http://schemas.microsoft.com/office/drawing/2014/main" id="{689497FD-5962-CE20-1891-8517775EDA1F}"/>
                </a:ext>
              </a:extLst>
            </p:cNvPr>
            <p:cNvSpPr txBox="1"/>
            <p:nvPr/>
          </p:nvSpPr>
          <p:spPr>
            <a:xfrm>
              <a:off x="3573634" y="2012678"/>
              <a:ext cx="533058" cy="121576"/>
            </a:xfrm>
            <a:prstGeom prst="rect">
              <a:avLst/>
            </a:prstGeom>
            <a:noFill/>
          </p:spPr>
          <p:txBody>
            <a:bodyPr wrap="none" lIns="0" tIns="0" rIns="0" bIns="0" rtlCol="0">
              <a:noAutofit/>
            </a:bodyPr>
            <a:lstStyle/>
            <a:p>
              <a:pPr algn="l" defTabSz="228600">
                <a:spcAft>
                  <a:spcPts val="1200"/>
                </a:spcAft>
              </a:pPr>
              <a:r>
                <a:rPr lang="en-US" sz="1050" noProof="0"/>
                <a:t>Answer</a:t>
              </a:r>
            </a:p>
          </p:txBody>
        </p:sp>
        <p:sp>
          <p:nvSpPr>
            <p:cNvPr id="4" name="TextBox 3">
              <a:extLst>
                <a:ext uri="{FF2B5EF4-FFF2-40B4-BE49-F238E27FC236}">
                  <a16:creationId xmlns:a16="http://schemas.microsoft.com/office/drawing/2014/main" id="{0B7A4235-DA93-1285-D356-AA2704201ECC}"/>
                </a:ext>
              </a:extLst>
            </p:cNvPr>
            <p:cNvSpPr txBox="1"/>
            <p:nvPr/>
          </p:nvSpPr>
          <p:spPr>
            <a:xfrm>
              <a:off x="4026833" y="2593039"/>
              <a:ext cx="836492" cy="757937"/>
            </a:xfrm>
            <a:prstGeom prst="rect">
              <a:avLst/>
            </a:prstGeom>
            <a:noFill/>
          </p:spPr>
          <p:txBody>
            <a:bodyPr wrap="square" lIns="0" tIns="0" rIns="0" bIns="0" rtlCol="0">
              <a:normAutofit/>
            </a:bodyPr>
            <a:lstStyle/>
            <a:p>
              <a:pPr algn="l" defTabSz="228600">
                <a:spcAft>
                  <a:spcPts val="1200"/>
                </a:spcAft>
              </a:pPr>
              <a:r>
                <a:rPr lang="en-US" sz="1000" noProof="0"/>
                <a:t>The controller agent plans the task on the user’s behalf.</a:t>
              </a:r>
            </a:p>
          </p:txBody>
        </p:sp>
        <p:sp>
          <p:nvSpPr>
            <p:cNvPr id="5" name="TextBox 4">
              <a:extLst>
                <a:ext uri="{FF2B5EF4-FFF2-40B4-BE49-F238E27FC236}">
                  <a16:creationId xmlns:a16="http://schemas.microsoft.com/office/drawing/2014/main" id="{EF19760E-AF2C-D6F7-45F1-CAEACD0F3AE2}"/>
                </a:ext>
              </a:extLst>
            </p:cNvPr>
            <p:cNvSpPr txBox="1"/>
            <p:nvPr/>
          </p:nvSpPr>
          <p:spPr>
            <a:xfrm>
              <a:off x="6416910" y="2589210"/>
              <a:ext cx="1144472" cy="520296"/>
            </a:xfrm>
            <a:prstGeom prst="rect">
              <a:avLst/>
            </a:prstGeom>
            <a:noFill/>
          </p:spPr>
          <p:txBody>
            <a:bodyPr wrap="square" lIns="0" tIns="0" rIns="0" bIns="0" rtlCol="0">
              <a:normAutofit fontScale="62500" lnSpcReduction="20000"/>
            </a:bodyPr>
            <a:lstStyle/>
            <a:p>
              <a:pPr algn="l" defTabSz="228600">
                <a:spcAft>
                  <a:spcPts val="1200"/>
                </a:spcAft>
              </a:pPr>
              <a:r>
                <a:rPr lang="en-US" noProof="0"/>
                <a:t>The software planner builds a sets of tasks based on capabilities.</a:t>
              </a:r>
            </a:p>
          </p:txBody>
        </p:sp>
        <p:pic>
          <p:nvPicPr>
            <p:cNvPr id="9" name="Graphic 8" descr="Aspiration outline">
              <a:extLst>
                <a:ext uri="{FF2B5EF4-FFF2-40B4-BE49-F238E27FC236}">
                  <a16:creationId xmlns:a16="http://schemas.microsoft.com/office/drawing/2014/main" id="{BFAEC491-68C2-3B95-CF69-A7B8D8DA86A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651050" y="2452519"/>
              <a:ext cx="731534" cy="731534"/>
            </a:xfrm>
            <a:prstGeom prst="rect">
              <a:avLst/>
            </a:prstGeom>
          </p:spPr>
        </p:pic>
        <p:cxnSp>
          <p:nvCxnSpPr>
            <p:cNvPr id="11" name="Straight Arrow Connector 10">
              <a:extLst>
                <a:ext uri="{FF2B5EF4-FFF2-40B4-BE49-F238E27FC236}">
                  <a16:creationId xmlns:a16="http://schemas.microsoft.com/office/drawing/2014/main" id="{7029916D-07D0-BB0F-336A-63D178564E29}"/>
                </a:ext>
              </a:extLst>
            </p:cNvPr>
            <p:cNvCxnSpPr>
              <a:cxnSpLocks/>
            </p:cNvCxnSpPr>
            <p:nvPr/>
          </p:nvCxnSpPr>
          <p:spPr>
            <a:xfrm>
              <a:off x="6205928" y="3551536"/>
              <a:ext cx="0" cy="79882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8" name="Straight Arrow Connector 17">
              <a:extLst>
                <a:ext uri="{FF2B5EF4-FFF2-40B4-BE49-F238E27FC236}">
                  <a16:creationId xmlns:a16="http://schemas.microsoft.com/office/drawing/2014/main" id="{BE174335-F76B-B17B-9EAB-869333ACEB21}"/>
                </a:ext>
              </a:extLst>
            </p:cNvPr>
            <p:cNvCxnSpPr>
              <a:cxnSpLocks/>
            </p:cNvCxnSpPr>
            <p:nvPr/>
          </p:nvCxnSpPr>
          <p:spPr>
            <a:xfrm flipV="1">
              <a:off x="6377524" y="3551536"/>
              <a:ext cx="0" cy="79882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1" name="TextBox 20">
              <a:extLst>
                <a:ext uri="{FF2B5EF4-FFF2-40B4-BE49-F238E27FC236}">
                  <a16:creationId xmlns:a16="http://schemas.microsoft.com/office/drawing/2014/main" id="{19A7D782-BB39-902E-D720-8A045C814D84}"/>
                </a:ext>
              </a:extLst>
            </p:cNvPr>
            <p:cNvSpPr txBox="1"/>
            <p:nvPr/>
          </p:nvSpPr>
          <p:spPr>
            <a:xfrm>
              <a:off x="5441430" y="3859967"/>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24" name="TextBox 23">
              <a:extLst>
                <a:ext uri="{FF2B5EF4-FFF2-40B4-BE49-F238E27FC236}">
                  <a16:creationId xmlns:a16="http://schemas.microsoft.com/office/drawing/2014/main" id="{299E9F41-C485-1CF4-9981-840D26EBB1F7}"/>
                </a:ext>
              </a:extLst>
            </p:cNvPr>
            <p:cNvSpPr txBox="1"/>
            <p:nvPr/>
          </p:nvSpPr>
          <p:spPr>
            <a:xfrm>
              <a:off x="5140105" y="3931994"/>
              <a:ext cx="1276805" cy="124438"/>
            </a:xfrm>
            <a:prstGeom prst="rect">
              <a:avLst/>
            </a:prstGeom>
            <a:noFill/>
          </p:spPr>
          <p:txBody>
            <a:bodyPr wrap="square" lIns="0" tIns="0" rIns="0" bIns="0" rtlCol="0">
              <a:normAutofit fontScale="92500" lnSpcReduction="20000"/>
            </a:bodyPr>
            <a:lstStyle/>
            <a:p>
              <a:pPr algn="l" defTabSz="228600">
                <a:spcAft>
                  <a:spcPts val="1200"/>
                </a:spcAft>
              </a:pPr>
              <a:r>
                <a:rPr lang="en-US" sz="1200" noProof="0"/>
                <a:t>Feature Request</a:t>
              </a:r>
            </a:p>
          </p:txBody>
        </p:sp>
        <p:sp>
          <p:nvSpPr>
            <p:cNvPr id="26" name="TextBox 25">
              <a:extLst>
                <a:ext uri="{FF2B5EF4-FFF2-40B4-BE49-F238E27FC236}">
                  <a16:creationId xmlns:a16="http://schemas.microsoft.com/office/drawing/2014/main" id="{5F1BFE5A-DB01-38BD-6C42-2D93156BD983}"/>
                </a:ext>
              </a:extLst>
            </p:cNvPr>
            <p:cNvSpPr txBox="1"/>
            <p:nvPr/>
          </p:nvSpPr>
          <p:spPr>
            <a:xfrm>
              <a:off x="6473102" y="3935307"/>
              <a:ext cx="428045" cy="124438"/>
            </a:xfrm>
            <a:prstGeom prst="rect">
              <a:avLst/>
            </a:prstGeom>
            <a:noFill/>
          </p:spPr>
          <p:txBody>
            <a:bodyPr wrap="square" lIns="0" tIns="0" rIns="0" bIns="0" rtlCol="0">
              <a:normAutofit fontScale="62500" lnSpcReduction="20000"/>
            </a:bodyPr>
            <a:lstStyle/>
            <a:p>
              <a:pPr algn="l" defTabSz="228600">
                <a:spcAft>
                  <a:spcPts val="1200"/>
                </a:spcAft>
              </a:pPr>
              <a:r>
                <a:rPr lang="en-US" noProof="0"/>
                <a:t>Code</a:t>
              </a:r>
            </a:p>
          </p:txBody>
        </p:sp>
        <p:sp>
          <p:nvSpPr>
            <p:cNvPr id="27" name="TextBox 26">
              <a:extLst>
                <a:ext uri="{FF2B5EF4-FFF2-40B4-BE49-F238E27FC236}">
                  <a16:creationId xmlns:a16="http://schemas.microsoft.com/office/drawing/2014/main" id="{9AD1E22A-AD5D-4F0E-EEE1-929904D2D47E}"/>
                </a:ext>
              </a:extLst>
            </p:cNvPr>
            <p:cNvSpPr txBox="1"/>
            <p:nvPr/>
          </p:nvSpPr>
          <p:spPr>
            <a:xfrm>
              <a:off x="7351046" y="3693315"/>
              <a:ext cx="668755" cy="177254"/>
            </a:xfrm>
            <a:prstGeom prst="rect">
              <a:avLst/>
            </a:prstGeom>
            <a:noFill/>
          </p:spPr>
          <p:txBody>
            <a:bodyPr wrap="square" lIns="0" tIns="0" rIns="0" bIns="0" rtlCol="0">
              <a:normAutofit/>
            </a:bodyPr>
            <a:lstStyle/>
            <a:p>
              <a:pPr algn="l" defTabSz="228600">
                <a:spcAft>
                  <a:spcPts val="1200"/>
                </a:spcAft>
              </a:pPr>
              <a:r>
                <a:rPr lang="en-US" sz="1050" noProof="0"/>
                <a:t>Unit Tests</a:t>
              </a:r>
            </a:p>
          </p:txBody>
        </p:sp>
        <p:grpSp>
          <p:nvGrpSpPr>
            <p:cNvPr id="45" name="Group 44">
              <a:extLst>
                <a:ext uri="{FF2B5EF4-FFF2-40B4-BE49-F238E27FC236}">
                  <a16:creationId xmlns:a16="http://schemas.microsoft.com/office/drawing/2014/main" id="{FBB9E6A4-FAFE-56A4-939A-F191FAE31B23}"/>
                </a:ext>
              </a:extLst>
            </p:cNvPr>
            <p:cNvGrpSpPr/>
            <p:nvPr/>
          </p:nvGrpSpPr>
          <p:grpSpPr>
            <a:xfrm>
              <a:off x="6070489" y="4491637"/>
              <a:ext cx="882414" cy="799685"/>
              <a:chOff x="5988376" y="4485530"/>
              <a:chExt cx="882414" cy="799685"/>
            </a:xfrm>
          </p:grpSpPr>
          <p:sp>
            <p:nvSpPr>
              <p:cNvPr id="39" name="Rounded Rectangle 38">
                <a:extLst>
                  <a:ext uri="{FF2B5EF4-FFF2-40B4-BE49-F238E27FC236}">
                    <a16:creationId xmlns:a16="http://schemas.microsoft.com/office/drawing/2014/main" id="{1DDAB0BE-2C65-A96B-ADC6-1B447E836A68}"/>
                  </a:ext>
                </a:extLst>
              </p:cNvPr>
              <p:cNvSpPr/>
              <p:nvPr/>
            </p:nvSpPr>
            <p:spPr>
              <a:xfrm>
                <a:off x="5988376" y="4527616"/>
                <a:ext cx="882414" cy="757599"/>
              </a:xfrm>
              <a:prstGeom prst="roundRect">
                <a:avLst/>
              </a:prstGeom>
              <a:solidFill>
                <a:srgbClr val="92D050"/>
              </a:solidFill>
              <a:ln w="31750">
                <a:solidFill>
                  <a:srgbClr val="92D050"/>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b"/>
              <a:lstStyle/>
              <a:p>
                <a:pPr algn="ctr"/>
                <a:r>
                  <a:rPr lang="en-US"/>
                  <a:t>LLM</a:t>
                </a:r>
              </a:p>
            </p:txBody>
          </p:sp>
          <p:pic>
            <p:nvPicPr>
              <p:cNvPr id="42" name="Graphic 41" descr="Brain with solid fill">
                <a:extLst>
                  <a:ext uri="{FF2B5EF4-FFF2-40B4-BE49-F238E27FC236}">
                    <a16:creationId xmlns:a16="http://schemas.microsoft.com/office/drawing/2014/main" id="{DF36E6D2-F38F-26D7-BA96-418E1D5DDC0D}"/>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154154" y="4485530"/>
                <a:ext cx="490775" cy="490775"/>
              </a:xfrm>
              <a:prstGeom prst="rect">
                <a:avLst/>
              </a:prstGeom>
            </p:spPr>
          </p:pic>
        </p:grpSp>
        <p:grpSp>
          <p:nvGrpSpPr>
            <p:cNvPr id="46" name="Group 45">
              <a:extLst>
                <a:ext uri="{FF2B5EF4-FFF2-40B4-BE49-F238E27FC236}">
                  <a16:creationId xmlns:a16="http://schemas.microsoft.com/office/drawing/2014/main" id="{24543ABC-FD7F-A472-65DA-46BAA1C849B2}"/>
                </a:ext>
              </a:extLst>
            </p:cNvPr>
            <p:cNvGrpSpPr/>
            <p:nvPr/>
          </p:nvGrpSpPr>
          <p:grpSpPr>
            <a:xfrm>
              <a:off x="3630305" y="3882495"/>
              <a:ext cx="882414" cy="799685"/>
              <a:chOff x="5988376" y="4485530"/>
              <a:chExt cx="882414" cy="799685"/>
            </a:xfrm>
          </p:grpSpPr>
          <p:sp>
            <p:nvSpPr>
              <p:cNvPr id="47" name="Rounded Rectangle 46">
                <a:extLst>
                  <a:ext uri="{FF2B5EF4-FFF2-40B4-BE49-F238E27FC236}">
                    <a16:creationId xmlns:a16="http://schemas.microsoft.com/office/drawing/2014/main" id="{456BA27A-1325-DE19-216B-AE9CE492FAA6}"/>
                  </a:ext>
                </a:extLst>
              </p:cNvPr>
              <p:cNvSpPr/>
              <p:nvPr/>
            </p:nvSpPr>
            <p:spPr>
              <a:xfrm>
                <a:off x="5988376" y="4527616"/>
                <a:ext cx="882414" cy="757599"/>
              </a:xfrm>
              <a:prstGeom prst="roundRect">
                <a:avLst/>
              </a:prstGeom>
              <a:solidFill>
                <a:srgbClr val="92D050"/>
              </a:solidFill>
              <a:ln w="31750">
                <a:solidFill>
                  <a:srgbClr val="92D050"/>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b"/>
              <a:lstStyle/>
              <a:p>
                <a:pPr algn="ctr"/>
                <a:r>
                  <a:rPr lang="en-US"/>
                  <a:t>LLM</a:t>
                </a:r>
              </a:p>
            </p:txBody>
          </p:sp>
          <p:pic>
            <p:nvPicPr>
              <p:cNvPr id="48" name="Graphic 47" descr="Brain with solid fill">
                <a:extLst>
                  <a:ext uri="{FF2B5EF4-FFF2-40B4-BE49-F238E27FC236}">
                    <a16:creationId xmlns:a16="http://schemas.microsoft.com/office/drawing/2014/main" id="{B4F0BA47-80D4-07ED-0167-ECAD85767ED0}"/>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154154" y="4485530"/>
                <a:ext cx="490775" cy="490775"/>
              </a:xfrm>
              <a:prstGeom prst="rect">
                <a:avLst/>
              </a:prstGeom>
            </p:spPr>
          </p:pic>
        </p:grpSp>
        <p:grpSp>
          <p:nvGrpSpPr>
            <p:cNvPr id="49" name="Group 48">
              <a:extLst>
                <a:ext uri="{FF2B5EF4-FFF2-40B4-BE49-F238E27FC236}">
                  <a16:creationId xmlns:a16="http://schemas.microsoft.com/office/drawing/2014/main" id="{25772F3C-13BC-9C45-CD35-ACB0D376ED2A}"/>
                </a:ext>
              </a:extLst>
            </p:cNvPr>
            <p:cNvGrpSpPr/>
            <p:nvPr/>
          </p:nvGrpSpPr>
          <p:grpSpPr>
            <a:xfrm>
              <a:off x="8325353" y="4097719"/>
              <a:ext cx="882414" cy="799685"/>
              <a:chOff x="5988376" y="4485530"/>
              <a:chExt cx="882414" cy="799685"/>
            </a:xfrm>
          </p:grpSpPr>
          <p:sp>
            <p:nvSpPr>
              <p:cNvPr id="50" name="Rounded Rectangle 49">
                <a:extLst>
                  <a:ext uri="{FF2B5EF4-FFF2-40B4-BE49-F238E27FC236}">
                    <a16:creationId xmlns:a16="http://schemas.microsoft.com/office/drawing/2014/main" id="{64E0F9E3-A934-EC06-8CED-8722692DC2E1}"/>
                  </a:ext>
                </a:extLst>
              </p:cNvPr>
              <p:cNvSpPr/>
              <p:nvPr/>
            </p:nvSpPr>
            <p:spPr>
              <a:xfrm>
                <a:off x="5988376" y="4527616"/>
                <a:ext cx="882414" cy="757599"/>
              </a:xfrm>
              <a:prstGeom prst="roundRect">
                <a:avLst/>
              </a:prstGeom>
              <a:solidFill>
                <a:srgbClr val="92D050"/>
              </a:solidFill>
              <a:ln w="31750">
                <a:solidFill>
                  <a:srgbClr val="92D050"/>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b"/>
              <a:lstStyle/>
              <a:p>
                <a:pPr algn="ctr"/>
                <a:r>
                  <a:rPr lang="en-US"/>
                  <a:t>LLM</a:t>
                </a:r>
              </a:p>
            </p:txBody>
          </p:sp>
          <p:pic>
            <p:nvPicPr>
              <p:cNvPr id="51" name="Graphic 50" descr="Brain with solid fill">
                <a:extLst>
                  <a:ext uri="{FF2B5EF4-FFF2-40B4-BE49-F238E27FC236}">
                    <a16:creationId xmlns:a16="http://schemas.microsoft.com/office/drawing/2014/main" id="{3D77A636-BADA-945C-18F0-27DFB83D21C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154154" y="4485530"/>
                <a:ext cx="490775" cy="490775"/>
              </a:xfrm>
              <a:prstGeom prst="rect">
                <a:avLst/>
              </a:prstGeom>
            </p:spPr>
          </p:pic>
        </p:grpSp>
        <p:pic>
          <p:nvPicPr>
            <p:cNvPr id="54" name="Graphic 53" descr="Shield Tick with solid fill">
              <a:extLst>
                <a:ext uri="{FF2B5EF4-FFF2-40B4-BE49-F238E27FC236}">
                  <a16:creationId xmlns:a16="http://schemas.microsoft.com/office/drawing/2014/main" id="{36C9A784-CDEA-46A4-0CFC-EB9D5BCD9C33}"/>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2976832" y="3946668"/>
              <a:ext cx="679818" cy="679818"/>
            </a:xfrm>
            <a:prstGeom prst="rect">
              <a:avLst/>
            </a:prstGeom>
          </p:spPr>
        </p:pic>
        <p:cxnSp>
          <p:nvCxnSpPr>
            <p:cNvPr id="55" name="Straight Arrow Connector 54">
              <a:extLst>
                <a:ext uri="{FF2B5EF4-FFF2-40B4-BE49-F238E27FC236}">
                  <a16:creationId xmlns:a16="http://schemas.microsoft.com/office/drawing/2014/main" id="{3BF07935-3CEF-DB7D-7D5F-88791F75B070}"/>
                </a:ext>
              </a:extLst>
            </p:cNvPr>
            <p:cNvCxnSpPr>
              <a:cxnSpLocks/>
            </p:cNvCxnSpPr>
            <p:nvPr/>
          </p:nvCxnSpPr>
          <p:spPr>
            <a:xfrm flipH="1" flipV="1">
              <a:off x="7712493" y="3350976"/>
              <a:ext cx="554290" cy="62207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61" name="Straight Arrow Connector 60">
              <a:extLst>
                <a:ext uri="{FF2B5EF4-FFF2-40B4-BE49-F238E27FC236}">
                  <a16:creationId xmlns:a16="http://schemas.microsoft.com/office/drawing/2014/main" id="{09F29760-AEB4-59CC-19A1-19BEB5D03AB5}"/>
                </a:ext>
              </a:extLst>
            </p:cNvPr>
            <p:cNvCxnSpPr>
              <a:cxnSpLocks/>
            </p:cNvCxnSpPr>
            <p:nvPr/>
          </p:nvCxnSpPr>
          <p:spPr>
            <a:xfrm>
              <a:off x="7778275" y="3199107"/>
              <a:ext cx="668755" cy="76187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78" name="TextBox 77">
              <a:extLst>
                <a:ext uri="{FF2B5EF4-FFF2-40B4-BE49-F238E27FC236}">
                  <a16:creationId xmlns:a16="http://schemas.microsoft.com/office/drawing/2014/main" id="{EEB0A0BC-D649-C5E2-9812-5428D8FE83CA}"/>
                </a:ext>
              </a:extLst>
            </p:cNvPr>
            <p:cNvSpPr txBox="1"/>
            <p:nvPr/>
          </p:nvSpPr>
          <p:spPr>
            <a:xfrm>
              <a:off x="8188557" y="3505061"/>
              <a:ext cx="428045" cy="124438"/>
            </a:xfrm>
            <a:prstGeom prst="rect">
              <a:avLst/>
            </a:prstGeom>
            <a:noFill/>
          </p:spPr>
          <p:txBody>
            <a:bodyPr wrap="square" lIns="0" tIns="0" rIns="0" bIns="0" rtlCol="0">
              <a:normAutofit fontScale="62500" lnSpcReduction="20000"/>
            </a:bodyPr>
            <a:lstStyle/>
            <a:p>
              <a:pPr algn="l" defTabSz="228600">
                <a:spcAft>
                  <a:spcPts val="1200"/>
                </a:spcAft>
              </a:pPr>
              <a:r>
                <a:rPr lang="en-US" noProof="0"/>
                <a:t>Code</a:t>
              </a:r>
            </a:p>
          </p:txBody>
        </p:sp>
        <p:cxnSp>
          <p:nvCxnSpPr>
            <p:cNvPr id="79" name="Straight Arrow Connector 78">
              <a:extLst>
                <a:ext uri="{FF2B5EF4-FFF2-40B4-BE49-F238E27FC236}">
                  <a16:creationId xmlns:a16="http://schemas.microsoft.com/office/drawing/2014/main" id="{7C3C872A-D010-9121-8427-95CC0484999F}"/>
                </a:ext>
              </a:extLst>
            </p:cNvPr>
            <p:cNvCxnSpPr>
              <a:cxnSpLocks/>
            </p:cNvCxnSpPr>
            <p:nvPr/>
          </p:nvCxnSpPr>
          <p:spPr>
            <a:xfrm flipH="1">
              <a:off x="5041065" y="2873198"/>
              <a:ext cx="499967"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89" name="Straight Arrow Connector 88">
              <a:extLst>
                <a:ext uri="{FF2B5EF4-FFF2-40B4-BE49-F238E27FC236}">
                  <a16:creationId xmlns:a16="http://schemas.microsoft.com/office/drawing/2014/main" id="{3E18BF0F-A8E2-71D3-08E8-27535213D693}"/>
                </a:ext>
              </a:extLst>
            </p:cNvPr>
            <p:cNvCxnSpPr>
              <a:cxnSpLocks/>
            </p:cNvCxnSpPr>
            <p:nvPr/>
          </p:nvCxnSpPr>
          <p:spPr>
            <a:xfrm>
              <a:off x="5027394" y="2984582"/>
              <a:ext cx="542835"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91" name="TextBox 90">
              <a:extLst>
                <a:ext uri="{FF2B5EF4-FFF2-40B4-BE49-F238E27FC236}">
                  <a16:creationId xmlns:a16="http://schemas.microsoft.com/office/drawing/2014/main" id="{6741D8DF-67A0-EA7F-3E27-12681F99FC20}"/>
                </a:ext>
              </a:extLst>
            </p:cNvPr>
            <p:cNvSpPr txBox="1"/>
            <p:nvPr/>
          </p:nvSpPr>
          <p:spPr>
            <a:xfrm>
              <a:off x="5104231" y="2724920"/>
              <a:ext cx="428045" cy="124438"/>
            </a:xfrm>
            <a:prstGeom prst="rect">
              <a:avLst/>
            </a:prstGeom>
            <a:noFill/>
          </p:spPr>
          <p:txBody>
            <a:bodyPr wrap="square" lIns="0" tIns="0" rIns="0" bIns="0" rtlCol="0">
              <a:normAutofit fontScale="62500" lnSpcReduction="20000"/>
            </a:bodyPr>
            <a:lstStyle/>
            <a:p>
              <a:pPr algn="l" defTabSz="228600">
                <a:spcAft>
                  <a:spcPts val="1200"/>
                </a:spcAft>
              </a:pPr>
              <a:r>
                <a:rPr lang="en-US" noProof="0"/>
                <a:t>Code</a:t>
              </a:r>
            </a:p>
          </p:txBody>
        </p:sp>
        <p:sp>
          <p:nvSpPr>
            <p:cNvPr id="92" name="TextBox 91">
              <a:extLst>
                <a:ext uri="{FF2B5EF4-FFF2-40B4-BE49-F238E27FC236}">
                  <a16:creationId xmlns:a16="http://schemas.microsoft.com/office/drawing/2014/main" id="{5AD8EAF2-82D1-4922-1FC2-B3E68035552B}"/>
                </a:ext>
              </a:extLst>
            </p:cNvPr>
            <p:cNvSpPr txBox="1"/>
            <p:nvPr/>
          </p:nvSpPr>
          <p:spPr>
            <a:xfrm>
              <a:off x="5077025" y="3038502"/>
              <a:ext cx="428045" cy="124438"/>
            </a:xfrm>
            <a:prstGeom prst="rect">
              <a:avLst/>
            </a:prstGeom>
            <a:noFill/>
          </p:spPr>
          <p:txBody>
            <a:bodyPr wrap="square" lIns="0" tIns="0" rIns="0" bIns="0" rtlCol="0">
              <a:normAutofit fontScale="62500" lnSpcReduction="20000"/>
            </a:bodyPr>
            <a:lstStyle/>
            <a:p>
              <a:pPr algn="l" defTabSz="228600">
                <a:spcAft>
                  <a:spcPts val="1200"/>
                </a:spcAft>
              </a:pPr>
              <a:r>
                <a:rPr lang="en-US" noProof="0"/>
                <a:t>Criteria</a:t>
              </a:r>
            </a:p>
          </p:txBody>
        </p:sp>
        <p:cxnSp>
          <p:nvCxnSpPr>
            <p:cNvPr id="99" name="Curved Connector 98">
              <a:extLst>
                <a:ext uri="{FF2B5EF4-FFF2-40B4-BE49-F238E27FC236}">
                  <a16:creationId xmlns:a16="http://schemas.microsoft.com/office/drawing/2014/main" id="{F61E8FD5-CF8A-5EA9-A640-1B42B92604A3}"/>
                </a:ext>
              </a:extLst>
            </p:cNvPr>
            <p:cNvCxnSpPr>
              <a:stCxn id="22" idx="1"/>
              <a:endCxn id="67" idx="1"/>
            </p:cNvCxnSpPr>
            <p:nvPr/>
          </p:nvCxnSpPr>
          <p:spPr>
            <a:xfrm rot="10800000" flipV="1">
              <a:off x="2985564" y="2880790"/>
              <a:ext cx="513093" cy="1411119"/>
            </a:xfrm>
            <a:prstGeom prst="curvedConnector3">
              <a:avLst>
                <a:gd name="adj1" fmla="val 163543"/>
              </a:avLst>
            </a:prstGeom>
            <a:ln>
              <a:tailEnd type="triangle"/>
            </a:ln>
          </p:spPr>
          <p:style>
            <a:lnRef idx="1">
              <a:schemeClr val="dk1"/>
            </a:lnRef>
            <a:fillRef idx="0">
              <a:schemeClr val="dk1"/>
            </a:fillRef>
            <a:effectRef idx="0">
              <a:schemeClr val="dk1"/>
            </a:effectRef>
            <a:fontRef idx="minor">
              <a:schemeClr val="tx1"/>
            </a:fontRef>
          </p:style>
        </p:cxnSp>
        <p:sp>
          <p:nvSpPr>
            <p:cNvPr id="100" name="TextBox 99">
              <a:extLst>
                <a:ext uri="{FF2B5EF4-FFF2-40B4-BE49-F238E27FC236}">
                  <a16:creationId xmlns:a16="http://schemas.microsoft.com/office/drawing/2014/main" id="{08294498-C604-89BB-D01F-A1AC91810303}"/>
                </a:ext>
              </a:extLst>
            </p:cNvPr>
            <p:cNvSpPr txBox="1"/>
            <p:nvPr/>
          </p:nvSpPr>
          <p:spPr>
            <a:xfrm>
              <a:off x="2305494" y="3567280"/>
              <a:ext cx="428045" cy="124438"/>
            </a:xfrm>
            <a:prstGeom prst="rect">
              <a:avLst/>
            </a:prstGeom>
            <a:noFill/>
          </p:spPr>
          <p:txBody>
            <a:bodyPr wrap="square" lIns="0" tIns="0" rIns="0" bIns="0" rtlCol="0">
              <a:normAutofit fontScale="62500" lnSpcReduction="20000"/>
            </a:bodyPr>
            <a:lstStyle/>
            <a:p>
              <a:pPr algn="l" defTabSz="228600">
                <a:spcAft>
                  <a:spcPts val="1200"/>
                </a:spcAft>
              </a:pPr>
              <a:r>
                <a:rPr lang="en-US" noProof="0"/>
                <a:t>Code</a:t>
              </a:r>
            </a:p>
          </p:txBody>
        </p:sp>
        <p:cxnSp>
          <p:nvCxnSpPr>
            <p:cNvPr id="102" name="Curved Connector 101">
              <a:extLst>
                <a:ext uri="{FF2B5EF4-FFF2-40B4-BE49-F238E27FC236}">
                  <a16:creationId xmlns:a16="http://schemas.microsoft.com/office/drawing/2014/main" id="{0D4944C6-82EB-B7F9-5BCD-7C5098C5D4D3}"/>
                </a:ext>
              </a:extLst>
            </p:cNvPr>
            <p:cNvCxnSpPr>
              <a:cxnSpLocks/>
              <a:stCxn id="108" idx="1"/>
            </p:cNvCxnSpPr>
            <p:nvPr/>
          </p:nvCxnSpPr>
          <p:spPr>
            <a:xfrm rot="10800000" flipH="1">
              <a:off x="3059285" y="3100722"/>
              <a:ext cx="617260" cy="831273"/>
            </a:xfrm>
            <a:prstGeom prst="curvedConnector4">
              <a:avLst>
                <a:gd name="adj1" fmla="val -37035"/>
                <a:gd name="adj2" fmla="val 53742"/>
              </a:avLst>
            </a:prstGeom>
            <a:ln>
              <a:tailEnd type="triangle"/>
            </a:ln>
          </p:spPr>
          <p:style>
            <a:lnRef idx="1">
              <a:schemeClr val="dk1"/>
            </a:lnRef>
            <a:fillRef idx="0">
              <a:schemeClr val="dk1"/>
            </a:fillRef>
            <a:effectRef idx="0">
              <a:schemeClr val="dk1"/>
            </a:effectRef>
            <a:fontRef idx="minor">
              <a:schemeClr val="tx1"/>
            </a:fontRef>
          </p:style>
        </p:cxnSp>
        <p:sp>
          <p:nvSpPr>
            <p:cNvPr id="108" name="TextBox 107">
              <a:extLst>
                <a:ext uri="{FF2B5EF4-FFF2-40B4-BE49-F238E27FC236}">
                  <a16:creationId xmlns:a16="http://schemas.microsoft.com/office/drawing/2014/main" id="{21F7B32D-2BA6-BCFE-83F6-FA55B86B8BF9}"/>
                </a:ext>
              </a:extLst>
            </p:cNvPr>
            <p:cNvSpPr txBox="1"/>
            <p:nvPr/>
          </p:nvSpPr>
          <p:spPr>
            <a:xfrm>
              <a:off x="3059285" y="3869775"/>
              <a:ext cx="428045" cy="124438"/>
            </a:xfrm>
            <a:prstGeom prst="rect">
              <a:avLst/>
            </a:prstGeom>
            <a:noFill/>
          </p:spPr>
          <p:txBody>
            <a:bodyPr wrap="square" lIns="0" tIns="0" rIns="0" bIns="0" rtlCol="0">
              <a:normAutofit fontScale="55000" lnSpcReduction="20000"/>
            </a:bodyPr>
            <a:lstStyle/>
            <a:p>
              <a:pPr algn="l" defTabSz="228600">
                <a:spcAft>
                  <a:spcPts val="1200"/>
                </a:spcAft>
              </a:pPr>
              <a:r>
                <a:rPr lang="en-US" noProof="0"/>
                <a:t>Approval</a:t>
              </a:r>
            </a:p>
          </p:txBody>
        </p:sp>
        <p:sp>
          <p:nvSpPr>
            <p:cNvPr id="120" name="TextBox 119">
              <a:extLst>
                <a:ext uri="{FF2B5EF4-FFF2-40B4-BE49-F238E27FC236}">
                  <a16:creationId xmlns:a16="http://schemas.microsoft.com/office/drawing/2014/main" id="{4160BE62-7870-1D8D-95E2-5613158EC55D}"/>
                </a:ext>
              </a:extLst>
            </p:cNvPr>
            <p:cNvSpPr txBox="1"/>
            <p:nvPr/>
          </p:nvSpPr>
          <p:spPr>
            <a:xfrm>
              <a:off x="5825299" y="1608029"/>
              <a:ext cx="1019332" cy="227083"/>
            </a:xfrm>
            <a:prstGeom prst="rect">
              <a:avLst/>
            </a:prstGeom>
            <a:noFill/>
          </p:spPr>
          <p:txBody>
            <a:bodyPr wrap="none" lIns="0" tIns="0" rIns="0" bIns="0" rtlCol="0">
              <a:noAutofit/>
            </a:bodyPr>
            <a:lstStyle/>
            <a:p>
              <a:pPr algn="l" defTabSz="228600">
                <a:spcAft>
                  <a:spcPts val="1200"/>
                </a:spcAft>
              </a:pPr>
              <a:r>
                <a:rPr lang="en-US"/>
                <a:t>Workflow</a:t>
              </a:r>
              <a:endParaRPr lang="en-US" noProof="0"/>
            </a:p>
          </p:txBody>
        </p:sp>
      </p:grpSp>
      <p:sp>
        <p:nvSpPr>
          <p:cNvPr id="7" name="Snip Diagonal Corner Rectangle 6">
            <a:extLst>
              <a:ext uri="{FF2B5EF4-FFF2-40B4-BE49-F238E27FC236}">
                <a16:creationId xmlns:a16="http://schemas.microsoft.com/office/drawing/2014/main" id="{6D0313C8-FD72-D519-79A4-4A2C8D987709}"/>
              </a:ext>
            </a:extLst>
          </p:cNvPr>
          <p:cNvSpPr/>
          <p:nvPr/>
        </p:nvSpPr>
        <p:spPr>
          <a:xfrm>
            <a:off x="976929" y="5540362"/>
            <a:ext cx="1882481" cy="758837"/>
          </a:xfrm>
          <a:prstGeom prst="snip2Diag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a:t>Agentic Orchestration</a:t>
            </a:r>
          </a:p>
        </p:txBody>
      </p:sp>
    </p:spTree>
    <p:extLst>
      <p:ext uri="{BB962C8B-B14F-4D97-AF65-F5344CB8AC3E}">
        <p14:creationId xmlns:p14="http://schemas.microsoft.com/office/powerpoint/2010/main" val="337967498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8318FE-33C2-AB82-3ABE-2555B9B53D8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45ACD23-D21A-6DEC-7063-F97E292463B1}"/>
              </a:ext>
            </a:extLst>
          </p:cNvPr>
          <p:cNvSpPr>
            <a:spLocks noGrp="1"/>
          </p:cNvSpPr>
          <p:nvPr>
            <p:ph type="title"/>
          </p:nvPr>
        </p:nvSpPr>
        <p:spPr/>
        <p:txBody>
          <a:bodyPr/>
          <a:lstStyle/>
          <a:p>
            <a:r>
              <a:rPr lang="en-US" sz="3200"/>
              <a:t>Multi-Agent Systems</a:t>
            </a:r>
          </a:p>
        </p:txBody>
      </p:sp>
      <p:sp>
        <p:nvSpPr>
          <p:cNvPr id="3" name="Content Placeholder 2">
            <a:extLst>
              <a:ext uri="{FF2B5EF4-FFF2-40B4-BE49-F238E27FC236}">
                <a16:creationId xmlns:a16="http://schemas.microsoft.com/office/drawing/2014/main" id="{1FEDCDD3-9F82-AF96-F952-55969949DEC6}"/>
              </a:ext>
            </a:extLst>
          </p:cNvPr>
          <p:cNvSpPr>
            <a:spLocks noGrp="1"/>
          </p:cNvSpPr>
          <p:nvPr>
            <p:ph sz="quarter" idx="10"/>
          </p:nvPr>
        </p:nvSpPr>
        <p:spPr>
          <a:xfrm>
            <a:off x="8723074" y="778810"/>
            <a:ext cx="2942867" cy="1119087"/>
          </a:xfrm>
        </p:spPr>
        <p:txBody>
          <a:bodyPr/>
          <a:lstStyle/>
          <a:p>
            <a:pPr marL="0" indent="0">
              <a:buNone/>
            </a:pPr>
            <a:r>
              <a:rPr lang="en-US" sz="1400" b="1"/>
              <a:t>Human-in-the-loop: </a:t>
            </a:r>
            <a:r>
              <a:rPr lang="en-US" sz="1400"/>
              <a:t>Not all processes or workflows should be automated. Humans have a role to play with Agentic AI as the chief supervisor and thought leader.</a:t>
            </a:r>
          </a:p>
          <a:p>
            <a:pPr marL="0" indent="0">
              <a:buNone/>
            </a:pPr>
            <a:r>
              <a:rPr lang="en-US" sz="1400"/>
              <a:t>.</a:t>
            </a:r>
            <a:endParaRPr lang="en-US" sz="1400" b="1"/>
          </a:p>
        </p:txBody>
      </p:sp>
      <p:grpSp>
        <p:nvGrpSpPr>
          <p:cNvPr id="121" name="Group 120">
            <a:extLst>
              <a:ext uri="{FF2B5EF4-FFF2-40B4-BE49-F238E27FC236}">
                <a16:creationId xmlns:a16="http://schemas.microsoft.com/office/drawing/2014/main" id="{79EA7492-888D-E358-0BD8-4CC7CBC092EE}"/>
              </a:ext>
            </a:extLst>
          </p:cNvPr>
          <p:cNvGrpSpPr/>
          <p:nvPr/>
        </p:nvGrpSpPr>
        <p:grpSpPr>
          <a:xfrm>
            <a:off x="1260738" y="1034374"/>
            <a:ext cx="10550262" cy="5264826"/>
            <a:chOff x="1910366" y="1389398"/>
            <a:chExt cx="8309020" cy="4541322"/>
          </a:xfrm>
        </p:grpSpPr>
        <p:sp>
          <p:nvSpPr>
            <p:cNvPr id="6" name="Oval 5">
              <a:extLst>
                <a:ext uri="{FF2B5EF4-FFF2-40B4-BE49-F238E27FC236}">
                  <a16:creationId xmlns:a16="http://schemas.microsoft.com/office/drawing/2014/main" id="{73AF40AD-D4F3-B40F-54C1-0BAA8B8A0396}"/>
                </a:ext>
              </a:extLst>
            </p:cNvPr>
            <p:cNvSpPr/>
            <p:nvPr/>
          </p:nvSpPr>
          <p:spPr>
            <a:xfrm>
              <a:off x="2079938" y="1918951"/>
              <a:ext cx="8139448" cy="4011769"/>
            </a:xfrm>
            <a:prstGeom prst="ellipse">
              <a:avLst/>
            </a:prstGeom>
            <a:noFill/>
            <a:ln>
              <a:solidFill>
                <a:schemeClr val="tx1"/>
              </a:solidFill>
              <a:prstDash val="dash"/>
              <a:extLst>
                <a:ext uri="{C807C97D-BFC1-408E-A445-0C87EB9F89A2}">
                  <ask:lineSketchStyleProps xmlns:ask="http://schemas.microsoft.com/office/drawing/2018/sketchyshapes" sd="1219033472">
                    <a:custGeom>
                      <a:avLst/>
                      <a:gdLst>
                        <a:gd name="connsiteX0" fmla="*/ 0 w 8139448"/>
                        <a:gd name="connsiteY0" fmla="*/ 2228045 h 4456090"/>
                        <a:gd name="connsiteX1" fmla="*/ 4069724 w 8139448"/>
                        <a:gd name="connsiteY1" fmla="*/ 0 h 4456090"/>
                        <a:gd name="connsiteX2" fmla="*/ 8139448 w 8139448"/>
                        <a:gd name="connsiteY2" fmla="*/ 2228045 h 4456090"/>
                        <a:gd name="connsiteX3" fmla="*/ 4069724 w 8139448"/>
                        <a:gd name="connsiteY3" fmla="*/ 4456090 h 4456090"/>
                        <a:gd name="connsiteX4" fmla="*/ 0 w 8139448"/>
                        <a:gd name="connsiteY4" fmla="*/ 2228045 h 4456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39448" h="4456090" extrusionOk="0">
                          <a:moveTo>
                            <a:pt x="0" y="2228045"/>
                          </a:moveTo>
                          <a:cubicBezTo>
                            <a:pt x="-111860" y="928532"/>
                            <a:pt x="1485351" y="126379"/>
                            <a:pt x="4069724" y="0"/>
                          </a:cubicBezTo>
                          <a:cubicBezTo>
                            <a:pt x="6343377" y="5475"/>
                            <a:pt x="8050431" y="1000360"/>
                            <a:pt x="8139448" y="2228045"/>
                          </a:cubicBezTo>
                          <a:cubicBezTo>
                            <a:pt x="7858304" y="3733112"/>
                            <a:pt x="6293176" y="4589822"/>
                            <a:pt x="4069724" y="4456090"/>
                          </a:cubicBezTo>
                          <a:cubicBezTo>
                            <a:pt x="1808366" y="4448589"/>
                            <a:pt x="203733" y="3555905"/>
                            <a:pt x="0" y="2228045"/>
                          </a:cubicBezTo>
                          <a:close/>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pic>
          <p:nvPicPr>
            <p:cNvPr id="8" name="Graphic 7" descr="User with solid fill">
              <a:extLst>
                <a:ext uri="{FF2B5EF4-FFF2-40B4-BE49-F238E27FC236}">
                  <a16:creationId xmlns:a16="http://schemas.microsoft.com/office/drawing/2014/main" id="{4DE1AEE6-7232-ADD2-D968-767DFA5BC4D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910366" y="1389398"/>
              <a:ext cx="914400" cy="914400"/>
            </a:xfrm>
            <a:prstGeom prst="rect">
              <a:avLst/>
            </a:prstGeom>
          </p:spPr>
        </p:pic>
        <p:sp>
          <p:nvSpPr>
            <p:cNvPr id="22" name="Rectangle 21">
              <a:extLst>
                <a:ext uri="{FF2B5EF4-FFF2-40B4-BE49-F238E27FC236}">
                  <a16:creationId xmlns:a16="http://schemas.microsoft.com/office/drawing/2014/main" id="{6ED13D9A-9A57-A37C-4249-579A0EACE709}"/>
                </a:ext>
              </a:extLst>
            </p:cNvPr>
            <p:cNvSpPr/>
            <p:nvPr/>
          </p:nvSpPr>
          <p:spPr>
            <a:xfrm>
              <a:off x="3498656" y="2452519"/>
              <a:ext cx="1490785" cy="856543"/>
            </a:xfrm>
            <a:prstGeom prst="rect">
              <a:avLst/>
            </a:prstGeom>
            <a:noFill/>
            <a:ln w="31750">
              <a:solidFill>
                <a:srgbClr val="FFFF00"/>
              </a:solidFill>
              <a:prstDash val="dash"/>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23" name="TextBox 22">
              <a:extLst>
                <a:ext uri="{FF2B5EF4-FFF2-40B4-BE49-F238E27FC236}">
                  <a16:creationId xmlns:a16="http://schemas.microsoft.com/office/drawing/2014/main" id="{CCF6C516-E33B-7D20-C84C-62FDC6CC561A}"/>
                </a:ext>
              </a:extLst>
            </p:cNvPr>
            <p:cNvSpPr txBox="1"/>
            <p:nvPr/>
          </p:nvSpPr>
          <p:spPr>
            <a:xfrm>
              <a:off x="3580261" y="3350976"/>
              <a:ext cx="836492" cy="156047"/>
            </a:xfrm>
            <a:prstGeom prst="rect">
              <a:avLst/>
            </a:prstGeom>
            <a:noFill/>
          </p:spPr>
          <p:txBody>
            <a:bodyPr wrap="none" lIns="0" tIns="0" rIns="0" bIns="0" rtlCol="0">
              <a:noAutofit/>
            </a:bodyPr>
            <a:lstStyle/>
            <a:p>
              <a:pPr algn="l" defTabSz="228600">
                <a:spcAft>
                  <a:spcPts val="1200"/>
                </a:spcAft>
              </a:pPr>
              <a:r>
                <a:rPr lang="en-US" sz="1050"/>
                <a:t>Orchestrator (Controller)</a:t>
              </a:r>
              <a:endParaRPr lang="en-US" sz="1050" noProof="0"/>
            </a:p>
          </p:txBody>
        </p:sp>
        <p:sp>
          <p:nvSpPr>
            <p:cNvPr id="33" name="Rectangle 32">
              <a:extLst>
                <a:ext uri="{FF2B5EF4-FFF2-40B4-BE49-F238E27FC236}">
                  <a16:creationId xmlns:a16="http://schemas.microsoft.com/office/drawing/2014/main" id="{E2A47E33-BE91-E384-727B-2C1F57867387}"/>
                </a:ext>
              </a:extLst>
            </p:cNvPr>
            <p:cNvSpPr/>
            <p:nvPr/>
          </p:nvSpPr>
          <p:spPr>
            <a:xfrm>
              <a:off x="5570229" y="2330806"/>
              <a:ext cx="2126066" cy="959505"/>
            </a:xfrm>
            <a:prstGeom prst="rect">
              <a:avLst/>
            </a:prstGeom>
            <a:noFill/>
            <a:ln w="31750">
              <a:solidFill>
                <a:srgbClr val="7030A0"/>
              </a:solidFill>
              <a:prstDash val="dash"/>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34" name="TextBox 33">
              <a:extLst>
                <a:ext uri="{FF2B5EF4-FFF2-40B4-BE49-F238E27FC236}">
                  <a16:creationId xmlns:a16="http://schemas.microsoft.com/office/drawing/2014/main" id="{9B565A3C-D5E2-9FE2-5005-23819D9D2653}"/>
                </a:ext>
              </a:extLst>
            </p:cNvPr>
            <p:cNvSpPr txBox="1"/>
            <p:nvPr/>
          </p:nvSpPr>
          <p:spPr>
            <a:xfrm>
              <a:off x="5607853" y="3374282"/>
              <a:ext cx="3846878" cy="177254"/>
            </a:xfrm>
            <a:prstGeom prst="rect">
              <a:avLst/>
            </a:prstGeom>
            <a:noFill/>
          </p:spPr>
          <p:txBody>
            <a:bodyPr wrap="none" lIns="0" tIns="0" rIns="0" bIns="0" rtlCol="0">
              <a:noAutofit/>
            </a:bodyPr>
            <a:lstStyle/>
            <a:p>
              <a:pPr algn="l" defTabSz="228600">
                <a:spcAft>
                  <a:spcPts val="1200"/>
                </a:spcAft>
              </a:pPr>
              <a:r>
                <a:rPr lang="en-US" sz="1050"/>
                <a:t>Software Planner (Super Agent)</a:t>
              </a:r>
              <a:endParaRPr lang="en-US" sz="1050" noProof="0"/>
            </a:p>
          </p:txBody>
        </p:sp>
        <p:grpSp>
          <p:nvGrpSpPr>
            <p:cNvPr id="64" name="Group 63">
              <a:extLst>
                <a:ext uri="{FF2B5EF4-FFF2-40B4-BE49-F238E27FC236}">
                  <a16:creationId xmlns:a16="http://schemas.microsoft.com/office/drawing/2014/main" id="{7566658D-7C99-91CF-3D5D-0E1F7C36F81F}"/>
                </a:ext>
              </a:extLst>
            </p:cNvPr>
            <p:cNvGrpSpPr/>
            <p:nvPr/>
          </p:nvGrpSpPr>
          <p:grpSpPr>
            <a:xfrm>
              <a:off x="7696295" y="4030618"/>
              <a:ext cx="1599175" cy="1173121"/>
              <a:chOff x="5478882" y="4060128"/>
              <a:chExt cx="1599175" cy="1173121"/>
            </a:xfrm>
          </p:grpSpPr>
          <p:sp>
            <p:nvSpPr>
              <p:cNvPr id="43" name="Rectangle 42">
                <a:extLst>
                  <a:ext uri="{FF2B5EF4-FFF2-40B4-BE49-F238E27FC236}">
                    <a16:creationId xmlns:a16="http://schemas.microsoft.com/office/drawing/2014/main" id="{BD7355F8-C637-CE6F-CEDA-0CEDFDB735E8}"/>
                  </a:ext>
                </a:extLst>
              </p:cNvPr>
              <p:cNvSpPr/>
              <p:nvPr/>
            </p:nvSpPr>
            <p:spPr>
              <a:xfrm>
                <a:off x="5478882" y="4060128"/>
                <a:ext cx="1599175" cy="959505"/>
              </a:xfrm>
              <a:prstGeom prst="rect">
                <a:avLst/>
              </a:prstGeom>
              <a:noFill/>
              <a:ln w="31750">
                <a:solidFill>
                  <a:srgbClr val="92D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44" name="TextBox 43">
                <a:extLst>
                  <a:ext uri="{FF2B5EF4-FFF2-40B4-BE49-F238E27FC236}">
                    <a16:creationId xmlns:a16="http://schemas.microsoft.com/office/drawing/2014/main" id="{0B4A45FE-12E4-D0D8-642A-CA468E511DF9}"/>
                  </a:ext>
                </a:extLst>
              </p:cNvPr>
              <p:cNvSpPr txBox="1"/>
              <p:nvPr/>
            </p:nvSpPr>
            <p:spPr>
              <a:xfrm>
                <a:off x="5631124" y="5077202"/>
                <a:ext cx="836492" cy="156047"/>
              </a:xfrm>
              <a:prstGeom prst="rect">
                <a:avLst/>
              </a:prstGeom>
              <a:noFill/>
            </p:spPr>
            <p:txBody>
              <a:bodyPr wrap="none" lIns="0" tIns="0" rIns="0" bIns="0" rtlCol="0">
                <a:noAutofit/>
              </a:bodyPr>
              <a:lstStyle/>
              <a:p>
                <a:pPr algn="l" defTabSz="228600">
                  <a:spcAft>
                    <a:spcPts val="1200"/>
                  </a:spcAft>
                </a:pPr>
                <a:r>
                  <a:rPr lang="en-US" sz="1050"/>
                  <a:t>Tester ( Worker Agent)</a:t>
                </a:r>
                <a:endParaRPr lang="en-US" sz="1050" noProof="0"/>
              </a:p>
            </p:txBody>
          </p:sp>
        </p:grpSp>
        <p:grpSp>
          <p:nvGrpSpPr>
            <p:cNvPr id="65" name="Group 64">
              <a:extLst>
                <a:ext uri="{FF2B5EF4-FFF2-40B4-BE49-F238E27FC236}">
                  <a16:creationId xmlns:a16="http://schemas.microsoft.com/office/drawing/2014/main" id="{B98ADEDA-55A7-23DE-92E6-F8D5FEDCD2BE}"/>
                </a:ext>
              </a:extLst>
            </p:cNvPr>
            <p:cNvGrpSpPr/>
            <p:nvPr/>
          </p:nvGrpSpPr>
          <p:grpSpPr>
            <a:xfrm>
              <a:off x="5424222" y="4413147"/>
              <a:ext cx="1599175" cy="1187439"/>
              <a:chOff x="3136172" y="4016300"/>
              <a:chExt cx="1599175" cy="1187439"/>
            </a:xfrm>
          </p:grpSpPr>
          <p:sp>
            <p:nvSpPr>
              <p:cNvPr id="53" name="Rectangle 52">
                <a:extLst>
                  <a:ext uri="{FF2B5EF4-FFF2-40B4-BE49-F238E27FC236}">
                    <a16:creationId xmlns:a16="http://schemas.microsoft.com/office/drawing/2014/main" id="{EDA695D0-CDB3-AE91-EF07-1692A04048D5}"/>
                  </a:ext>
                </a:extLst>
              </p:cNvPr>
              <p:cNvSpPr/>
              <p:nvPr/>
            </p:nvSpPr>
            <p:spPr>
              <a:xfrm>
                <a:off x="3136172" y="4016300"/>
                <a:ext cx="1599175" cy="959505"/>
              </a:xfrm>
              <a:prstGeom prst="rect">
                <a:avLst/>
              </a:prstGeom>
              <a:noFill/>
              <a:ln w="31750">
                <a:solidFill>
                  <a:srgbClr val="92D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56" name="TextBox 55">
                <a:extLst>
                  <a:ext uri="{FF2B5EF4-FFF2-40B4-BE49-F238E27FC236}">
                    <a16:creationId xmlns:a16="http://schemas.microsoft.com/office/drawing/2014/main" id="{E20C4A89-6873-7388-28AC-F88586514484}"/>
                  </a:ext>
                </a:extLst>
              </p:cNvPr>
              <p:cNvSpPr txBox="1"/>
              <p:nvPr/>
            </p:nvSpPr>
            <p:spPr>
              <a:xfrm>
                <a:off x="3252982" y="5047692"/>
                <a:ext cx="836492" cy="156047"/>
              </a:xfrm>
              <a:prstGeom prst="rect">
                <a:avLst/>
              </a:prstGeom>
              <a:noFill/>
            </p:spPr>
            <p:txBody>
              <a:bodyPr wrap="none" lIns="0" tIns="0" rIns="0" bIns="0" rtlCol="0">
                <a:noAutofit/>
              </a:bodyPr>
              <a:lstStyle/>
              <a:p>
                <a:pPr algn="l" defTabSz="228600">
                  <a:spcAft>
                    <a:spcPts val="1200"/>
                  </a:spcAft>
                </a:pPr>
                <a:r>
                  <a:rPr lang="en-US" sz="1050"/>
                  <a:t>Utility (Worker Agent)</a:t>
                </a:r>
                <a:endParaRPr lang="en-US" sz="1050" noProof="0"/>
              </a:p>
            </p:txBody>
          </p:sp>
          <p:pic>
            <p:nvPicPr>
              <p:cNvPr id="58" name="Graphic 57" descr="Programmer female with solid fill">
                <a:extLst>
                  <a:ext uri="{FF2B5EF4-FFF2-40B4-BE49-F238E27FC236}">
                    <a16:creationId xmlns:a16="http://schemas.microsoft.com/office/drawing/2014/main" id="{3812083B-F3E5-B695-0BBD-DF812A9BC6B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168224" y="4168762"/>
                <a:ext cx="601301" cy="601301"/>
              </a:xfrm>
              <a:prstGeom prst="rect">
                <a:avLst/>
              </a:prstGeom>
            </p:spPr>
          </p:pic>
        </p:grpSp>
        <p:pic>
          <p:nvPicPr>
            <p:cNvPr id="60" name="Graphic 59" descr="Call center with solid fill">
              <a:extLst>
                <a:ext uri="{FF2B5EF4-FFF2-40B4-BE49-F238E27FC236}">
                  <a16:creationId xmlns:a16="http://schemas.microsoft.com/office/drawing/2014/main" id="{8B74FABB-A70E-FDD3-29B4-2645060F4A1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532550" y="2574282"/>
              <a:ext cx="535224" cy="535224"/>
            </a:xfrm>
            <a:prstGeom prst="rect">
              <a:avLst/>
            </a:prstGeom>
          </p:spPr>
        </p:pic>
        <p:pic>
          <p:nvPicPr>
            <p:cNvPr id="62" name="Graphic 61" descr="Scientist male with solid fill">
              <a:extLst>
                <a:ext uri="{FF2B5EF4-FFF2-40B4-BE49-F238E27FC236}">
                  <a16:creationId xmlns:a16="http://schemas.microsoft.com/office/drawing/2014/main" id="{41920B7C-E28C-A546-06D3-570EEEAE60F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806680" y="4222520"/>
              <a:ext cx="560395" cy="560395"/>
            </a:xfrm>
            <a:prstGeom prst="rect">
              <a:avLst/>
            </a:prstGeom>
          </p:spPr>
        </p:pic>
        <p:grpSp>
          <p:nvGrpSpPr>
            <p:cNvPr id="66" name="Group 65">
              <a:extLst>
                <a:ext uri="{FF2B5EF4-FFF2-40B4-BE49-F238E27FC236}">
                  <a16:creationId xmlns:a16="http://schemas.microsoft.com/office/drawing/2014/main" id="{FC9A7A6C-CD82-117E-3318-EE9F277A310B}"/>
                </a:ext>
              </a:extLst>
            </p:cNvPr>
            <p:cNvGrpSpPr/>
            <p:nvPr/>
          </p:nvGrpSpPr>
          <p:grpSpPr>
            <a:xfrm>
              <a:off x="2757907" y="3812157"/>
              <a:ext cx="2176129" cy="1201979"/>
              <a:chOff x="5989992" y="2792929"/>
              <a:chExt cx="2176129" cy="1201979"/>
            </a:xfrm>
          </p:grpSpPr>
          <p:sp>
            <p:nvSpPr>
              <p:cNvPr id="67" name="Rectangle 66">
                <a:extLst>
                  <a:ext uri="{FF2B5EF4-FFF2-40B4-BE49-F238E27FC236}">
                    <a16:creationId xmlns:a16="http://schemas.microsoft.com/office/drawing/2014/main" id="{F29D00A3-94C6-C9DA-1995-49769BF06EC4}"/>
                  </a:ext>
                </a:extLst>
              </p:cNvPr>
              <p:cNvSpPr/>
              <p:nvPr/>
            </p:nvSpPr>
            <p:spPr>
              <a:xfrm>
                <a:off x="6217648" y="2792929"/>
                <a:ext cx="1599175" cy="959505"/>
              </a:xfrm>
              <a:prstGeom prst="rect">
                <a:avLst/>
              </a:prstGeom>
              <a:noFill/>
              <a:ln w="31750">
                <a:solidFill>
                  <a:srgbClr val="92D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68" name="TextBox 67">
                <a:extLst>
                  <a:ext uri="{FF2B5EF4-FFF2-40B4-BE49-F238E27FC236}">
                    <a16:creationId xmlns:a16="http://schemas.microsoft.com/office/drawing/2014/main" id="{5CE4D6A0-8BB9-5A17-EA28-2C0EFB816E7D}"/>
                  </a:ext>
                </a:extLst>
              </p:cNvPr>
              <p:cNvSpPr txBox="1"/>
              <p:nvPr/>
            </p:nvSpPr>
            <p:spPr>
              <a:xfrm>
                <a:off x="5989992" y="3817654"/>
                <a:ext cx="2176129" cy="177254"/>
              </a:xfrm>
              <a:prstGeom prst="rect">
                <a:avLst/>
              </a:prstGeom>
              <a:noFill/>
            </p:spPr>
            <p:txBody>
              <a:bodyPr wrap="none" lIns="0" tIns="0" rIns="0" bIns="0" rtlCol="0">
                <a:noAutofit/>
              </a:bodyPr>
              <a:lstStyle/>
              <a:p>
                <a:pPr algn="l" defTabSz="228600">
                  <a:spcAft>
                    <a:spcPts val="1200"/>
                  </a:spcAft>
                </a:pPr>
                <a:r>
                  <a:rPr lang="en-US" sz="1050"/>
                  <a:t>Secure Code (Worker Agent)</a:t>
                </a:r>
                <a:endParaRPr lang="en-US" sz="1050" noProof="0"/>
              </a:p>
            </p:txBody>
          </p:sp>
        </p:grpSp>
        <p:cxnSp>
          <p:nvCxnSpPr>
            <p:cNvPr id="70" name="Straight Arrow Connector 69">
              <a:extLst>
                <a:ext uri="{FF2B5EF4-FFF2-40B4-BE49-F238E27FC236}">
                  <a16:creationId xmlns:a16="http://schemas.microsoft.com/office/drawing/2014/main" id="{9BF92A06-4D18-F9BF-BFBA-AFA2829ECBCE}"/>
                </a:ext>
              </a:extLst>
            </p:cNvPr>
            <p:cNvCxnSpPr/>
            <p:nvPr/>
          </p:nvCxnSpPr>
          <p:spPr>
            <a:xfrm>
              <a:off x="2769755" y="1918951"/>
              <a:ext cx="689318" cy="46335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5486B297-4AE2-8DEE-91E3-C4CB147A76F5}"/>
                </a:ext>
              </a:extLst>
            </p:cNvPr>
            <p:cNvCxnSpPr/>
            <p:nvPr/>
          </p:nvCxnSpPr>
          <p:spPr>
            <a:xfrm>
              <a:off x="2939327" y="1820986"/>
              <a:ext cx="689318" cy="463351"/>
            </a:xfrm>
            <a:prstGeom prst="straightConnector1">
              <a:avLst/>
            </a:prstGeom>
            <a:ln w="28575">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AF6884A9-6FE6-2DDB-8C68-1A5B60181266}"/>
                </a:ext>
              </a:extLst>
            </p:cNvPr>
            <p:cNvSpPr txBox="1"/>
            <p:nvPr/>
          </p:nvSpPr>
          <p:spPr>
            <a:xfrm>
              <a:off x="2480107" y="2254423"/>
              <a:ext cx="689318" cy="177255"/>
            </a:xfrm>
            <a:prstGeom prst="rect">
              <a:avLst/>
            </a:prstGeom>
            <a:noFill/>
          </p:spPr>
          <p:txBody>
            <a:bodyPr wrap="none" lIns="0" tIns="0" rIns="0" bIns="0" rtlCol="0">
              <a:noAutofit/>
            </a:bodyPr>
            <a:lstStyle/>
            <a:p>
              <a:pPr algn="l" defTabSz="228600">
                <a:spcAft>
                  <a:spcPts val="1200"/>
                </a:spcAft>
              </a:pPr>
              <a:r>
                <a:rPr lang="en-US" sz="1000"/>
                <a:t>User Query</a:t>
              </a:r>
              <a:endParaRPr lang="en-US" sz="1000" noProof="0"/>
            </a:p>
          </p:txBody>
        </p:sp>
        <p:sp>
          <p:nvSpPr>
            <p:cNvPr id="73" name="TextBox 72">
              <a:extLst>
                <a:ext uri="{FF2B5EF4-FFF2-40B4-BE49-F238E27FC236}">
                  <a16:creationId xmlns:a16="http://schemas.microsoft.com/office/drawing/2014/main" id="{5E061C76-080E-705B-AEBD-31F7683958F6}"/>
                </a:ext>
              </a:extLst>
            </p:cNvPr>
            <p:cNvSpPr txBox="1"/>
            <p:nvPr/>
          </p:nvSpPr>
          <p:spPr>
            <a:xfrm>
              <a:off x="3573634" y="2012678"/>
              <a:ext cx="533058" cy="121576"/>
            </a:xfrm>
            <a:prstGeom prst="rect">
              <a:avLst/>
            </a:prstGeom>
            <a:noFill/>
          </p:spPr>
          <p:txBody>
            <a:bodyPr wrap="none" lIns="0" tIns="0" rIns="0" bIns="0" rtlCol="0">
              <a:noAutofit/>
            </a:bodyPr>
            <a:lstStyle/>
            <a:p>
              <a:pPr algn="l" defTabSz="228600">
                <a:spcAft>
                  <a:spcPts val="1200"/>
                </a:spcAft>
              </a:pPr>
              <a:r>
                <a:rPr lang="en-US" sz="1050" noProof="0"/>
                <a:t>Answer</a:t>
              </a:r>
            </a:p>
          </p:txBody>
        </p:sp>
        <p:sp>
          <p:nvSpPr>
            <p:cNvPr id="4" name="TextBox 3">
              <a:extLst>
                <a:ext uri="{FF2B5EF4-FFF2-40B4-BE49-F238E27FC236}">
                  <a16:creationId xmlns:a16="http://schemas.microsoft.com/office/drawing/2014/main" id="{5B11EC81-0927-F2BE-2879-0248D429F1E8}"/>
                </a:ext>
              </a:extLst>
            </p:cNvPr>
            <p:cNvSpPr txBox="1"/>
            <p:nvPr/>
          </p:nvSpPr>
          <p:spPr>
            <a:xfrm>
              <a:off x="4026833" y="2593039"/>
              <a:ext cx="836492" cy="757937"/>
            </a:xfrm>
            <a:prstGeom prst="rect">
              <a:avLst/>
            </a:prstGeom>
            <a:noFill/>
          </p:spPr>
          <p:txBody>
            <a:bodyPr wrap="square" lIns="0" tIns="0" rIns="0" bIns="0" rtlCol="0">
              <a:normAutofit/>
            </a:bodyPr>
            <a:lstStyle/>
            <a:p>
              <a:pPr algn="l" defTabSz="228600">
                <a:spcAft>
                  <a:spcPts val="1200"/>
                </a:spcAft>
              </a:pPr>
              <a:r>
                <a:rPr lang="en-US" sz="1000" noProof="0"/>
                <a:t>The controller agent plans the task on the user’s behalf.</a:t>
              </a:r>
            </a:p>
          </p:txBody>
        </p:sp>
        <p:sp>
          <p:nvSpPr>
            <p:cNvPr id="5" name="TextBox 4">
              <a:extLst>
                <a:ext uri="{FF2B5EF4-FFF2-40B4-BE49-F238E27FC236}">
                  <a16:creationId xmlns:a16="http://schemas.microsoft.com/office/drawing/2014/main" id="{BB7FF0BF-F1EE-DB68-2179-31771477A403}"/>
                </a:ext>
              </a:extLst>
            </p:cNvPr>
            <p:cNvSpPr txBox="1"/>
            <p:nvPr/>
          </p:nvSpPr>
          <p:spPr>
            <a:xfrm>
              <a:off x="6416910" y="2589210"/>
              <a:ext cx="1144472" cy="520296"/>
            </a:xfrm>
            <a:prstGeom prst="rect">
              <a:avLst/>
            </a:prstGeom>
            <a:noFill/>
          </p:spPr>
          <p:txBody>
            <a:bodyPr wrap="square" lIns="0" tIns="0" rIns="0" bIns="0" rtlCol="0">
              <a:normAutofit fontScale="62500" lnSpcReduction="20000"/>
            </a:bodyPr>
            <a:lstStyle/>
            <a:p>
              <a:pPr algn="l" defTabSz="228600">
                <a:spcAft>
                  <a:spcPts val="1200"/>
                </a:spcAft>
              </a:pPr>
              <a:r>
                <a:rPr lang="en-US" noProof="0"/>
                <a:t>The software planner builds a sets of tasks based on capabilities.</a:t>
              </a:r>
            </a:p>
          </p:txBody>
        </p:sp>
        <p:pic>
          <p:nvPicPr>
            <p:cNvPr id="9" name="Graphic 8" descr="Aspiration outline">
              <a:extLst>
                <a:ext uri="{FF2B5EF4-FFF2-40B4-BE49-F238E27FC236}">
                  <a16:creationId xmlns:a16="http://schemas.microsoft.com/office/drawing/2014/main" id="{D7732DDB-9569-D310-1F83-3F5C9DF304B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651050" y="2452519"/>
              <a:ext cx="731534" cy="731534"/>
            </a:xfrm>
            <a:prstGeom prst="rect">
              <a:avLst/>
            </a:prstGeom>
          </p:spPr>
        </p:pic>
        <p:cxnSp>
          <p:nvCxnSpPr>
            <p:cNvPr id="11" name="Straight Arrow Connector 10">
              <a:extLst>
                <a:ext uri="{FF2B5EF4-FFF2-40B4-BE49-F238E27FC236}">
                  <a16:creationId xmlns:a16="http://schemas.microsoft.com/office/drawing/2014/main" id="{435242F7-A877-C986-9283-AC8321B0EE14}"/>
                </a:ext>
              </a:extLst>
            </p:cNvPr>
            <p:cNvCxnSpPr>
              <a:cxnSpLocks/>
            </p:cNvCxnSpPr>
            <p:nvPr/>
          </p:nvCxnSpPr>
          <p:spPr>
            <a:xfrm>
              <a:off x="6205928" y="3551536"/>
              <a:ext cx="0" cy="79882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8" name="Straight Arrow Connector 17">
              <a:extLst>
                <a:ext uri="{FF2B5EF4-FFF2-40B4-BE49-F238E27FC236}">
                  <a16:creationId xmlns:a16="http://schemas.microsoft.com/office/drawing/2014/main" id="{2F24E49F-21D8-C9B0-93A7-6631E8C99C60}"/>
                </a:ext>
              </a:extLst>
            </p:cNvPr>
            <p:cNvCxnSpPr>
              <a:cxnSpLocks/>
            </p:cNvCxnSpPr>
            <p:nvPr/>
          </p:nvCxnSpPr>
          <p:spPr>
            <a:xfrm flipV="1">
              <a:off x="6377524" y="3551536"/>
              <a:ext cx="0" cy="79882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1" name="TextBox 20">
              <a:extLst>
                <a:ext uri="{FF2B5EF4-FFF2-40B4-BE49-F238E27FC236}">
                  <a16:creationId xmlns:a16="http://schemas.microsoft.com/office/drawing/2014/main" id="{D45D8240-7CC8-6B90-D2A4-D64A21DE1CD1}"/>
                </a:ext>
              </a:extLst>
            </p:cNvPr>
            <p:cNvSpPr txBox="1"/>
            <p:nvPr/>
          </p:nvSpPr>
          <p:spPr>
            <a:xfrm>
              <a:off x="5441430" y="3859967"/>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24" name="TextBox 23">
              <a:extLst>
                <a:ext uri="{FF2B5EF4-FFF2-40B4-BE49-F238E27FC236}">
                  <a16:creationId xmlns:a16="http://schemas.microsoft.com/office/drawing/2014/main" id="{D16D519D-B9E2-0665-75FC-91F46EFFC208}"/>
                </a:ext>
              </a:extLst>
            </p:cNvPr>
            <p:cNvSpPr txBox="1"/>
            <p:nvPr/>
          </p:nvSpPr>
          <p:spPr>
            <a:xfrm>
              <a:off x="5140105" y="3931994"/>
              <a:ext cx="1276805" cy="124438"/>
            </a:xfrm>
            <a:prstGeom prst="rect">
              <a:avLst/>
            </a:prstGeom>
            <a:noFill/>
          </p:spPr>
          <p:txBody>
            <a:bodyPr wrap="square" lIns="0" tIns="0" rIns="0" bIns="0" rtlCol="0">
              <a:normAutofit fontScale="92500" lnSpcReduction="20000"/>
            </a:bodyPr>
            <a:lstStyle/>
            <a:p>
              <a:pPr algn="l" defTabSz="228600">
                <a:spcAft>
                  <a:spcPts val="1200"/>
                </a:spcAft>
              </a:pPr>
              <a:r>
                <a:rPr lang="en-US" sz="1200" noProof="0"/>
                <a:t>Feature Request</a:t>
              </a:r>
            </a:p>
          </p:txBody>
        </p:sp>
        <p:sp>
          <p:nvSpPr>
            <p:cNvPr id="26" name="TextBox 25">
              <a:extLst>
                <a:ext uri="{FF2B5EF4-FFF2-40B4-BE49-F238E27FC236}">
                  <a16:creationId xmlns:a16="http://schemas.microsoft.com/office/drawing/2014/main" id="{797FAF16-16BB-0A45-830A-B34AE75EEA0E}"/>
                </a:ext>
              </a:extLst>
            </p:cNvPr>
            <p:cNvSpPr txBox="1"/>
            <p:nvPr/>
          </p:nvSpPr>
          <p:spPr>
            <a:xfrm>
              <a:off x="6473102" y="3935307"/>
              <a:ext cx="428045" cy="124438"/>
            </a:xfrm>
            <a:prstGeom prst="rect">
              <a:avLst/>
            </a:prstGeom>
            <a:noFill/>
          </p:spPr>
          <p:txBody>
            <a:bodyPr wrap="square" lIns="0" tIns="0" rIns="0" bIns="0" rtlCol="0">
              <a:normAutofit fontScale="62500" lnSpcReduction="20000"/>
            </a:bodyPr>
            <a:lstStyle/>
            <a:p>
              <a:pPr algn="l" defTabSz="228600">
                <a:spcAft>
                  <a:spcPts val="1200"/>
                </a:spcAft>
              </a:pPr>
              <a:r>
                <a:rPr lang="en-US" noProof="0"/>
                <a:t>Code</a:t>
              </a:r>
            </a:p>
          </p:txBody>
        </p:sp>
        <p:sp>
          <p:nvSpPr>
            <p:cNvPr id="27" name="TextBox 26">
              <a:extLst>
                <a:ext uri="{FF2B5EF4-FFF2-40B4-BE49-F238E27FC236}">
                  <a16:creationId xmlns:a16="http://schemas.microsoft.com/office/drawing/2014/main" id="{8F0D94DF-1C7A-601D-C1E8-31FA90C15108}"/>
                </a:ext>
              </a:extLst>
            </p:cNvPr>
            <p:cNvSpPr txBox="1"/>
            <p:nvPr/>
          </p:nvSpPr>
          <p:spPr>
            <a:xfrm>
              <a:off x="7351046" y="3693315"/>
              <a:ext cx="668755" cy="177254"/>
            </a:xfrm>
            <a:prstGeom prst="rect">
              <a:avLst/>
            </a:prstGeom>
            <a:noFill/>
          </p:spPr>
          <p:txBody>
            <a:bodyPr wrap="square" lIns="0" tIns="0" rIns="0" bIns="0" rtlCol="0">
              <a:normAutofit/>
            </a:bodyPr>
            <a:lstStyle/>
            <a:p>
              <a:pPr algn="l" defTabSz="228600">
                <a:spcAft>
                  <a:spcPts val="1200"/>
                </a:spcAft>
              </a:pPr>
              <a:r>
                <a:rPr lang="en-US" sz="1050" noProof="0"/>
                <a:t>Unit Tests</a:t>
              </a:r>
            </a:p>
          </p:txBody>
        </p:sp>
        <p:grpSp>
          <p:nvGrpSpPr>
            <p:cNvPr id="45" name="Group 44">
              <a:extLst>
                <a:ext uri="{FF2B5EF4-FFF2-40B4-BE49-F238E27FC236}">
                  <a16:creationId xmlns:a16="http://schemas.microsoft.com/office/drawing/2014/main" id="{2AC6DDB0-D771-5986-731F-3323A1FAEA59}"/>
                </a:ext>
              </a:extLst>
            </p:cNvPr>
            <p:cNvGrpSpPr/>
            <p:nvPr/>
          </p:nvGrpSpPr>
          <p:grpSpPr>
            <a:xfrm>
              <a:off x="6070489" y="4491637"/>
              <a:ext cx="882414" cy="799685"/>
              <a:chOff x="5988376" y="4485530"/>
              <a:chExt cx="882414" cy="799685"/>
            </a:xfrm>
          </p:grpSpPr>
          <p:sp>
            <p:nvSpPr>
              <p:cNvPr id="39" name="Rounded Rectangle 38">
                <a:extLst>
                  <a:ext uri="{FF2B5EF4-FFF2-40B4-BE49-F238E27FC236}">
                    <a16:creationId xmlns:a16="http://schemas.microsoft.com/office/drawing/2014/main" id="{4DB33BC0-9514-D27E-184F-68BA7A4226E9}"/>
                  </a:ext>
                </a:extLst>
              </p:cNvPr>
              <p:cNvSpPr/>
              <p:nvPr/>
            </p:nvSpPr>
            <p:spPr>
              <a:xfrm>
                <a:off x="5988376" y="4527616"/>
                <a:ext cx="882414" cy="757599"/>
              </a:xfrm>
              <a:prstGeom prst="roundRect">
                <a:avLst/>
              </a:prstGeom>
              <a:solidFill>
                <a:srgbClr val="92D050"/>
              </a:solidFill>
              <a:ln w="31750">
                <a:solidFill>
                  <a:srgbClr val="92D050"/>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b"/>
              <a:lstStyle/>
              <a:p>
                <a:pPr algn="ctr"/>
                <a:r>
                  <a:rPr lang="en-US"/>
                  <a:t>LLM</a:t>
                </a:r>
              </a:p>
            </p:txBody>
          </p:sp>
          <p:pic>
            <p:nvPicPr>
              <p:cNvPr id="42" name="Graphic 41" descr="Brain with solid fill">
                <a:extLst>
                  <a:ext uri="{FF2B5EF4-FFF2-40B4-BE49-F238E27FC236}">
                    <a16:creationId xmlns:a16="http://schemas.microsoft.com/office/drawing/2014/main" id="{E4AB6C81-C948-2660-4B44-EB29943A7D8B}"/>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154154" y="4485530"/>
                <a:ext cx="490775" cy="490775"/>
              </a:xfrm>
              <a:prstGeom prst="rect">
                <a:avLst/>
              </a:prstGeom>
            </p:spPr>
          </p:pic>
        </p:grpSp>
        <p:grpSp>
          <p:nvGrpSpPr>
            <p:cNvPr id="46" name="Group 45">
              <a:extLst>
                <a:ext uri="{FF2B5EF4-FFF2-40B4-BE49-F238E27FC236}">
                  <a16:creationId xmlns:a16="http://schemas.microsoft.com/office/drawing/2014/main" id="{48860001-CDBA-657C-BB69-A08EB4E3875C}"/>
                </a:ext>
              </a:extLst>
            </p:cNvPr>
            <p:cNvGrpSpPr/>
            <p:nvPr/>
          </p:nvGrpSpPr>
          <p:grpSpPr>
            <a:xfrm>
              <a:off x="3630305" y="3882495"/>
              <a:ext cx="882414" cy="799685"/>
              <a:chOff x="5988376" y="4485530"/>
              <a:chExt cx="882414" cy="799685"/>
            </a:xfrm>
          </p:grpSpPr>
          <p:sp>
            <p:nvSpPr>
              <p:cNvPr id="47" name="Rounded Rectangle 46">
                <a:extLst>
                  <a:ext uri="{FF2B5EF4-FFF2-40B4-BE49-F238E27FC236}">
                    <a16:creationId xmlns:a16="http://schemas.microsoft.com/office/drawing/2014/main" id="{3C7385D1-440F-BD4B-0031-99970C3EB258}"/>
                  </a:ext>
                </a:extLst>
              </p:cNvPr>
              <p:cNvSpPr/>
              <p:nvPr/>
            </p:nvSpPr>
            <p:spPr>
              <a:xfrm>
                <a:off x="5988376" y="4527616"/>
                <a:ext cx="882414" cy="757599"/>
              </a:xfrm>
              <a:prstGeom prst="roundRect">
                <a:avLst/>
              </a:prstGeom>
              <a:solidFill>
                <a:srgbClr val="92D050"/>
              </a:solidFill>
              <a:ln w="31750">
                <a:solidFill>
                  <a:srgbClr val="92D050"/>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b"/>
              <a:lstStyle/>
              <a:p>
                <a:pPr algn="ctr"/>
                <a:r>
                  <a:rPr lang="en-US"/>
                  <a:t>LLM</a:t>
                </a:r>
              </a:p>
            </p:txBody>
          </p:sp>
          <p:pic>
            <p:nvPicPr>
              <p:cNvPr id="48" name="Graphic 47" descr="Brain with solid fill">
                <a:extLst>
                  <a:ext uri="{FF2B5EF4-FFF2-40B4-BE49-F238E27FC236}">
                    <a16:creationId xmlns:a16="http://schemas.microsoft.com/office/drawing/2014/main" id="{F3CE3C9C-C5FD-DE2F-BF43-D58B7E8AB010}"/>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154154" y="4485530"/>
                <a:ext cx="490775" cy="490775"/>
              </a:xfrm>
              <a:prstGeom prst="rect">
                <a:avLst/>
              </a:prstGeom>
            </p:spPr>
          </p:pic>
        </p:grpSp>
        <p:grpSp>
          <p:nvGrpSpPr>
            <p:cNvPr id="49" name="Group 48">
              <a:extLst>
                <a:ext uri="{FF2B5EF4-FFF2-40B4-BE49-F238E27FC236}">
                  <a16:creationId xmlns:a16="http://schemas.microsoft.com/office/drawing/2014/main" id="{C2A829EF-BE05-C0B6-D0EB-4A4D3299AB37}"/>
                </a:ext>
              </a:extLst>
            </p:cNvPr>
            <p:cNvGrpSpPr/>
            <p:nvPr/>
          </p:nvGrpSpPr>
          <p:grpSpPr>
            <a:xfrm>
              <a:off x="8325353" y="4097719"/>
              <a:ext cx="882414" cy="799685"/>
              <a:chOff x="5988376" y="4485530"/>
              <a:chExt cx="882414" cy="799685"/>
            </a:xfrm>
          </p:grpSpPr>
          <p:sp>
            <p:nvSpPr>
              <p:cNvPr id="50" name="Rounded Rectangle 49">
                <a:extLst>
                  <a:ext uri="{FF2B5EF4-FFF2-40B4-BE49-F238E27FC236}">
                    <a16:creationId xmlns:a16="http://schemas.microsoft.com/office/drawing/2014/main" id="{2D4264CF-85A0-5BBC-B268-E421F54AFE97}"/>
                  </a:ext>
                </a:extLst>
              </p:cNvPr>
              <p:cNvSpPr/>
              <p:nvPr/>
            </p:nvSpPr>
            <p:spPr>
              <a:xfrm>
                <a:off x="5988376" y="4527616"/>
                <a:ext cx="882414" cy="757599"/>
              </a:xfrm>
              <a:prstGeom prst="roundRect">
                <a:avLst/>
              </a:prstGeom>
              <a:solidFill>
                <a:srgbClr val="92D050"/>
              </a:solidFill>
              <a:ln w="31750">
                <a:solidFill>
                  <a:srgbClr val="92D050"/>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b"/>
              <a:lstStyle/>
              <a:p>
                <a:pPr algn="ctr"/>
                <a:r>
                  <a:rPr lang="en-US"/>
                  <a:t>LLM</a:t>
                </a:r>
              </a:p>
            </p:txBody>
          </p:sp>
          <p:pic>
            <p:nvPicPr>
              <p:cNvPr id="51" name="Graphic 50" descr="Brain with solid fill">
                <a:extLst>
                  <a:ext uri="{FF2B5EF4-FFF2-40B4-BE49-F238E27FC236}">
                    <a16:creationId xmlns:a16="http://schemas.microsoft.com/office/drawing/2014/main" id="{A2D743E9-B543-0458-60D6-BA036E3BF87B}"/>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154154" y="4485530"/>
                <a:ext cx="490775" cy="490775"/>
              </a:xfrm>
              <a:prstGeom prst="rect">
                <a:avLst/>
              </a:prstGeom>
            </p:spPr>
          </p:pic>
        </p:grpSp>
        <p:pic>
          <p:nvPicPr>
            <p:cNvPr id="54" name="Graphic 53" descr="Shield Tick with solid fill">
              <a:extLst>
                <a:ext uri="{FF2B5EF4-FFF2-40B4-BE49-F238E27FC236}">
                  <a16:creationId xmlns:a16="http://schemas.microsoft.com/office/drawing/2014/main" id="{6831C2C3-A3B9-5482-C050-BA5467D8923A}"/>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2976832" y="3946668"/>
              <a:ext cx="679818" cy="679818"/>
            </a:xfrm>
            <a:prstGeom prst="rect">
              <a:avLst/>
            </a:prstGeom>
          </p:spPr>
        </p:pic>
        <p:cxnSp>
          <p:nvCxnSpPr>
            <p:cNvPr id="55" name="Straight Arrow Connector 54">
              <a:extLst>
                <a:ext uri="{FF2B5EF4-FFF2-40B4-BE49-F238E27FC236}">
                  <a16:creationId xmlns:a16="http://schemas.microsoft.com/office/drawing/2014/main" id="{404791BC-16A3-E6AE-965B-22DCB7762C28}"/>
                </a:ext>
              </a:extLst>
            </p:cNvPr>
            <p:cNvCxnSpPr>
              <a:cxnSpLocks/>
            </p:cNvCxnSpPr>
            <p:nvPr/>
          </p:nvCxnSpPr>
          <p:spPr>
            <a:xfrm flipH="1" flipV="1">
              <a:off x="7712493" y="3350976"/>
              <a:ext cx="554290" cy="62207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61" name="Straight Arrow Connector 60">
              <a:extLst>
                <a:ext uri="{FF2B5EF4-FFF2-40B4-BE49-F238E27FC236}">
                  <a16:creationId xmlns:a16="http://schemas.microsoft.com/office/drawing/2014/main" id="{3ABED556-6BB2-EA38-DF53-75B53A4DE119}"/>
                </a:ext>
              </a:extLst>
            </p:cNvPr>
            <p:cNvCxnSpPr>
              <a:cxnSpLocks/>
            </p:cNvCxnSpPr>
            <p:nvPr/>
          </p:nvCxnSpPr>
          <p:spPr>
            <a:xfrm>
              <a:off x="7778275" y="3199107"/>
              <a:ext cx="668755" cy="76187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78" name="TextBox 77">
              <a:extLst>
                <a:ext uri="{FF2B5EF4-FFF2-40B4-BE49-F238E27FC236}">
                  <a16:creationId xmlns:a16="http://schemas.microsoft.com/office/drawing/2014/main" id="{1612C619-FC1D-6EE1-62E1-A08AFCE9B8C5}"/>
                </a:ext>
              </a:extLst>
            </p:cNvPr>
            <p:cNvSpPr txBox="1"/>
            <p:nvPr/>
          </p:nvSpPr>
          <p:spPr>
            <a:xfrm>
              <a:off x="8188557" y="3505061"/>
              <a:ext cx="428045" cy="124438"/>
            </a:xfrm>
            <a:prstGeom prst="rect">
              <a:avLst/>
            </a:prstGeom>
            <a:noFill/>
          </p:spPr>
          <p:txBody>
            <a:bodyPr wrap="square" lIns="0" tIns="0" rIns="0" bIns="0" rtlCol="0">
              <a:normAutofit fontScale="62500" lnSpcReduction="20000"/>
            </a:bodyPr>
            <a:lstStyle/>
            <a:p>
              <a:pPr algn="l" defTabSz="228600">
                <a:spcAft>
                  <a:spcPts val="1200"/>
                </a:spcAft>
              </a:pPr>
              <a:r>
                <a:rPr lang="en-US" noProof="0"/>
                <a:t>Code</a:t>
              </a:r>
            </a:p>
          </p:txBody>
        </p:sp>
        <p:cxnSp>
          <p:nvCxnSpPr>
            <p:cNvPr id="79" name="Straight Arrow Connector 78">
              <a:extLst>
                <a:ext uri="{FF2B5EF4-FFF2-40B4-BE49-F238E27FC236}">
                  <a16:creationId xmlns:a16="http://schemas.microsoft.com/office/drawing/2014/main" id="{DF87205E-E85F-D7DE-7C27-916B3159FBB8}"/>
                </a:ext>
              </a:extLst>
            </p:cNvPr>
            <p:cNvCxnSpPr>
              <a:cxnSpLocks/>
            </p:cNvCxnSpPr>
            <p:nvPr/>
          </p:nvCxnSpPr>
          <p:spPr>
            <a:xfrm flipH="1">
              <a:off x="5041065" y="2873198"/>
              <a:ext cx="499967"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89" name="Straight Arrow Connector 88">
              <a:extLst>
                <a:ext uri="{FF2B5EF4-FFF2-40B4-BE49-F238E27FC236}">
                  <a16:creationId xmlns:a16="http://schemas.microsoft.com/office/drawing/2014/main" id="{F7AA2769-5107-3EF0-9E8F-8B7603F4B791}"/>
                </a:ext>
              </a:extLst>
            </p:cNvPr>
            <p:cNvCxnSpPr>
              <a:cxnSpLocks/>
            </p:cNvCxnSpPr>
            <p:nvPr/>
          </p:nvCxnSpPr>
          <p:spPr>
            <a:xfrm>
              <a:off x="5027394" y="2984582"/>
              <a:ext cx="542835"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91" name="TextBox 90">
              <a:extLst>
                <a:ext uri="{FF2B5EF4-FFF2-40B4-BE49-F238E27FC236}">
                  <a16:creationId xmlns:a16="http://schemas.microsoft.com/office/drawing/2014/main" id="{CF864F63-20B4-A39D-1F54-A7A90DEFE046}"/>
                </a:ext>
              </a:extLst>
            </p:cNvPr>
            <p:cNvSpPr txBox="1"/>
            <p:nvPr/>
          </p:nvSpPr>
          <p:spPr>
            <a:xfrm>
              <a:off x="5104231" y="2724920"/>
              <a:ext cx="428045" cy="124438"/>
            </a:xfrm>
            <a:prstGeom prst="rect">
              <a:avLst/>
            </a:prstGeom>
            <a:noFill/>
          </p:spPr>
          <p:txBody>
            <a:bodyPr wrap="square" lIns="0" tIns="0" rIns="0" bIns="0" rtlCol="0">
              <a:normAutofit fontScale="62500" lnSpcReduction="20000"/>
            </a:bodyPr>
            <a:lstStyle/>
            <a:p>
              <a:pPr algn="l" defTabSz="228600">
                <a:spcAft>
                  <a:spcPts val="1200"/>
                </a:spcAft>
              </a:pPr>
              <a:r>
                <a:rPr lang="en-US" noProof="0"/>
                <a:t>Code</a:t>
              </a:r>
            </a:p>
          </p:txBody>
        </p:sp>
        <p:sp>
          <p:nvSpPr>
            <p:cNvPr id="92" name="TextBox 91">
              <a:extLst>
                <a:ext uri="{FF2B5EF4-FFF2-40B4-BE49-F238E27FC236}">
                  <a16:creationId xmlns:a16="http://schemas.microsoft.com/office/drawing/2014/main" id="{7E5A155E-C1DD-C109-A246-4FF91389EF07}"/>
                </a:ext>
              </a:extLst>
            </p:cNvPr>
            <p:cNvSpPr txBox="1"/>
            <p:nvPr/>
          </p:nvSpPr>
          <p:spPr>
            <a:xfrm>
              <a:off x="5077025" y="3038502"/>
              <a:ext cx="428045" cy="124438"/>
            </a:xfrm>
            <a:prstGeom prst="rect">
              <a:avLst/>
            </a:prstGeom>
            <a:noFill/>
          </p:spPr>
          <p:txBody>
            <a:bodyPr wrap="square" lIns="0" tIns="0" rIns="0" bIns="0" rtlCol="0">
              <a:normAutofit fontScale="62500" lnSpcReduction="20000"/>
            </a:bodyPr>
            <a:lstStyle/>
            <a:p>
              <a:pPr algn="l" defTabSz="228600">
                <a:spcAft>
                  <a:spcPts val="1200"/>
                </a:spcAft>
              </a:pPr>
              <a:r>
                <a:rPr lang="en-US" noProof="0"/>
                <a:t>Criteria</a:t>
              </a:r>
            </a:p>
          </p:txBody>
        </p:sp>
        <p:cxnSp>
          <p:nvCxnSpPr>
            <p:cNvPr id="99" name="Curved Connector 98">
              <a:extLst>
                <a:ext uri="{FF2B5EF4-FFF2-40B4-BE49-F238E27FC236}">
                  <a16:creationId xmlns:a16="http://schemas.microsoft.com/office/drawing/2014/main" id="{651CF85F-8A34-5610-17B7-A61922E45129}"/>
                </a:ext>
              </a:extLst>
            </p:cNvPr>
            <p:cNvCxnSpPr>
              <a:stCxn id="22" idx="1"/>
              <a:endCxn id="67" idx="1"/>
            </p:cNvCxnSpPr>
            <p:nvPr/>
          </p:nvCxnSpPr>
          <p:spPr>
            <a:xfrm rot="10800000" flipV="1">
              <a:off x="2985564" y="2880790"/>
              <a:ext cx="513093" cy="1411119"/>
            </a:xfrm>
            <a:prstGeom prst="curvedConnector3">
              <a:avLst>
                <a:gd name="adj1" fmla="val 163543"/>
              </a:avLst>
            </a:prstGeom>
            <a:ln>
              <a:tailEnd type="triangle"/>
            </a:ln>
          </p:spPr>
          <p:style>
            <a:lnRef idx="1">
              <a:schemeClr val="dk1"/>
            </a:lnRef>
            <a:fillRef idx="0">
              <a:schemeClr val="dk1"/>
            </a:fillRef>
            <a:effectRef idx="0">
              <a:schemeClr val="dk1"/>
            </a:effectRef>
            <a:fontRef idx="minor">
              <a:schemeClr val="tx1"/>
            </a:fontRef>
          </p:style>
        </p:cxnSp>
        <p:sp>
          <p:nvSpPr>
            <p:cNvPr id="100" name="TextBox 99">
              <a:extLst>
                <a:ext uri="{FF2B5EF4-FFF2-40B4-BE49-F238E27FC236}">
                  <a16:creationId xmlns:a16="http://schemas.microsoft.com/office/drawing/2014/main" id="{315A6C60-7C92-B19D-65AD-FA6D1746B771}"/>
                </a:ext>
              </a:extLst>
            </p:cNvPr>
            <p:cNvSpPr txBox="1"/>
            <p:nvPr/>
          </p:nvSpPr>
          <p:spPr>
            <a:xfrm>
              <a:off x="2305494" y="3567280"/>
              <a:ext cx="428045" cy="124438"/>
            </a:xfrm>
            <a:prstGeom prst="rect">
              <a:avLst/>
            </a:prstGeom>
            <a:noFill/>
          </p:spPr>
          <p:txBody>
            <a:bodyPr wrap="square" lIns="0" tIns="0" rIns="0" bIns="0" rtlCol="0">
              <a:normAutofit fontScale="62500" lnSpcReduction="20000"/>
            </a:bodyPr>
            <a:lstStyle/>
            <a:p>
              <a:pPr algn="l" defTabSz="228600">
                <a:spcAft>
                  <a:spcPts val="1200"/>
                </a:spcAft>
              </a:pPr>
              <a:r>
                <a:rPr lang="en-US" noProof="0"/>
                <a:t>Code</a:t>
              </a:r>
            </a:p>
          </p:txBody>
        </p:sp>
        <p:cxnSp>
          <p:nvCxnSpPr>
            <p:cNvPr id="102" name="Curved Connector 101">
              <a:extLst>
                <a:ext uri="{FF2B5EF4-FFF2-40B4-BE49-F238E27FC236}">
                  <a16:creationId xmlns:a16="http://schemas.microsoft.com/office/drawing/2014/main" id="{438DB283-25A0-7E2F-F722-3FA4FB1CDB00}"/>
                </a:ext>
              </a:extLst>
            </p:cNvPr>
            <p:cNvCxnSpPr>
              <a:cxnSpLocks/>
              <a:stCxn id="108" idx="1"/>
            </p:cNvCxnSpPr>
            <p:nvPr/>
          </p:nvCxnSpPr>
          <p:spPr>
            <a:xfrm rot="10800000" flipH="1">
              <a:off x="3059285" y="3100722"/>
              <a:ext cx="617260" cy="831273"/>
            </a:xfrm>
            <a:prstGeom prst="curvedConnector4">
              <a:avLst>
                <a:gd name="adj1" fmla="val -37035"/>
                <a:gd name="adj2" fmla="val 53742"/>
              </a:avLst>
            </a:prstGeom>
            <a:ln>
              <a:tailEnd type="triangle"/>
            </a:ln>
          </p:spPr>
          <p:style>
            <a:lnRef idx="1">
              <a:schemeClr val="dk1"/>
            </a:lnRef>
            <a:fillRef idx="0">
              <a:schemeClr val="dk1"/>
            </a:fillRef>
            <a:effectRef idx="0">
              <a:schemeClr val="dk1"/>
            </a:effectRef>
            <a:fontRef idx="minor">
              <a:schemeClr val="tx1"/>
            </a:fontRef>
          </p:style>
        </p:cxnSp>
        <p:sp>
          <p:nvSpPr>
            <p:cNvPr id="108" name="TextBox 107">
              <a:extLst>
                <a:ext uri="{FF2B5EF4-FFF2-40B4-BE49-F238E27FC236}">
                  <a16:creationId xmlns:a16="http://schemas.microsoft.com/office/drawing/2014/main" id="{AAB65218-590F-A8D4-4FB7-4B601423C260}"/>
                </a:ext>
              </a:extLst>
            </p:cNvPr>
            <p:cNvSpPr txBox="1"/>
            <p:nvPr/>
          </p:nvSpPr>
          <p:spPr>
            <a:xfrm>
              <a:off x="3059285" y="3869775"/>
              <a:ext cx="428045" cy="124438"/>
            </a:xfrm>
            <a:prstGeom prst="rect">
              <a:avLst/>
            </a:prstGeom>
            <a:noFill/>
          </p:spPr>
          <p:txBody>
            <a:bodyPr wrap="square" lIns="0" tIns="0" rIns="0" bIns="0" rtlCol="0">
              <a:normAutofit fontScale="55000" lnSpcReduction="20000"/>
            </a:bodyPr>
            <a:lstStyle/>
            <a:p>
              <a:pPr algn="l" defTabSz="228600">
                <a:spcAft>
                  <a:spcPts val="1200"/>
                </a:spcAft>
              </a:pPr>
              <a:r>
                <a:rPr lang="en-US" noProof="0"/>
                <a:t>Approval</a:t>
              </a:r>
            </a:p>
          </p:txBody>
        </p:sp>
        <p:sp>
          <p:nvSpPr>
            <p:cNvPr id="120" name="TextBox 119">
              <a:extLst>
                <a:ext uri="{FF2B5EF4-FFF2-40B4-BE49-F238E27FC236}">
                  <a16:creationId xmlns:a16="http://schemas.microsoft.com/office/drawing/2014/main" id="{DD80FFAD-68CB-1AF9-10D8-A4F8E9998EF1}"/>
                </a:ext>
              </a:extLst>
            </p:cNvPr>
            <p:cNvSpPr txBox="1"/>
            <p:nvPr/>
          </p:nvSpPr>
          <p:spPr>
            <a:xfrm>
              <a:off x="5828873" y="1609295"/>
              <a:ext cx="1019332" cy="227083"/>
            </a:xfrm>
            <a:prstGeom prst="rect">
              <a:avLst/>
            </a:prstGeom>
            <a:noFill/>
          </p:spPr>
          <p:txBody>
            <a:bodyPr wrap="none" lIns="0" tIns="0" rIns="0" bIns="0" rtlCol="0">
              <a:noAutofit/>
            </a:bodyPr>
            <a:lstStyle/>
            <a:p>
              <a:pPr algn="l" defTabSz="228600">
                <a:spcAft>
                  <a:spcPts val="1200"/>
                </a:spcAft>
              </a:pPr>
              <a:r>
                <a:rPr lang="en-US"/>
                <a:t>Workflow</a:t>
              </a:r>
              <a:endParaRPr lang="en-US" noProof="0"/>
            </a:p>
          </p:txBody>
        </p:sp>
      </p:grpSp>
      <p:sp>
        <p:nvSpPr>
          <p:cNvPr id="7" name="Snip Diagonal Corner Rectangle 6">
            <a:extLst>
              <a:ext uri="{FF2B5EF4-FFF2-40B4-BE49-F238E27FC236}">
                <a16:creationId xmlns:a16="http://schemas.microsoft.com/office/drawing/2014/main" id="{FE7ED405-0E5B-3A9E-C958-40161366F2C7}"/>
              </a:ext>
            </a:extLst>
          </p:cNvPr>
          <p:cNvSpPr/>
          <p:nvPr/>
        </p:nvSpPr>
        <p:spPr>
          <a:xfrm>
            <a:off x="110253" y="2252205"/>
            <a:ext cx="2763109" cy="758837"/>
          </a:xfrm>
          <a:prstGeom prst="snip2Diag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a:t>Human-in-the -loop</a:t>
            </a:r>
          </a:p>
        </p:txBody>
      </p:sp>
    </p:spTree>
    <p:extLst>
      <p:ext uri="{BB962C8B-B14F-4D97-AF65-F5344CB8AC3E}">
        <p14:creationId xmlns:p14="http://schemas.microsoft.com/office/powerpoint/2010/main" val="21639342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08140C-ADAD-4637-5037-E0F912807E8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1983B04-41C5-7703-7A02-4B815419121C}"/>
              </a:ext>
            </a:extLst>
          </p:cNvPr>
          <p:cNvSpPr>
            <a:spLocks noGrp="1"/>
          </p:cNvSpPr>
          <p:nvPr>
            <p:ph type="title"/>
          </p:nvPr>
        </p:nvSpPr>
        <p:spPr/>
        <p:txBody>
          <a:bodyPr/>
          <a:lstStyle/>
          <a:p>
            <a:r>
              <a:rPr lang="en-US" sz="3200"/>
              <a:t>Multi-Agent Systems</a:t>
            </a:r>
          </a:p>
        </p:txBody>
      </p:sp>
      <p:sp>
        <p:nvSpPr>
          <p:cNvPr id="3" name="Content Placeholder 2">
            <a:extLst>
              <a:ext uri="{FF2B5EF4-FFF2-40B4-BE49-F238E27FC236}">
                <a16:creationId xmlns:a16="http://schemas.microsoft.com/office/drawing/2014/main" id="{6CA3EE34-4EB6-0B1E-C3E5-1A7D71AF1E6B}"/>
              </a:ext>
            </a:extLst>
          </p:cNvPr>
          <p:cNvSpPr>
            <a:spLocks noGrp="1"/>
          </p:cNvSpPr>
          <p:nvPr>
            <p:ph sz="quarter" idx="10"/>
          </p:nvPr>
        </p:nvSpPr>
        <p:spPr>
          <a:xfrm>
            <a:off x="9013595" y="273711"/>
            <a:ext cx="2942867" cy="1798180"/>
          </a:xfrm>
        </p:spPr>
        <p:txBody>
          <a:bodyPr/>
          <a:lstStyle/>
          <a:p>
            <a:pPr marL="0" indent="0">
              <a:buNone/>
            </a:pPr>
            <a:r>
              <a:rPr lang="en-US" sz="1400" b="1"/>
              <a:t>On the Rise: </a:t>
            </a:r>
            <a:r>
              <a:rPr lang="en-US" sz="1400"/>
              <a:t>AI agents are moving from thought to action. Technology leaders Google, Microsoft, OpenAI and more are investing in libraries and frameworks to support agentic functionality, even inter-agentic protocols such as MCP and A2A.</a:t>
            </a:r>
            <a:endParaRPr lang="en-US" sz="1400" b="1"/>
          </a:p>
        </p:txBody>
      </p:sp>
      <p:grpSp>
        <p:nvGrpSpPr>
          <p:cNvPr id="121" name="Group 120">
            <a:extLst>
              <a:ext uri="{FF2B5EF4-FFF2-40B4-BE49-F238E27FC236}">
                <a16:creationId xmlns:a16="http://schemas.microsoft.com/office/drawing/2014/main" id="{2C8F66D1-2E54-20B0-40E0-16F3062728D8}"/>
              </a:ext>
            </a:extLst>
          </p:cNvPr>
          <p:cNvGrpSpPr/>
          <p:nvPr/>
        </p:nvGrpSpPr>
        <p:grpSpPr>
          <a:xfrm>
            <a:off x="1260738" y="1034374"/>
            <a:ext cx="10550262" cy="5264826"/>
            <a:chOff x="1910366" y="1389398"/>
            <a:chExt cx="8309020" cy="4541322"/>
          </a:xfrm>
        </p:grpSpPr>
        <p:sp>
          <p:nvSpPr>
            <p:cNvPr id="6" name="Oval 5">
              <a:extLst>
                <a:ext uri="{FF2B5EF4-FFF2-40B4-BE49-F238E27FC236}">
                  <a16:creationId xmlns:a16="http://schemas.microsoft.com/office/drawing/2014/main" id="{FBC0B96B-78FA-0672-D5EB-26ABB653EFDD}"/>
                </a:ext>
              </a:extLst>
            </p:cNvPr>
            <p:cNvSpPr/>
            <p:nvPr/>
          </p:nvSpPr>
          <p:spPr>
            <a:xfrm>
              <a:off x="2079938" y="1918951"/>
              <a:ext cx="8139448" cy="4011769"/>
            </a:xfrm>
            <a:prstGeom prst="ellipse">
              <a:avLst/>
            </a:prstGeom>
            <a:noFill/>
            <a:ln>
              <a:solidFill>
                <a:schemeClr val="tx1"/>
              </a:solidFill>
              <a:prstDash val="dash"/>
              <a:extLst>
                <a:ext uri="{C807C97D-BFC1-408E-A445-0C87EB9F89A2}">
                  <ask:lineSketchStyleProps xmlns:ask="http://schemas.microsoft.com/office/drawing/2018/sketchyshapes" sd="1219033472">
                    <a:custGeom>
                      <a:avLst/>
                      <a:gdLst>
                        <a:gd name="connsiteX0" fmla="*/ 0 w 8139448"/>
                        <a:gd name="connsiteY0" fmla="*/ 2228045 h 4456090"/>
                        <a:gd name="connsiteX1" fmla="*/ 4069724 w 8139448"/>
                        <a:gd name="connsiteY1" fmla="*/ 0 h 4456090"/>
                        <a:gd name="connsiteX2" fmla="*/ 8139448 w 8139448"/>
                        <a:gd name="connsiteY2" fmla="*/ 2228045 h 4456090"/>
                        <a:gd name="connsiteX3" fmla="*/ 4069724 w 8139448"/>
                        <a:gd name="connsiteY3" fmla="*/ 4456090 h 4456090"/>
                        <a:gd name="connsiteX4" fmla="*/ 0 w 8139448"/>
                        <a:gd name="connsiteY4" fmla="*/ 2228045 h 4456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39448" h="4456090" extrusionOk="0">
                          <a:moveTo>
                            <a:pt x="0" y="2228045"/>
                          </a:moveTo>
                          <a:cubicBezTo>
                            <a:pt x="-111860" y="928532"/>
                            <a:pt x="1485351" y="126379"/>
                            <a:pt x="4069724" y="0"/>
                          </a:cubicBezTo>
                          <a:cubicBezTo>
                            <a:pt x="6343377" y="5475"/>
                            <a:pt x="8050431" y="1000360"/>
                            <a:pt x="8139448" y="2228045"/>
                          </a:cubicBezTo>
                          <a:cubicBezTo>
                            <a:pt x="7858304" y="3733112"/>
                            <a:pt x="6293176" y="4589822"/>
                            <a:pt x="4069724" y="4456090"/>
                          </a:cubicBezTo>
                          <a:cubicBezTo>
                            <a:pt x="1808366" y="4448589"/>
                            <a:pt x="203733" y="3555905"/>
                            <a:pt x="0" y="2228045"/>
                          </a:cubicBezTo>
                          <a:close/>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pic>
          <p:nvPicPr>
            <p:cNvPr id="8" name="Graphic 7" descr="User with solid fill">
              <a:extLst>
                <a:ext uri="{FF2B5EF4-FFF2-40B4-BE49-F238E27FC236}">
                  <a16:creationId xmlns:a16="http://schemas.microsoft.com/office/drawing/2014/main" id="{C649B214-41D3-7151-47E6-1CCE6D4FF3D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910366" y="1389398"/>
              <a:ext cx="914400" cy="914400"/>
            </a:xfrm>
            <a:prstGeom prst="rect">
              <a:avLst/>
            </a:prstGeom>
          </p:spPr>
        </p:pic>
        <p:sp>
          <p:nvSpPr>
            <p:cNvPr id="22" name="Rectangle 21">
              <a:extLst>
                <a:ext uri="{FF2B5EF4-FFF2-40B4-BE49-F238E27FC236}">
                  <a16:creationId xmlns:a16="http://schemas.microsoft.com/office/drawing/2014/main" id="{8DE789B1-197F-86D2-B7E9-ACE60B76C014}"/>
                </a:ext>
              </a:extLst>
            </p:cNvPr>
            <p:cNvSpPr/>
            <p:nvPr/>
          </p:nvSpPr>
          <p:spPr>
            <a:xfrm>
              <a:off x="3498656" y="2452519"/>
              <a:ext cx="1490785" cy="856543"/>
            </a:xfrm>
            <a:prstGeom prst="rect">
              <a:avLst/>
            </a:prstGeom>
            <a:noFill/>
            <a:ln w="31750">
              <a:solidFill>
                <a:srgbClr val="FFFF00"/>
              </a:solidFill>
              <a:prstDash val="dash"/>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23" name="TextBox 22">
              <a:extLst>
                <a:ext uri="{FF2B5EF4-FFF2-40B4-BE49-F238E27FC236}">
                  <a16:creationId xmlns:a16="http://schemas.microsoft.com/office/drawing/2014/main" id="{F3B94656-3402-CF6B-238A-C31982D217F3}"/>
                </a:ext>
              </a:extLst>
            </p:cNvPr>
            <p:cNvSpPr txBox="1"/>
            <p:nvPr/>
          </p:nvSpPr>
          <p:spPr>
            <a:xfrm>
              <a:off x="3580261" y="3350976"/>
              <a:ext cx="836492" cy="156047"/>
            </a:xfrm>
            <a:prstGeom prst="rect">
              <a:avLst/>
            </a:prstGeom>
            <a:noFill/>
          </p:spPr>
          <p:txBody>
            <a:bodyPr wrap="none" lIns="0" tIns="0" rIns="0" bIns="0" rtlCol="0">
              <a:noAutofit/>
            </a:bodyPr>
            <a:lstStyle/>
            <a:p>
              <a:pPr algn="l" defTabSz="228600">
                <a:spcAft>
                  <a:spcPts val="1200"/>
                </a:spcAft>
              </a:pPr>
              <a:r>
                <a:rPr lang="en-US" sz="1050"/>
                <a:t>Orchestrator (Controller)</a:t>
              </a:r>
              <a:endParaRPr lang="en-US" sz="1050" noProof="0"/>
            </a:p>
          </p:txBody>
        </p:sp>
        <p:sp>
          <p:nvSpPr>
            <p:cNvPr id="33" name="Rectangle 32">
              <a:extLst>
                <a:ext uri="{FF2B5EF4-FFF2-40B4-BE49-F238E27FC236}">
                  <a16:creationId xmlns:a16="http://schemas.microsoft.com/office/drawing/2014/main" id="{8733F077-934F-2610-03F0-373D9E9192B5}"/>
                </a:ext>
              </a:extLst>
            </p:cNvPr>
            <p:cNvSpPr/>
            <p:nvPr/>
          </p:nvSpPr>
          <p:spPr>
            <a:xfrm>
              <a:off x="5570229" y="2330806"/>
              <a:ext cx="2126066" cy="959505"/>
            </a:xfrm>
            <a:prstGeom prst="rect">
              <a:avLst/>
            </a:prstGeom>
            <a:noFill/>
            <a:ln w="31750">
              <a:solidFill>
                <a:srgbClr val="7030A0"/>
              </a:solidFill>
              <a:prstDash val="dash"/>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34" name="TextBox 33">
              <a:extLst>
                <a:ext uri="{FF2B5EF4-FFF2-40B4-BE49-F238E27FC236}">
                  <a16:creationId xmlns:a16="http://schemas.microsoft.com/office/drawing/2014/main" id="{FDF5C8C7-45C2-F295-015F-A7B3991DA992}"/>
                </a:ext>
              </a:extLst>
            </p:cNvPr>
            <p:cNvSpPr txBox="1"/>
            <p:nvPr/>
          </p:nvSpPr>
          <p:spPr>
            <a:xfrm>
              <a:off x="5607853" y="3374282"/>
              <a:ext cx="3846878" cy="177254"/>
            </a:xfrm>
            <a:prstGeom prst="rect">
              <a:avLst/>
            </a:prstGeom>
            <a:noFill/>
          </p:spPr>
          <p:txBody>
            <a:bodyPr wrap="none" lIns="0" tIns="0" rIns="0" bIns="0" rtlCol="0">
              <a:noAutofit/>
            </a:bodyPr>
            <a:lstStyle/>
            <a:p>
              <a:pPr algn="l" defTabSz="228600">
                <a:spcAft>
                  <a:spcPts val="1200"/>
                </a:spcAft>
              </a:pPr>
              <a:r>
                <a:rPr lang="en-US" sz="1050"/>
                <a:t>Software Planner (Super Agent)</a:t>
              </a:r>
              <a:endParaRPr lang="en-US" sz="1050" noProof="0"/>
            </a:p>
          </p:txBody>
        </p:sp>
        <p:grpSp>
          <p:nvGrpSpPr>
            <p:cNvPr id="64" name="Group 63">
              <a:extLst>
                <a:ext uri="{FF2B5EF4-FFF2-40B4-BE49-F238E27FC236}">
                  <a16:creationId xmlns:a16="http://schemas.microsoft.com/office/drawing/2014/main" id="{1CA49285-FE0C-6DE0-E408-F6D85114C9E9}"/>
                </a:ext>
              </a:extLst>
            </p:cNvPr>
            <p:cNvGrpSpPr/>
            <p:nvPr/>
          </p:nvGrpSpPr>
          <p:grpSpPr>
            <a:xfrm>
              <a:off x="7696295" y="4030618"/>
              <a:ext cx="1599175" cy="1173121"/>
              <a:chOff x="5478882" y="4060128"/>
              <a:chExt cx="1599175" cy="1173121"/>
            </a:xfrm>
          </p:grpSpPr>
          <p:sp>
            <p:nvSpPr>
              <p:cNvPr id="43" name="Rectangle 42">
                <a:extLst>
                  <a:ext uri="{FF2B5EF4-FFF2-40B4-BE49-F238E27FC236}">
                    <a16:creationId xmlns:a16="http://schemas.microsoft.com/office/drawing/2014/main" id="{223FF99A-14DB-4163-74C3-2D01FFC08242}"/>
                  </a:ext>
                </a:extLst>
              </p:cNvPr>
              <p:cNvSpPr/>
              <p:nvPr/>
            </p:nvSpPr>
            <p:spPr>
              <a:xfrm>
                <a:off x="5478882" y="4060128"/>
                <a:ext cx="1599175" cy="959505"/>
              </a:xfrm>
              <a:prstGeom prst="rect">
                <a:avLst/>
              </a:prstGeom>
              <a:noFill/>
              <a:ln w="31750">
                <a:solidFill>
                  <a:srgbClr val="92D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44" name="TextBox 43">
                <a:extLst>
                  <a:ext uri="{FF2B5EF4-FFF2-40B4-BE49-F238E27FC236}">
                    <a16:creationId xmlns:a16="http://schemas.microsoft.com/office/drawing/2014/main" id="{0A8D87D9-6A86-5DDE-DA8D-EAEEA0DD6BE5}"/>
                  </a:ext>
                </a:extLst>
              </p:cNvPr>
              <p:cNvSpPr txBox="1"/>
              <p:nvPr/>
            </p:nvSpPr>
            <p:spPr>
              <a:xfrm>
                <a:off x="5631124" y="5077202"/>
                <a:ext cx="836492" cy="156047"/>
              </a:xfrm>
              <a:prstGeom prst="rect">
                <a:avLst/>
              </a:prstGeom>
              <a:noFill/>
            </p:spPr>
            <p:txBody>
              <a:bodyPr wrap="none" lIns="0" tIns="0" rIns="0" bIns="0" rtlCol="0">
                <a:noAutofit/>
              </a:bodyPr>
              <a:lstStyle/>
              <a:p>
                <a:pPr algn="l" defTabSz="228600">
                  <a:spcAft>
                    <a:spcPts val="1200"/>
                  </a:spcAft>
                </a:pPr>
                <a:r>
                  <a:rPr lang="en-US" sz="1050"/>
                  <a:t>Tester ( Worker Agent)</a:t>
                </a:r>
                <a:endParaRPr lang="en-US" sz="1050" noProof="0"/>
              </a:p>
            </p:txBody>
          </p:sp>
        </p:grpSp>
        <p:grpSp>
          <p:nvGrpSpPr>
            <p:cNvPr id="65" name="Group 64">
              <a:extLst>
                <a:ext uri="{FF2B5EF4-FFF2-40B4-BE49-F238E27FC236}">
                  <a16:creationId xmlns:a16="http://schemas.microsoft.com/office/drawing/2014/main" id="{629C2657-5448-2F24-DBDB-2C7C7AE4C9A1}"/>
                </a:ext>
              </a:extLst>
            </p:cNvPr>
            <p:cNvGrpSpPr/>
            <p:nvPr/>
          </p:nvGrpSpPr>
          <p:grpSpPr>
            <a:xfrm>
              <a:off x="5424222" y="4413147"/>
              <a:ext cx="1599175" cy="1187439"/>
              <a:chOff x="3136172" y="4016300"/>
              <a:chExt cx="1599175" cy="1187439"/>
            </a:xfrm>
          </p:grpSpPr>
          <p:sp>
            <p:nvSpPr>
              <p:cNvPr id="53" name="Rectangle 52">
                <a:extLst>
                  <a:ext uri="{FF2B5EF4-FFF2-40B4-BE49-F238E27FC236}">
                    <a16:creationId xmlns:a16="http://schemas.microsoft.com/office/drawing/2014/main" id="{AB1097E7-80BF-9C78-CBC6-0DD973065FD2}"/>
                  </a:ext>
                </a:extLst>
              </p:cNvPr>
              <p:cNvSpPr/>
              <p:nvPr/>
            </p:nvSpPr>
            <p:spPr>
              <a:xfrm>
                <a:off x="3136172" y="4016300"/>
                <a:ext cx="1599175" cy="959505"/>
              </a:xfrm>
              <a:prstGeom prst="rect">
                <a:avLst/>
              </a:prstGeom>
              <a:noFill/>
              <a:ln w="31750">
                <a:solidFill>
                  <a:srgbClr val="92D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56" name="TextBox 55">
                <a:extLst>
                  <a:ext uri="{FF2B5EF4-FFF2-40B4-BE49-F238E27FC236}">
                    <a16:creationId xmlns:a16="http://schemas.microsoft.com/office/drawing/2014/main" id="{C72A69B3-1325-5CC0-1AFD-5674226DBF5C}"/>
                  </a:ext>
                </a:extLst>
              </p:cNvPr>
              <p:cNvSpPr txBox="1"/>
              <p:nvPr/>
            </p:nvSpPr>
            <p:spPr>
              <a:xfrm>
                <a:off x="3252982" y="5047692"/>
                <a:ext cx="836492" cy="156047"/>
              </a:xfrm>
              <a:prstGeom prst="rect">
                <a:avLst/>
              </a:prstGeom>
              <a:noFill/>
            </p:spPr>
            <p:txBody>
              <a:bodyPr wrap="none" lIns="0" tIns="0" rIns="0" bIns="0" rtlCol="0">
                <a:noAutofit/>
              </a:bodyPr>
              <a:lstStyle/>
              <a:p>
                <a:pPr algn="l" defTabSz="228600">
                  <a:spcAft>
                    <a:spcPts val="1200"/>
                  </a:spcAft>
                </a:pPr>
                <a:r>
                  <a:rPr lang="en-US" sz="1050"/>
                  <a:t>Utility (Worker Agent)</a:t>
                </a:r>
                <a:endParaRPr lang="en-US" sz="1050" noProof="0"/>
              </a:p>
            </p:txBody>
          </p:sp>
          <p:pic>
            <p:nvPicPr>
              <p:cNvPr id="58" name="Graphic 57" descr="Programmer female with solid fill">
                <a:extLst>
                  <a:ext uri="{FF2B5EF4-FFF2-40B4-BE49-F238E27FC236}">
                    <a16:creationId xmlns:a16="http://schemas.microsoft.com/office/drawing/2014/main" id="{A4C2B0B8-6B75-8B93-5A25-8446640419D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168224" y="4168762"/>
                <a:ext cx="601301" cy="601301"/>
              </a:xfrm>
              <a:prstGeom prst="rect">
                <a:avLst/>
              </a:prstGeom>
            </p:spPr>
          </p:pic>
        </p:grpSp>
        <p:pic>
          <p:nvPicPr>
            <p:cNvPr id="60" name="Graphic 59" descr="Call center with solid fill">
              <a:extLst>
                <a:ext uri="{FF2B5EF4-FFF2-40B4-BE49-F238E27FC236}">
                  <a16:creationId xmlns:a16="http://schemas.microsoft.com/office/drawing/2014/main" id="{11CC224B-D134-14E1-CE6D-E16199B93F1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532550" y="2574282"/>
              <a:ext cx="535224" cy="535224"/>
            </a:xfrm>
            <a:prstGeom prst="rect">
              <a:avLst/>
            </a:prstGeom>
          </p:spPr>
        </p:pic>
        <p:pic>
          <p:nvPicPr>
            <p:cNvPr id="62" name="Graphic 61" descr="Scientist male with solid fill">
              <a:extLst>
                <a:ext uri="{FF2B5EF4-FFF2-40B4-BE49-F238E27FC236}">
                  <a16:creationId xmlns:a16="http://schemas.microsoft.com/office/drawing/2014/main" id="{5A12CFCB-3B5D-B371-7E81-6D8D3F8BC5E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806680" y="4222520"/>
              <a:ext cx="560395" cy="560395"/>
            </a:xfrm>
            <a:prstGeom prst="rect">
              <a:avLst/>
            </a:prstGeom>
          </p:spPr>
        </p:pic>
        <p:grpSp>
          <p:nvGrpSpPr>
            <p:cNvPr id="66" name="Group 65">
              <a:extLst>
                <a:ext uri="{FF2B5EF4-FFF2-40B4-BE49-F238E27FC236}">
                  <a16:creationId xmlns:a16="http://schemas.microsoft.com/office/drawing/2014/main" id="{73927460-218C-6334-33C5-7FD06BD862FE}"/>
                </a:ext>
              </a:extLst>
            </p:cNvPr>
            <p:cNvGrpSpPr/>
            <p:nvPr/>
          </p:nvGrpSpPr>
          <p:grpSpPr>
            <a:xfrm>
              <a:off x="2757907" y="3812157"/>
              <a:ext cx="2176129" cy="1201979"/>
              <a:chOff x="5989992" y="2792929"/>
              <a:chExt cx="2176129" cy="1201979"/>
            </a:xfrm>
          </p:grpSpPr>
          <p:sp>
            <p:nvSpPr>
              <p:cNvPr id="67" name="Rectangle 66">
                <a:extLst>
                  <a:ext uri="{FF2B5EF4-FFF2-40B4-BE49-F238E27FC236}">
                    <a16:creationId xmlns:a16="http://schemas.microsoft.com/office/drawing/2014/main" id="{C49683F7-0FF6-493C-DE7F-9B83DBD40669}"/>
                  </a:ext>
                </a:extLst>
              </p:cNvPr>
              <p:cNvSpPr/>
              <p:nvPr/>
            </p:nvSpPr>
            <p:spPr>
              <a:xfrm>
                <a:off x="6217648" y="2792929"/>
                <a:ext cx="1599175" cy="959505"/>
              </a:xfrm>
              <a:prstGeom prst="rect">
                <a:avLst/>
              </a:prstGeom>
              <a:noFill/>
              <a:ln w="31750">
                <a:solidFill>
                  <a:srgbClr val="92D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68" name="TextBox 67">
                <a:extLst>
                  <a:ext uri="{FF2B5EF4-FFF2-40B4-BE49-F238E27FC236}">
                    <a16:creationId xmlns:a16="http://schemas.microsoft.com/office/drawing/2014/main" id="{D03F27BA-1D3F-394A-1ADF-6BF8E118AE05}"/>
                  </a:ext>
                </a:extLst>
              </p:cNvPr>
              <p:cNvSpPr txBox="1"/>
              <p:nvPr/>
            </p:nvSpPr>
            <p:spPr>
              <a:xfrm>
                <a:off x="5989992" y="3817654"/>
                <a:ext cx="2176129" cy="177254"/>
              </a:xfrm>
              <a:prstGeom prst="rect">
                <a:avLst/>
              </a:prstGeom>
              <a:noFill/>
            </p:spPr>
            <p:txBody>
              <a:bodyPr wrap="none" lIns="0" tIns="0" rIns="0" bIns="0" rtlCol="0">
                <a:noAutofit/>
              </a:bodyPr>
              <a:lstStyle/>
              <a:p>
                <a:pPr algn="l" defTabSz="228600">
                  <a:spcAft>
                    <a:spcPts val="1200"/>
                  </a:spcAft>
                </a:pPr>
                <a:r>
                  <a:rPr lang="en-US" sz="1050"/>
                  <a:t>Secure Code (Worker Agent)</a:t>
                </a:r>
                <a:endParaRPr lang="en-US" sz="1050" noProof="0"/>
              </a:p>
            </p:txBody>
          </p:sp>
        </p:grpSp>
        <p:cxnSp>
          <p:nvCxnSpPr>
            <p:cNvPr id="70" name="Straight Arrow Connector 69">
              <a:extLst>
                <a:ext uri="{FF2B5EF4-FFF2-40B4-BE49-F238E27FC236}">
                  <a16:creationId xmlns:a16="http://schemas.microsoft.com/office/drawing/2014/main" id="{68025653-826F-8782-789F-5A6BAADAE28C}"/>
                </a:ext>
              </a:extLst>
            </p:cNvPr>
            <p:cNvCxnSpPr/>
            <p:nvPr/>
          </p:nvCxnSpPr>
          <p:spPr>
            <a:xfrm>
              <a:off x="2769755" y="1918951"/>
              <a:ext cx="689318" cy="46335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60CCE208-32FA-AC1F-C3BB-F0875762A512}"/>
                </a:ext>
              </a:extLst>
            </p:cNvPr>
            <p:cNvCxnSpPr/>
            <p:nvPr/>
          </p:nvCxnSpPr>
          <p:spPr>
            <a:xfrm>
              <a:off x="2939327" y="1820986"/>
              <a:ext cx="689318" cy="463351"/>
            </a:xfrm>
            <a:prstGeom prst="straightConnector1">
              <a:avLst/>
            </a:prstGeom>
            <a:ln w="28575">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749AF49F-EB13-46BC-8607-E212F3630C68}"/>
                </a:ext>
              </a:extLst>
            </p:cNvPr>
            <p:cNvSpPr txBox="1"/>
            <p:nvPr/>
          </p:nvSpPr>
          <p:spPr>
            <a:xfrm>
              <a:off x="2480107" y="2254423"/>
              <a:ext cx="689318" cy="177255"/>
            </a:xfrm>
            <a:prstGeom prst="rect">
              <a:avLst/>
            </a:prstGeom>
            <a:noFill/>
          </p:spPr>
          <p:txBody>
            <a:bodyPr wrap="none" lIns="0" tIns="0" rIns="0" bIns="0" rtlCol="0">
              <a:noAutofit/>
            </a:bodyPr>
            <a:lstStyle/>
            <a:p>
              <a:pPr algn="l" defTabSz="228600">
                <a:spcAft>
                  <a:spcPts val="1200"/>
                </a:spcAft>
              </a:pPr>
              <a:r>
                <a:rPr lang="en-US" sz="1000"/>
                <a:t>User Query</a:t>
              </a:r>
              <a:endParaRPr lang="en-US" sz="1000" noProof="0"/>
            </a:p>
          </p:txBody>
        </p:sp>
        <p:sp>
          <p:nvSpPr>
            <p:cNvPr id="73" name="TextBox 72">
              <a:extLst>
                <a:ext uri="{FF2B5EF4-FFF2-40B4-BE49-F238E27FC236}">
                  <a16:creationId xmlns:a16="http://schemas.microsoft.com/office/drawing/2014/main" id="{9A8DC20C-D41F-E92E-A731-262CB103B51F}"/>
                </a:ext>
              </a:extLst>
            </p:cNvPr>
            <p:cNvSpPr txBox="1"/>
            <p:nvPr/>
          </p:nvSpPr>
          <p:spPr>
            <a:xfrm>
              <a:off x="3573634" y="2012678"/>
              <a:ext cx="533058" cy="121576"/>
            </a:xfrm>
            <a:prstGeom prst="rect">
              <a:avLst/>
            </a:prstGeom>
            <a:noFill/>
          </p:spPr>
          <p:txBody>
            <a:bodyPr wrap="none" lIns="0" tIns="0" rIns="0" bIns="0" rtlCol="0">
              <a:noAutofit/>
            </a:bodyPr>
            <a:lstStyle/>
            <a:p>
              <a:pPr algn="l" defTabSz="228600">
                <a:spcAft>
                  <a:spcPts val="1200"/>
                </a:spcAft>
              </a:pPr>
              <a:r>
                <a:rPr lang="en-US" sz="1050" noProof="0"/>
                <a:t>Answer</a:t>
              </a:r>
            </a:p>
          </p:txBody>
        </p:sp>
        <p:sp>
          <p:nvSpPr>
            <p:cNvPr id="4" name="TextBox 3">
              <a:extLst>
                <a:ext uri="{FF2B5EF4-FFF2-40B4-BE49-F238E27FC236}">
                  <a16:creationId xmlns:a16="http://schemas.microsoft.com/office/drawing/2014/main" id="{D8526684-CD3F-1273-3376-C6663184777F}"/>
                </a:ext>
              </a:extLst>
            </p:cNvPr>
            <p:cNvSpPr txBox="1"/>
            <p:nvPr/>
          </p:nvSpPr>
          <p:spPr>
            <a:xfrm>
              <a:off x="4026833" y="2593039"/>
              <a:ext cx="836492" cy="757937"/>
            </a:xfrm>
            <a:prstGeom prst="rect">
              <a:avLst/>
            </a:prstGeom>
            <a:noFill/>
          </p:spPr>
          <p:txBody>
            <a:bodyPr wrap="square" lIns="0" tIns="0" rIns="0" bIns="0" rtlCol="0">
              <a:normAutofit/>
            </a:bodyPr>
            <a:lstStyle/>
            <a:p>
              <a:pPr algn="l" defTabSz="228600">
                <a:spcAft>
                  <a:spcPts val="1200"/>
                </a:spcAft>
              </a:pPr>
              <a:r>
                <a:rPr lang="en-US" sz="1000" noProof="0"/>
                <a:t>The controller agent plans the task on the user’s behalf.</a:t>
              </a:r>
            </a:p>
          </p:txBody>
        </p:sp>
        <p:sp>
          <p:nvSpPr>
            <p:cNvPr id="5" name="TextBox 4">
              <a:extLst>
                <a:ext uri="{FF2B5EF4-FFF2-40B4-BE49-F238E27FC236}">
                  <a16:creationId xmlns:a16="http://schemas.microsoft.com/office/drawing/2014/main" id="{925E7D22-0F0F-DE9F-82AD-CE322D1E1F98}"/>
                </a:ext>
              </a:extLst>
            </p:cNvPr>
            <p:cNvSpPr txBox="1"/>
            <p:nvPr/>
          </p:nvSpPr>
          <p:spPr>
            <a:xfrm>
              <a:off x="6416910" y="2589210"/>
              <a:ext cx="1144472" cy="520296"/>
            </a:xfrm>
            <a:prstGeom prst="rect">
              <a:avLst/>
            </a:prstGeom>
            <a:noFill/>
          </p:spPr>
          <p:txBody>
            <a:bodyPr wrap="square" lIns="0" tIns="0" rIns="0" bIns="0" rtlCol="0">
              <a:normAutofit fontScale="62500" lnSpcReduction="20000"/>
            </a:bodyPr>
            <a:lstStyle/>
            <a:p>
              <a:pPr algn="l" defTabSz="228600">
                <a:spcAft>
                  <a:spcPts val="1200"/>
                </a:spcAft>
              </a:pPr>
              <a:r>
                <a:rPr lang="en-US" noProof="0"/>
                <a:t>The software planner builds a sets of tasks based on capabilities.</a:t>
              </a:r>
            </a:p>
          </p:txBody>
        </p:sp>
        <p:pic>
          <p:nvPicPr>
            <p:cNvPr id="9" name="Graphic 8" descr="Aspiration outline">
              <a:extLst>
                <a:ext uri="{FF2B5EF4-FFF2-40B4-BE49-F238E27FC236}">
                  <a16:creationId xmlns:a16="http://schemas.microsoft.com/office/drawing/2014/main" id="{1B96EB48-4DD3-AFFB-FDB0-AF8B7ADAEAE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651050" y="2452519"/>
              <a:ext cx="731534" cy="731534"/>
            </a:xfrm>
            <a:prstGeom prst="rect">
              <a:avLst/>
            </a:prstGeom>
          </p:spPr>
        </p:pic>
        <p:cxnSp>
          <p:nvCxnSpPr>
            <p:cNvPr id="11" name="Straight Arrow Connector 10">
              <a:extLst>
                <a:ext uri="{FF2B5EF4-FFF2-40B4-BE49-F238E27FC236}">
                  <a16:creationId xmlns:a16="http://schemas.microsoft.com/office/drawing/2014/main" id="{A2B02197-CEC1-23FA-624F-C462EBF2F2BE}"/>
                </a:ext>
              </a:extLst>
            </p:cNvPr>
            <p:cNvCxnSpPr>
              <a:cxnSpLocks/>
            </p:cNvCxnSpPr>
            <p:nvPr/>
          </p:nvCxnSpPr>
          <p:spPr>
            <a:xfrm>
              <a:off x="6205928" y="3551536"/>
              <a:ext cx="0" cy="79882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8" name="Straight Arrow Connector 17">
              <a:extLst>
                <a:ext uri="{FF2B5EF4-FFF2-40B4-BE49-F238E27FC236}">
                  <a16:creationId xmlns:a16="http://schemas.microsoft.com/office/drawing/2014/main" id="{501260B8-BA72-6542-712E-81AD9814D4F3}"/>
                </a:ext>
              </a:extLst>
            </p:cNvPr>
            <p:cNvCxnSpPr>
              <a:cxnSpLocks/>
            </p:cNvCxnSpPr>
            <p:nvPr/>
          </p:nvCxnSpPr>
          <p:spPr>
            <a:xfrm flipV="1">
              <a:off x="6377524" y="3551536"/>
              <a:ext cx="0" cy="79882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1" name="TextBox 20">
              <a:extLst>
                <a:ext uri="{FF2B5EF4-FFF2-40B4-BE49-F238E27FC236}">
                  <a16:creationId xmlns:a16="http://schemas.microsoft.com/office/drawing/2014/main" id="{06D71E4E-7E2B-E14A-134D-F0E5CE2A9DCD}"/>
                </a:ext>
              </a:extLst>
            </p:cNvPr>
            <p:cNvSpPr txBox="1"/>
            <p:nvPr/>
          </p:nvSpPr>
          <p:spPr>
            <a:xfrm>
              <a:off x="5441430" y="3859967"/>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24" name="TextBox 23">
              <a:extLst>
                <a:ext uri="{FF2B5EF4-FFF2-40B4-BE49-F238E27FC236}">
                  <a16:creationId xmlns:a16="http://schemas.microsoft.com/office/drawing/2014/main" id="{E0E8D9E8-792F-EC7A-F319-FD35188B23E8}"/>
                </a:ext>
              </a:extLst>
            </p:cNvPr>
            <p:cNvSpPr txBox="1"/>
            <p:nvPr/>
          </p:nvSpPr>
          <p:spPr>
            <a:xfrm>
              <a:off x="5140105" y="3931994"/>
              <a:ext cx="1276805" cy="124438"/>
            </a:xfrm>
            <a:prstGeom prst="rect">
              <a:avLst/>
            </a:prstGeom>
            <a:noFill/>
          </p:spPr>
          <p:txBody>
            <a:bodyPr wrap="square" lIns="0" tIns="0" rIns="0" bIns="0" rtlCol="0">
              <a:normAutofit fontScale="92500" lnSpcReduction="20000"/>
            </a:bodyPr>
            <a:lstStyle/>
            <a:p>
              <a:pPr algn="l" defTabSz="228600">
                <a:spcAft>
                  <a:spcPts val="1200"/>
                </a:spcAft>
              </a:pPr>
              <a:r>
                <a:rPr lang="en-US" sz="1200" noProof="0"/>
                <a:t>Feature Request</a:t>
              </a:r>
            </a:p>
          </p:txBody>
        </p:sp>
        <p:sp>
          <p:nvSpPr>
            <p:cNvPr id="26" name="TextBox 25">
              <a:extLst>
                <a:ext uri="{FF2B5EF4-FFF2-40B4-BE49-F238E27FC236}">
                  <a16:creationId xmlns:a16="http://schemas.microsoft.com/office/drawing/2014/main" id="{6E3FE736-86BD-5F71-2F71-14B47C691DFE}"/>
                </a:ext>
              </a:extLst>
            </p:cNvPr>
            <p:cNvSpPr txBox="1"/>
            <p:nvPr/>
          </p:nvSpPr>
          <p:spPr>
            <a:xfrm>
              <a:off x="6473102" y="3935307"/>
              <a:ext cx="428045" cy="124438"/>
            </a:xfrm>
            <a:prstGeom prst="rect">
              <a:avLst/>
            </a:prstGeom>
            <a:noFill/>
          </p:spPr>
          <p:txBody>
            <a:bodyPr wrap="square" lIns="0" tIns="0" rIns="0" bIns="0" rtlCol="0">
              <a:normAutofit fontScale="62500" lnSpcReduction="20000"/>
            </a:bodyPr>
            <a:lstStyle/>
            <a:p>
              <a:pPr algn="l" defTabSz="228600">
                <a:spcAft>
                  <a:spcPts val="1200"/>
                </a:spcAft>
              </a:pPr>
              <a:r>
                <a:rPr lang="en-US" noProof="0"/>
                <a:t>Code</a:t>
              </a:r>
            </a:p>
          </p:txBody>
        </p:sp>
        <p:sp>
          <p:nvSpPr>
            <p:cNvPr id="27" name="TextBox 26">
              <a:extLst>
                <a:ext uri="{FF2B5EF4-FFF2-40B4-BE49-F238E27FC236}">
                  <a16:creationId xmlns:a16="http://schemas.microsoft.com/office/drawing/2014/main" id="{B6B11CF5-E0BF-75A4-1344-3194EB8E60AD}"/>
                </a:ext>
              </a:extLst>
            </p:cNvPr>
            <p:cNvSpPr txBox="1"/>
            <p:nvPr/>
          </p:nvSpPr>
          <p:spPr>
            <a:xfrm>
              <a:off x="7351046" y="3693315"/>
              <a:ext cx="668755" cy="177254"/>
            </a:xfrm>
            <a:prstGeom prst="rect">
              <a:avLst/>
            </a:prstGeom>
            <a:noFill/>
          </p:spPr>
          <p:txBody>
            <a:bodyPr wrap="square" lIns="0" tIns="0" rIns="0" bIns="0" rtlCol="0">
              <a:normAutofit/>
            </a:bodyPr>
            <a:lstStyle/>
            <a:p>
              <a:pPr algn="l" defTabSz="228600">
                <a:spcAft>
                  <a:spcPts val="1200"/>
                </a:spcAft>
              </a:pPr>
              <a:r>
                <a:rPr lang="en-US" sz="1050" noProof="0"/>
                <a:t>Unit Tests</a:t>
              </a:r>
            </a:p>
          </p:txBody>
        </p:sp>
        <p:grpSp>
          <p:nvGrpSpPr>
            <p:cNvPr id="45" name="Group 44">
              <a:extLst>
                <a:ext uri="{FF2B5EF4-FFF2-40B4-BE49-F238E27FC236}">
                  <a16:creationId xmlns:a16="http://schemas.microsoft.com/office/drawing/2014/main" id="{2C0C7C91-A52D-FB9B-718B-390F171D3337}"/>
                </a:ext>
              </a:extLst>
            </p:cNvPr>
            <p:cNvGrpSpPr/>
            <p:nvPr/>
          </p:nvGrpSpPr>
          <p:grpSpPr>
            <a:xfrm>
              <a:off x="6070489" y="4491637"/>
              <a:ext cx="882414" cy="799685"/>
              <a:chOff x="5988376" y="4485530"/>
              <a:chExt cx="882414" cy="799685"/>
            </a:xfrm>
          </p:grpSpPr>
          <p:sp>
            <p:nvSpPr>
              <p:cNvPr id="39" name="Rounded Rectangle 38">
                <a:extLst>
                  <a:ext uri="{FF2B5EF4-FFF2-40B4-BE49-F238E27FC236}">
                    <a16:creationId xmlns:a16="http://schemas.microsoft.com/office/drawing/2014/main" id="{05EF67F4-F84E-2071-E453-DF1FF02C32FA}"/>
                  </a:ext>
                </a:extLst>
              </p:cNvPr>
              <p:cNvSpPr/>
              <p:nvPr/>
            </p:nvSpPr>
            <p:spPr>
              <a:xfrm>
                <a:off x="5988376" y="4527616"/>
                <a:ext cx="882414" cy="757599"/>
              </a:xfrm>
              <a:prstGeom prst="roundRect">
                <a:avLst/>
              </a:prstGeom>
              <a:solidFill>
                <a:srgbClr val="92D050"/>
              </a:solidFill>
              <a:ln w="31750">
                <a:solidFill>
                  <a:srgbClr val="92D050"/>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b"/>
              <a:lstStyle/>
              <a:p>
                <a:pPr algn="ctr"/>
                <a:r>
                  <a:rPr lang="en-US"/>
                  <a:t>LLM</a:t>
                </a:r>
              </a:p>
            </p:txBody>
          </p:sp>
          <p:pic>
            <p:nvPicPr>
              <p:cNvPr id="42" name="Graphic 41" descr="Brain with solid fill">
                <a:extLst>
                  <a:ext uri="{FF2B5EF4-FFF2-40B4-BE49-F238E27FC236}">
                    <a16:creationId xmlns:a16="http://schemas.microsoft.com/office/drawing/2014/main" id="{4377191C-C35F-F069-E24E-976C9003CF25}"/>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154154" y="4485530"/>
                <a:ext cx="490775" cy="490775"/>
              </a:xfrm>
              <a:prstGeom prst="rect">
                <a:avLst/>
              </a:prstGeom>
            </p:spPr>
          </p:pic>
        </p:grpSp>
        <p:grpSp>
          <p:nvGrpSpPr>
            <p:cNvPr id="46" name="Group 45">
              <a:extLst>
                <a:ext uri="{FF2B5EF4-FFF2-40B4-BE49-F238E27FC236}">
                  <a16:creationId xmlns:a16="http://schemas.microsoft.com/office/drawing/2014/main" id="{B9139A85-E289-731D-4F96-4F759375828D}"/>
                </a:ext>
              </a:extLst>
            </p:cNvPr>
            <p:cNvGrpSpPr/>
            <p:nvPr/>
          </p:nvGrpSpPr>
          <p:grpSpPr>
            <a:xfrm>
              <a:off x="3630305" y="3882495"/>
              <a:ext cx="882414" cy="799685"/>
              <a:chOff x="5988376" y="4485530"/>
              <a:chExt cx="882414" cy="799685"/>
            </a:xfrm>
          </p:grpSpPr>
          <p:sp>
            <p:nvSpPr>
              <p:cNvPr id="47" name="Rounded Rectangle 46">
                <a:extLst>
                  <a:ext uri="{FF2B5EF4-FFF2-40B4-BE49-F238E27FC236}">
                    <a16:creationId xmlns:a16="http://schemas.microsoft.com/office/drawing/2014/main" id="{88B247B5-955F-2A4C-DC61-3502D0DDC1DA}"/>
                  </a:ext>
                </a:extLst>
              </p:cNvPr>
              <p:cNvSpPr/>
              <p:nvPr/>
            </p:nvSpPr>
            <p:spPr>
              <a:xfrm>
                <a:off x="5988376" y="4527616"/>
                <a:ext cx="882414" cy="757599"/>
              </a:xfrm>
              <a:prstGeom prst="roundRect">
                <a:avLst/>
              </a:prstGeom>
              <a:solidFill>
                <a:srgbClr val="92D050"/>
              </a:solidFill>
              <a:ln w="31750">
                <a:solidFill>
                  <a:srgbClr val="92D050"/>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b"/>
              <a:lstStyle/>
              <a:p>
                <a:pPr algn="ctr"/>
                <a:r>
                  <a:rPr lang="en-US"/>
                  <a:t>LLM</a:t>
                </a:r>
              </a:p>
            </p:txBody>
          </p:sp>
          <p:pic>
            <p:nvPicPr>
              <p:cNvPr id="48" name="Graphic 47" descr="Brain with solid fill">
                <a:extLst>
                  <a:ext uri="{FF2B5EF4-FFF2-40B4-BE49-F238E27FC236}">
                    <a16:creationId xmlns:a16="http://schemas.microsoft.com/office/drawing/2014/main" id="{3E87EC89-E295-0ABC-E5BD-4ECA90B2716D}"/>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154154" y="4485530"/>
                <a:ext cx="490775" cy="490775"/>
              </a:xfrm>
              <a:prstGeom prst="rect">
                <a:avLst/>
              </a:prstGeom>
            </p:spPr>
          </p:pic>
        </p:grpSp>
        <p:grpSp>
          <p:nvGrpSpPr>
            <p:cNvPr id="49" name="Group 48">
              <a:extLst>
                <a:ext uri="{FF2B5EF4-FFF2-40B4-BE49-F238E27FC236}">
                  <a16:creationId xmlns:a16="http://schemas.microsoft.com/office/drawing/2014/main" id="{0044DA19-3221-F163-31F6-BECA8B60F849}"/>
                </a:ext>
              </a:extLst>
            </p:cNvPr>
            <p:cNvGrpSpPr/>
            <p:nvPr/>
          </p:nvGrpSpPr>
          <p:grpSpPr>
            <a:xfrm>
              <a:off x="8325353" y="4097719"/>
              <a:ext cx="882414" cy="799685"/>
              <a:chOff x="5988376" y="4485530"/>
              <a:chExt cx="882414" cy="799685"/>
            </a:xfrm>
          </p:grpSpPr>
          <p:sp>
            <p:nvSpPr>
              <p:cNvPr id="50" name="Rounded Rectangle 49">
                <a:extLst>
                  <a:ext uri="{FF2B5EF4-FFF2-40B4-BE49-F238E27FC236}">
                    <a16:creationId xmlns:a16="http://schemas.microsoft.com/office/drawing/2014/main" id="{55C0D9AC-A305-0B44-53E7-AB1A79AC8ED9}"/>
                  </a:ext>
                </a:extLst>
              </p:cNvPr>
              <p:cNvSpPr/>
              <p:nvPr/>
            </p:nvSpPr>
            <p:spPr>
              <a:xfrm>
                <a:off x="5988376" y="4527616"/>
                <a:ext cx="882414" cy="757599"/>
              </a:xfrm>
              <a:prstGeom prst="roundRect">
                <a:avLst/>
              </a:prstGeom>
              <a:solidFill>
                <a:srgbClr val="92D050"/>
              </a:solidFill>
              <a:ln w="31750">
                <a:solidFill>
                  <a:srgbClr val="92D050"/>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b"/>
              <a:lstStyle/>
              <a:p>
                <a:pPr algn="ctr"/>
                <a:r>
                  <a:rPr lang="en-US"/>
                  <a:t>LLM</a:t>
                </a:r>
              </a:p>
            </p:txBody>
          </p:sp>
          <p:pic>
            <p:nvPicPr>
              <p:cNvPr id="51" name="Graphic 50" descr="Brain with solid fill">
                <a:extLst>
                  <a:ext uri="{FF2B5EF4-FFF2-40B4-BE49-F238E27FC236}">
                    <a16:creationId xmlns:a16="http://schemas.microsoft.com/office/drawing/2014/main" id="{D8713EB9-1D6B-585B-6ED7-6F6F06C66BCD}"/>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154154" y="4485530"/>
                <a:ext cx="490775" cy="490775"/>
              </a:xfrm>
              <a:prstGeom prst="rect">
                <a:avLst/>
              </a:prstGeom>
            </p:spPr>
          </p:pic>
        </p:grpSp>
        <p:pic>
          <p:nvPicPr>
            <p:cNvPr id="54" name="Graphic 53" descr="Shield Tick with solid fill">
              <a:extLst>
                <a:ext uri="{FF2B5EF4-FFF2-40B4-BE49-F238E27FC236}">
                  <a16:creationId xmlns:a16="http://schemas.microsoft.com/office/drawing/2014/main" id="{52E84EBC-BAE4-F3E7-F568-727FE4637F0C}"/>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2976832" y="3946668"/>
              <a:ext cx="679818" cy="679818"/>
            </a:xfrm>
            <a:prstGeom prst="rect">
              <a:avLst/>
            </a:prstGeom>
          </p:spPr>
        </p:pic>
        <p:cxnSp>
          <p:nvCxnSpPr>
            <p:cNvPr id="55" name="Straight Arrow Connector 54">
              <a:extLst>
                <a:ext uri="{FF2B5EF4-FFF2-40B4-BE49-F238E27FC236}">
                  <a16:creationId xmlns:a16="http://schemas.microsoft.com/office/drawing/2014/main" id="{C99045A6-F6A3-DEF2-CB50-EB768F49BB69}"/>
                </a:ext>
              </a:extLst>
            </p:cNvPr>
            <p:cNvCxnSpPr>
              <a:cxnSpLocks/>
            </p:cNvCxnSpPr>
            <p:nvPr/>
          </p:nvCxnSpPr>
          <p:spPr>
            <a:xfrm flipH="1" flipV="1">
              <a:off x="7712493" y="3350976"/>
              <a:ext cx="554290" cy="62207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61" name="Straight Arrow Connector 60">
              <a:extLst>
                <a:ext uri="{FF2B5EF4-FFF2-40B4-BE49-F238E27FC236}">
                  <a16:creationId xmlns:a16="http://schemas.microsoft.com/office/drawing/2014/main" id="{86E1444D-6496-FEE5-176C-B7A99CAF1869}"/>
                </a:ext>
              </a:extLst>
            </p:cNvPr>
            <p:cNvCxnSpPr>
              <a:cxnSpLocks/>
            </p:cNvCxnSpPr>
            <p:nvPr/>
          </p:nvCxnSpPr>
          <p:spPr>
            <a:xfrm>
              <a:off x="7778275" y="3199107"/>
              <a:ext cx="668755" cy="76187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78" name="TextBox 77">
              <a:extLst>
                <a:ext uri="{FF2B5EF4-FFF2-40B4-BE49-F238E27FC236}">
                  <a16:creationId xmlns:a16="http://schemas.microsoft.com/office/drawing/2014/main" id="{A854AED8-C0FD-FA57-04FE-2F1DDA72F49B}"/>
                </a:ext>
              </a:extLst>
            </p:cNvPr>
            <p:cNvSpPr txBox="1"/>
            <p:nvPr/>
          </p:nvSpPr>
          <p:spPr>
            <a:xfrm>
              <a:off x="8188557" y="3505061"/>
              <a:ext cx="428045" cy="124438"/>
            </a:xfrm>
            <a:prstGeom prst="rect">
              <a:avLst/>
            </a:prstGeom>
            <a:noFill/>
          </p:spPr>
          <p:txBody>
            <a:bodyPr wrap="square" lIns="0" tIns="0" rIns="0" bIns="0" rtlCol="0">
              <a:normAutofit fontScale="62500" lnSpcReduction="20000"/>
            </a:bodyPr>
            <a:lstStyle/>
            <a:p>
              <a:pPr algn="l" defTabSz="228600">
                <a:spcAft>
                  <a:spcPts val="1200"/>
                </a:spcAft>
              </a:pPr>
              <a:r>
                <a:rPr lang="en-US" noProof="0"/>
                <a:t>Code</a:t>
              </a:r>
            </a:p>
          </p:txBody>
        </p:sp>
        <p:cxnSp>
          <p:nvCxnSpPr>
            <p:cNvPr id="79" name="Straight Arrow Connector 78">
              <a:extLst>
                <a:ext uri="{FF2B5EF4-FFF2-40B4-BE49-F238E27FC236}">
                  <a16:creationId xmlns:a16="http://schemas.microsoft.com/office/drawing/2014/main" id="{18056224-0250-9A17-1445-0043D32F02DC}"/>
                </a:ext>
              </a:extLst>
            </p:cNvPr>
            <p:cNvCxnSpPr>
              <a:cxnSpLocks/>
            </p:cNvCxnSpPr>
            <p:nvPr/>
          </p:nvCxnSpPr>
          <p:spPr>
            <a:xfrm flipH="1">
              <a:off x="5041065" y="2873198"/>
              <a:ext cx="499967"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89" name="Straight Arrow Connector 88">
              <a:extLst>
                <a:ext uri="{FF2B5EF4-FFF2-40B4-BE49-F238E27FC236}">
                  <a16:creationId xmlns:a16="http://schemas.microsoft.com/office/drawing/2014/main" id="{669D5CB0-FCA6-409D-AE70-E67DB4168528}"/>
                </a:ext>
              </a:extLst>
            </p:cNvPr>
            <p:cNvCxnSpPr>
              <a:cxnSpLocks/>
            </p:cNvCxnSpPr>
            <p:nvPr/>
          </p:nvCxnSpPr>
          <p:spPr>
            <a:xfrm>
              <a:off x="5027394" y="2984582"/>
              <a:ext cx="542835"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91" name="TextBox 90">
              <a:extLst>
                <a:ext uri="{FF2B5EF4-FFF2-40B4-BE49-F238E27FC236}">
                  <a16:creationId xmlns:a16="http://schemas.microsoft.com/office/drawing/2014/main" id="{C015B843-E57B-81A5-020B-6FB4A13BD585}"/>
                </a:ext>
              </a:extLst>
            </p:cNvPr>
            <p:cNvSpPr txBox="1"/>
            <p:nvPr/>
          </p:nvSpPr>
          <p:spPr>
            <a:xfrm>
              <a:off x="5104231" y="2724920"/>
              <a:ext cx="428045" cy="124438"/>
            </a:xfrm>
            <a:prstGeom prst="rect">
              <a:avLst/>
            </a:prstGeom>
            <a:noFill/>
          </p:spPr>
          <p:txBody>
            <a:bodyPr wrap="square" lIns="0" tIns="0" rIns="0" bIns="0" rtlCol="0">
              <a:normAutofit fontScale="62500" lnSpcReduction="20000"/>
            </a:bodyPr>
            <a:lstStyle/>
            <a:p>
              <a:pPr algn="l" defTabSz="228600">
                <a:spcAft>
                  <a:spcPts val="1200"/>
                </a:spcAft>
              </a:pPr>
              <a:r>
                <a:rPr lang="en-US" noProof="0"/>
                <a:t>Code</a:t>
              </a:r>
            </a:p>
          </p:txBody>
        </p:sp>
        <p:sp>
          <p:nvSpPr>
            <p:cNvPr id="92" name="TextBox 91">
              <a:extLst>
                <a:ext uri="{FF2B5EF4-FFF2-40B4-BE49-F238E27FC236}">
                  <a16:creationId xmlns:a16="http://schemas.microsoft.com/office/drawing/2014/main" id="{57AFE2C8-C237-EB5E-1FF7-5319733110A2}"/>
                </a:ext>
              </a:extLst>
            </p:cNvPr>
            <p:cNvSpPr txBox="1"/>
            <p:nvPr/>
          </p:nvSpPr>
          <p:spPr>
            <a:xfrm>
              <a:off x="5077025" y="3038502"/>
              <a:ext cx="428045" cy="124438"/>
            </a:xfrm>
            <a:prstGeom prst="rect">
              <a:avLst/>
            </a:prstGeom>
            <a:noFill/>
          </p:spPr>
          <p:txBody>
            <a:bodyPr wrap="square" lIns="0" tIns="0" rIns="0" bIns="0" rtlCol="0">
              <a:normAutofit fontScale="62500" lnSpcReduction="20000"/>
            </a:bodyPr>
            <a:lstStyle/>
            <a:p>
              <a:pPr algn="l" defTabSz="228600">
                <a:spcAft>
                  <a:spcPts val="1200"/>
                </a:spcAft>
              </a:pPr>
              <a:r>
                <a:rPr lang="en-US" noProof="0"/>
                <a:t>Criteria</a:t>
              </a:r>
            </a:p>
          </p:txBody>
        </p:sp>
        <p:cxnSp>
          <p:nvCxnSpPr>
            <p:cNvPr id="99" name="Curved Connector 98">
              <a:extLst>
                <a:ext uri="{FF2B5EF4-FFF2-40B4-BE49-F238E27FC236}">
                  <a16:creationId xmlns:a16="http://schemas.microsoft.com/office/drawing/2014/main" id="{29F7ECBE-B1EA-6868-8DF5-9E21C7E4F8A4}"/>
                </a:ext>
              </a:extLst>
            </p:cNvPr>
            <p:cNvCxnSpPr>
              <a:stCxn id="22" idx="1"/>
              <a:endCxn id="67" idx="1"/>
            </p:cNvCxnSpPr>
            <p:nvPr/>
          </p:nvCxnSpPr>
          <p:spPr>
            <a:xfrm rot="10800000" flipV="1">
              <a:off x="2985564" y="2880790"/>
              <a:ext cx="513093" cy="1411119"/>
            </a:xfrm>
            <a:prstGeom prst="curvedConnector3">
              <a:avLst>
                <a:gd name="adj1" fmla="val 163543"/>
              </a:avLst>
            </a:prstGeom>
            <a:ln>
              <a:tailEnd type="triangle"/>
            </a:ln>
          </p:spPr>
          <p:style>
            <a:lnRef idx="1">
              <a:schemeClr val="dk1"/>
            </a:lnRef>
            <a:fillRef idx="0">
              <a:schemeClr val="dk1"/>
            </a:fillRef>
            <a:effectRef idx="0">
              <a:schemeClr val="dk1"/>
            </a:effectRef>
            <a:fontRef idx="minor">
              <a:schemeClr val="tx1"/>
            </a:fontRef>
          </p:style>
        </p:cxnSp>
        <p:sp>
          <p:nvSpPr>
            <p:cNvPr id="100" name="TextBox 99">
              <a:extLst>
                <a:ext uri="{FF2B5EF4-FFF2-40B4-BE49-F238E27FC236}">
                  <a16:creationId xmlns:a16="http://schemas.microsoft.com/office/drawing/2014/main" id="{13601953-6141-33EA-F875-DFE076D0B460}"/>
                </a:ext>
              </a:extLst>
            </p:cNvPr>
            <p:cNvSpPr txBox="1"/>
            <p:nvPr/>
          </p:nvSpPr>
          <p:spPr>
            <a:xfrm>
              <a:off x="2305494" y="3567280"/>
              <a:ext cx="428045" cy="124438"/>
            </a:xfrm>
            <a:prstGeom prst="rect">
              <a:avLst/>
            </a:prstGeom>
            <a:noFill/>
          </p:spPr>
          <p:txBody>
            <a:bodyPr wrap="square" lIns="0" tIns="0" rIns="0" bIns="0" rtlCol="0">
              <a:normAutofit fontScale="62500" lnSpcReduction="20000"/>
            </a:bodyPr>
            <a:lstStyle/>
            <a:p>
              <a:pPr algn="l" defTabSz="228600">
                <a:spcAft>
                  <a:spcPts val="1200"/>
                </a:spcAft>
              </a:pPr>
              <a:r>
                <a:rPr lang="en-US" noProof="0"/>
                <a:t>Code</a:t>
              </a:r>
            </a:p>
          </p:txBody>
        </p:sp>
        <p:cxnSp>
          <p:nvCxnSpPr>
            <p:cNvPr id="102" name="Curved Connector 101">
              <a:extLst>
                <a:ext uri="{FF2B5EF4-FFF2-40B4-BE49-F238E27FC236}">
                  <a16:creationId xmlns:a16="http://schemas.microsoft.com/office/drawing/2014/main" id="{31E0DBB1-99C2-0208-10E0-57523408B7D7}"/>
                </a:ext>
              </a:extLst>
            </p:cNvPr>
            <p:cNvCxnSpPr>
              <a:cxnSpLocks/>
              <a:stCxn id="108" idx="1"/>
            </p:cNvCxnSpPr>
            <p:nvPr/>
          </p:nvCxnSpPr>
          <p:spPr>
            <a:xfrm rot="10800000" flipH="1">
              <a:off x="3059285" y="3100722"/>
              <a:ext cx="617260" cy="831273"/>
            </a:xfrm>
            <a:prstGeom prst="curvedConnector4">
              <a:avLst>
                <a:gd name="adj1" fmla="val -37035"/>
                <a:gd name="adj2" fmla="val 53742"/>
              </a:avLst>
            </a:prstGeom>
            <a:ln>
              <a:tailEnd type="triangle"/>
            </a:ln>
          </p:spPr>
          <p:style>
            <a:lnRef idx="1">
              <a:schemeClr val="dk1"/>
            </a:lnRef>
            <a:fillRef idx="0">
              <a:schemeClr val="dk1"/>
            </a:fillRef>
            <a:effectRef idx="0">
              <a:schemeClr val="dk1"/>
            </a:effectRef>
            <a:fontRef idx="minor">
              <a:schemeClr val="tx1"/>
            </a:fontRef>
          </p:style>
        </p:cxnSp>
        <p:sp>
          <p:nvSpPr>
            <p:cNvPr id="108" name="TextBox 107">
              <a:extLst>
                <a:ext uri="{FF2B5EF4-FFF2-40B4-BE49-F238E27FC236}">
                  <a16:creationId xmlns:a16="http://schemas.microsoft.com/office/drawing/2014/main" id="{84D9A44C-14FF-DFE2-96EE-2FD80161CAF8}"/>
                </a:ext>
              </a:extLst>
            </p:cNvPr>
            <p:cNvSpPr txBox="1"/>
            <p:nvPr/>
          </p:nvSpPr>
          <p:spPr>
            <a:xfrm>
              <a:off x="3059285" y="3869775"/>
              <a:ext cx="428045" cy="124438"/>
            </a:xfrm>
            <a:prstGeom prst="rect">
              <a:avLst/>
            </a:prstGeom>
            <a:noFill/>
          </p:spPr>
          <p:txBody>
            <a:bodyPr wrap="square" lIns="0" tIns="0" rIns="0" bIns="0" rtlCol="0">
              <a:normAutofit fontScale="55000" lnSpcReduction="20000"/>
            </a:bodyPr>
            <a:lstStyle/>
            <a:p>
              <a:pPr algn="l" defTabSz="228600">
                <a:spcAft>
                  <a:spcPts val="1200"/>
                </a:spcAft>
              </a:pPr>
              <a:r>
                <a:rPr lang="en-US" noProof="0"/>
                <a:t>Approval</a:t>
              </a:r>
            </a:p>
          </p:txBody>
        </p:sp>
      </p:grpSp>
      <p:sp>
        <p:nvSpPr>
          <p:cNvPr id="7" name="TextBox 6">
            <a:extLst>
              <a:ext uri="{FF2B5EF4-FFF2-40B4-BE49-F238E27FC236}">
                <a16:creationId xmlns:a16="http://schemas.microsoft.com/office/drawing/2014/main" id="{CA51F093-0C97-1801-FB96-8FC8EE05E748}"/>
              </a:ext>
            </a:extLst>
          </p:cNvPr>
          <p:cNvSpPr txBox="1"/>
          <p:nvPr/>
        </p:nvSpPr>
        <p:spPr>
          <a:xfrm>
            <a:off x="6231669" y="1287836"/>
            <a:ext cx="1294283" cy="263261"/>
          </a:xfrm>
          <a:prstGeom prst="rect">
            <a:avLst/>
          </a:prstGeom>
          <a:noFill/>
        </p:spPr>
        <p:txBody>
          <a:bodyPr wrap="none" lIns="0" tIns="0" rIns="0" bIns="0" rtlCol="0">
            <a:noAutofit/>
          </a:bodyPr>
          <a:lstStyle/>
          <a:p>
            <a:pPr algn="l" defTabSz="228600">
              <a:spcAft>
                <a:spcPts val="1200"/>
              </a:spcAft>
            </a:pPr>
            <a:r>
              <a:rPr lang="en-US"/>
              <a:t>Workflow</a:t>
            </a:r>
            <a:endParaRPr lang="en-US" noProof="0"/>
          </a:p>
        </p:txBody>
      </p:sp>
      <p:sp>
        <p:nvSpPr>
          <p:cNvPr id="10" name="Snip Diagonal Corner Rectangle 9">
            <a:extLst>
              <a:ext uri="{FF2B5EF4-FFF2-40B4-BE49-F238E27FC236}">
                <a16:creationId xmlns:a16="http://schemas.microsoft.com/office/drawing/2014/main" id="{1969C1D1-8121-EA2A-2FBF-47B0FE4047C2}"/>
              </a:ext>
            </a:extLst>
          </p:cNvPr>
          <p:cNvSpPr/>
          <p:nvPr/>
        </p:nvSpPr>
        <p:spPr>
          <a:xfrm>
            <a:off x="8770881" y="2660206"/>
            <a:ext cx="2763109" cy="758837"/>
          </a:xfrm>
          <a:prstGeom prst="snip2Diag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a:t>Agent-to-agent communication</a:t>
            </a:r>
          </a:p>
        </p:txBody>
      </p:sp>
      <p:sp>
        <p:nvSpPr>
          <p:cNvPr id="12" name="Snip Diagonal Corner Rectangle 11">
            <a:extLst>
              <a:ext uri="{FF2B5EF4-FFF2-40B4-BE49-F238E27FC236}">
                <a16:creationId xmlns:a16="http://schemas.microsoft.com/office/drawing/2014/main" id="{8B29FAAB-4504-A8E4-9797-7AC624321E31}"/>
              </a:ext>
            </a:extLst>
          </p:cNvPr>
          <p:cNvSpPr/>
          <p:nvPr/>
        </p:nvSpPr>
        <p:spPr>
          <a:xfrm>
            <a:off x="6167795" y="4196649"/>
            <a:ext cx="2763109" cy="758837"/>
          </a:xfrm>
          <a:prstGeom prst="snip2Diag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a:t>Agent-to-agent communication</a:t>
            </a:r>
          </a:p>
        </p:txBody>
      </p:sp>
      <p:sp>
        <p:nvSpPr>
          <p:cNvPr id="13" name="Snip Diagonal Corner Rectangle 12">
            <a:extLst>
              <a:ext uri="{FF2B5EF4-FFF2-40B4-BE49-F238E27FC236}">
                <a16:creationId xmlns:a16="http://schemas.microsoft.com/office/drawing/2014/main" id="{B20C3782-D4B5-D7E1-88D5-A88E4B3838BD}"/>
              </a:ext>
            </a:extLst>
          </p:cNvPr>
          <p:cNvSpPr/>
          <p:nvPr/>
        </p:nvSpPr>
        <p:spPr>
          <a:xfrm>
            <a:off x="2969294" y="3624872"/>
            <a:ext cx="2763109" cy="758837"/>
          </a:xfrm>
          <a:prstGeom prst="snip2Diag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a:t>Agent-to-agent communication</a:t>
            </a:r>
          </a:p>
        </p:txBody>
      </p:sp>
    </p:spTree>
    <p:extLst>
      <p:ext uri="{BB962C8B-B14F-4D97-AF65-F5344CB8AC3E}">
        <p14:creationId xmlns:p14="http://schemas.microsoft.com/office/powerpoint/2010/main" val="342396299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76C3DB-A555-1D8A-26FC-7C4F0105A342}"/>
              </a:ext>
            </a:extLst>
          </p:cNvPr>
          <p:cNvSpPr>
            <a:spLocks noGrp="1"/>
          </p:cNvSpPr>
          <p:nvPr>
            <p:ph type="title"/>
          </p:nvPr>
        </p:nvSpPr>
        <p:spPr/>
        <p:txBody>
          <a:bodyPr/>
          <a:lstStyle/>
          <a:p>
            <a:r>
              <a:rPr lang="en-US"/>
              <a:t>The Rise of Language Agents</a:t>
            </a:r>
          </a:p>
        </p:txBody>
      </p:sp>
      <p:sp>
        <p:nvSpPr>
          <p:cNvPr id="3" name="Text Placeholder 2">
            <a:extLst>
              <a:ext uri="{FF2B5EF4-FFF2-40B4-BE49-F238E27FC236}">
                <a16:creationId xmlns:a16="http://schemas.microsoft.com/office/drawing/2014/main" id="{9187D018-D6CD-39F4-9957-7D35F4D32A35}"/>
              </a:ext>
            </a:extLst>
          </p:cNvPr>
          <p:cNvSpPr>
            <a:spLocks noGrp="1"/>
          </p:cNvSpPr>
          <p:nvPr>
            <p:ph type="body" sz="quarter" idx="10"/>
          </p:nvPr>
        </p:nvSpPr>
        <p:spPr>
          <a:xfrm>
            <a:off x="334352" y="965071"/>
            <a:ext cx="10554118" cy="1581914"/>
          </a:xfrm>
        </p:spPr>
        <p:txBody>
          <a:bodyPr/>
          <a:lstStyle/>
          <a:p>
            <a:r>
              <a:rPr lang="en-US"/>
              <a:t>Today we are focused on Language Agents using LLMs.</a:t>
            </a:r>
          </a:p>
          <a:p>
            <a:r>
              <a:rPr lang="en-US"/>
              <a:t>Modern Agents use LLMs + External Resources</a:t>
            </a:r>
          </a:p>
          <a:p>
            <a:r>
              <a:rPr lang="en-US"/>
              <a:t>Contemporary ”LLMs” are not just LLMs anymore!</a:t>
            </a:r>
          </a:p>
          <a:p>
            <a:r>
              <a:rPr lang="en-US"/>
              <a:t>Language is a vehicle for…. ?</a:t>
            </a:r>
          </a:p>
          <a:p>
            <a:pPr marL="0" indent="0">
              <a:buNone/>
            </a:pPr>
            <a:endParaRPr lang="en-US"/>
          </a:p>
        </p:txBody>
      </p:sp>
      <p:pic>
        <p:nvPicPr>
          <p:cNvPr id="4" name="Picture 3">
            <a:extLst>
              <a:ext uri="{FF2B5EF4-FFF2-40B4-BE49-F238E27FC236}">
                <a16:creationId xmlns:a16="http://schemas.microsoft.com/office/drawing/2014/main" id="{5D1E5584-94B2-7E34-3C1C-51CE12108422}"/>
              </a:ext>
            </a:extLst>
          </p:cNvPr>
          <p:cNvPicPr>
            <a:picLocks noChangeAspect="1"/>
          </p:cNvPicPr>
          <p:nvPr/>
        </p:nvPicPr>
        <p:blipFill>
          <a:blip r:embed="rId2"/>
          <a:stretch>
            <a:fillRect/>
          </a:stretch>
        </p:blipFill>
        <p:spPr>
          <a:xfrm>
            <a:off x="8370145" y="4031245"/>
            <a:ext cx="1857232" cy="1857232"/>
          </a:xfrm>
          <a:prstGeom prst="rect">
            <a:avLst/>
          </a:prstGeom>
        </p:spPr>
      </p:pic>
      <p:sp>
        <p:nvSpPr>
          <p:cNvPr id="5" name="TextBox 4">
            <a:extLst>
              <a:ext uri="{FF2B5EF4-FFF2-40B4-BE49-F238E27FC236}">
                <a16:creationId xmlns:a16="http://schemas.microsoft.com/office/drawing/2014/main" id="{BC5AB019-2D45-3790-241D-D203BEA83AAA}"/>
              </a:ext>
            </a:extLst>
          </p:cNvPr>
          <p:cNvSpPr txBox="1"/>
          <p:nvPr/>
        </p:nvSpPr>
        <p:spPr>
          <a:xfrm>
            <a:off x="888521" y="3674853"/>
            <a:ext cx="697627" cy="369332"/>
          </a:xfrm>
          <a:prstGeom prst="rect">
            <a:avLst/>
          </a:prstGeom>
          <a:noFill/>
        </p:spPr>
        <p:txBody>
          <a:bodyPr wrap="none" rtlCol="0">
            <a:spAutoFit/>
          </a:bodyPr>
          <a:lstStyle/>
          <a:p>
            <a:r>
              <a:rPr lang="en-US"/>
              <a:t>Input</a:t>
            </a:r>
          </a:p>
        </p:txBody>
      </p:sp>
      <p:cxnSp>
        <p:nvCxnSpPr>
          <p:cNvPr id="7" name="Straight Arrow Connector 6">
            <a:extLst>
              <a:ext uri="{FF2B5EF4-FFF2-40B4-BE49-F238E27FC236}">
                <a16:creationId xmlns:a16="http://schemas.microsoft.com/office/drawing/2014/main" id="{05FF8903-5E13-31F1-D4F0-AC52CD0D8D44}"/>
              </a:ext>
            </a:extLst>
          </p:cNvPr>
          <p:cNvCxnSpPr>
            <a:cxnSpLocks/>
            <a:stCxn id="5" idx="3"/>
          </p:cNvCxnSpPr>
          <p:nvPr/>
        </p:nvCxnSpPr>
        <p:spPr>
          <a:xfrm>
            <a:off x="1586148" y="3859519"/>
            <a:ext cx="1579746" cy="0"/>
          </a:xfrm>
          <a:prstGeom prst="straightConnector1">
            <a:avLst/>
          </a:prstGeom>
          <a:ln>
            <a:tailEnd type="triangle"/>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pic>
        <p:nvPicPr>
          <p:cNvPr id="10" name="Graphic 9" descr="Artificial Intelligence outline">
            <a:extLst>
              <a:ext uri="{FF2B5EF4-FFF2-40B4-BE49-F238E27FC236}">
                <a16:creationId xmlns:a16="http://schemas.microsoft.com/office/drawing/2014/main" id="{36B1B218-5DD5-A612-F735-0AD54453788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135731" y="3337943"/>
            <a:ext cx="914400" cy="914400"/>
          </a:xfrm>
          <a:prstGeom prst="rect">
            <a:avLst/>
          </a:prstGeom>
        </p:spPr>
      </p:pic>
      <p:cxnSp>
        <p:nvCxnSpPr>
          <p:cNvPr id="13" name="Straight Arrow Connector 12">
            <a:extLst>
              <a:ext uri="{FF2B5EF4-FFF2-40B4-BE49-F238E27FC236}">
                <a16:creationId xmlns:a16="http://schemas.microsoft.com/office/drawing/2014/main" id="{FECB21A9-7C99-EE1F-4449-FB02CC7F2EE9}"/>
              </a:ext>
            </a:extLst>
          </p:cNvPr>
          <p:cNvCxnSpPr>
            <a:cxnSpLocks/>
          </p:cNvCxnSpPr>
          <p:nvPr/>
        </p:nvCxnSpPr>
        <p:spPr>
          <a:xfrm>
            <a:off x="4115999" y="3859519"/>
            <a:ext cx="1669450" cy="0"/>
          </a:xfrm>
          <a:prstGeom prst="straightConnector1">
            <a:avLst/>
          </a:prstGeom>
          <a:ln>
            <a:tailEnd type="triangle"/>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sp>
        <p:nvSpPr>
          <p:cNvPr id="14" name="TextBox 13">
            <a:extLst>
              <a:ext uri="{FF2B5EF4-FFF2-40B4-BE49-F238E27FC236}">
                <a16:creationId xmlns:a16="http://schemas.microsoft.com/office/drawing/2014/main" id="{30791CB1-9729-D6BC-DBFD-F6BA48555FF9}"/>
              </a:ext>
            </a:extLst>
          </p:cNvPr>
          <p:cNvSpPr txBox="1"/>
          <p:nvPr/>
        </p:nvSpPr>
        <p:spPr>
          <a:xfrm>
            <a:off x="5831270" y="3674853"/>
            <a:ext cx="877163" cy="369332"/>
          </a:xfrm>
          <a:prstGeom prst="rect">
            <a:avLst/>
          </a:prstGeom>
          <a:noFill/>
        </p:spPr>
        <p:txBody>
          <a:bodyPr wrap="none" rtlCol="0">
            <a:spAutoFit/>
          </a:bodyPr>
          <a:lstStyle/>
          <a:p>
            <a:r>
              <a:rPr lang="en-US"/>
              <a:t>Output</a:t>
            </a:r>
          </a:p>
        </p:txBody>
      </p:sp>
      <p:pic>
        <p:nvPicPr>
          <p:cNvPr id="16" name="Graphic 15" descr="Earth globe: Americas with solid fill">
            <a:extLst>
              <a:ext uri="{FF2B5EF4-FFF2-40B4-BE49-F238E27FC236}">
                <a16:creationId xmlns:a16="http://schemas.microsoft.com/office/drawing/2014/main" id="{580D4DAD-F4D2-FCFB-90B4-AD9BF7F1969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135731" y="5168900"/>
            <a:ext cx="914400" cy="914400"/>
          </a:xfrm>
          <a:prstGeom prst="rect">
            <a:avLst/>
          </a:prstGeom>
        </p:spPr>
      </p:pic>
      <p:cxnSp>
        <p:nvCxnSpPr>
          <p:cNvPr id="18" name="Curved Connector 17">
            <a:extLst>
              <a:ext uri="{FF2B5EF4-FFF2-40B4-BE49-F238E27FC236}">
                <a16:creationId xmlns:a16="http://schemas.microsoft.com/office/drawing/2014/main" id="{AF7354C1-DA40-1B6A-8438-A748505219BE}"/>
              </a:ext>
            </a:extLst>
          </p:cNvPr>
          <p:cNvCxnSpPr>
            <a:stCxn id="14" idx="2"/>
            <a:endCxn id="16" idx="3"/>
          </p:cNvCxnSpPr>
          <p:nvPr/>
        </p:nvCxnSpPr>
        <p:spPr>
          <a:xfrm rot="5400000">
            <a:off x="4369035" y="3725282"/>
            <a:ext cx="1581915" cy="2219721"/>
          </a:xfrm>
          <a:prstGeom prst="curvedConnector2">
            <a:avLst/>
          </a:prstGeom>
          <a:ln>
            <a:tailEnd type="triangle"/>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cxnSp>
        <p:nvCxnSpPr>
          <p:cNvPr id="20" name="Curved Connector 19">
            <a:extLst>
              <a:ext uri="{FF2B5EF4-FFF2-40B4-BE49-F238E27FC236}">
                <a16:creationId xmlns:a16="http://schemas.microsoft.com/office/drawing/2014/main" id="{506C6EC6-80DE-8720-0BEB-7FF12D88B9CD}"/>
              </a:ext>
            </a:extLst>
          </p:cNvPr>
          <p:cNvCxnSpPr>
            <a:endCxn id="5" idx="2"/>
          </p:cNvCxnSpPr>
          <p:nvPr/>
        </p:nvCxnSpPr>
        <p:spPr>
          <a:xfrm rot="10800000">
            <a:off x="1237335" y="4044186"/>
            <a:ext cx="1898396" cy="1581915"/>
          </a:xfrm>
          <a:prstGeom prst="curvedConnector2">
            <a:avLst/>
          </a:prstGeom>
          <a:ln>
            <a:tailEnd type="triangle"/>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sp>
        <p:nvSpPr>
          <p:cNvPr id="21" name="TextBox 20">
            <a:extLst>
              <a:ext uri="{FF2B5EF4-FFF2-40B4-BE49-F238E27FC236}">
                <a16:creationId xmlns:a16="http://schemas.microsoft.com/office/drawing/2014/main" id="{928E5C0D-07D6-4E01-97EF-507D6997633A}"/>
              </a:ext>
            </a:extLst>
          </p:cNvPr>
          <p:cNvSpPr txBox="1"/>
          <p:nvPr/>
        </p:nvSpPr>
        <p:spPr>
          <a:xfrm>
            <a:off x="5857336" y="5279366"/>
            <a:ext cx="941283" cy="369332"/>
          </a:xfrm>
          <a:prstGeom prst="rect">
            <a:avLst/>
          </a:prstGeom>
          <a:noFill/>
        </p:spPr>
        <p:txBody>
          <a:bodyPr wrap="none" rtlCol="0">
            <a:spAutoFit/>
          </a:bodyPr>
          <a:lstStyle/>
          <a:p>
            <a:r>
              <a:rPr lang="en-US"/>
              <a:t>Actions</a:t>
            </a:r>
          </a:p>
        </p:txBody>
      </p:sp>
      <p:sp>
        <p:nvSpPr>
          <p:cNvPr id="22" name="TextBox 21">
            <a:extLst>
              <a:ext uri="{FF2B5EF4-FFF2-40B4-BE49-F238E27FC236}">
                <a16:creationId xmlns:a16="http://schemas.microsoft.com/office/drawing/2014/main" id="{28138CC5-9E51-FC16-17FE-6A11021BCFC6}"/>
              </a:ext>
            </a:extLst>
          </p:cNvPr>
          <p:cNvSpPr txBox="1"/>
          <p:nvPr/>
        </p:nvSpPr>
        <p:spPr>
          <a:xfrm>
            <a:off x="535860" y="5300702"/>
            <a:ext cx="1402948" cy="369332"/>
          </a:xfrm>
          <a:prstGeom prst="rect">
            <a:avLst/>
          </a:prstGeom>
          <a:noFill/>
        </p:spPr>
        <p:txBody>
          <a:bodyPr wrap="none" rtlCol="0">
            <a:spAutoFit/>
          </a:bodyPr>
          <a:lstStyle/>
          <a:p>
            <a:r>
              <a:rPr lang="en-US"/>
              <a:t>Perceptions</a:t>
            </a:r>
          </a:p>
        </p:txBody>
      </p:sp>
      <p:sp>
        <p:nvSpPr>
          <p:cNvPr id="23" name="Cloud Callout 22">
            <a:extLst>
              <a:ext uri="{FF2B5EF4-FFF2-40B4-BE49-F238E27FC236}">
                <a16:creationId xmlns:a16="http://schemas.microsoft.com/office/drawing/2014/main" id="{82D77144-B373-6EF3-780C-B54E243D8FC2}"/>
              </a:ext>
            </a:extLst>
          </p:cNvPr>
          <p:cNvSpPr/>
          <p:nvPr/>
        </p:nvSpPr>
        <p:spPr>
          <a:xfrm>
            <a:off x="7172691" y="2325557"/>
            <a:ext cx="4130788" cy="1404502"/>
          </a:xfrm>
          <a:prstGeom prst="cloudCallout">
            <a:avLst>
              <a:gd name="adj1" fmla="val 1721"/>
              <a:gd name="adj2" fmla="val 64957"/>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t>What about getting feedback, asking for help, consensus, and self-reflection?</a:t>
            </a:r>
          </a:p>
        </p:txBody>
      </p:sp>
      <p:sp>
        <p:nvSpPr>
          <p:cNvPr id="25" name="TextBox 24">
            <a:extLst>
              <a:ext uri="{FF2B5EF4-FFF2-40B4-BE49-F238E27FC236}">
                <a16:creationId xmlns:a16="http://schemas.microsoft.com/office/drawing/2014/main" id="{1805021D-D9BA-E575-FCA5-74DBE88B6733}"/>
              </a:ext>
            </a:extLst>
          </p:cNvPr>
          <p:cNvSpPr txBox="1"/>
          <p:nvPr/>
        </p:nvSpPr>
        <p:spPr>
          <a:xfrm>
            <a:off x="4023523" y="2649254"/>
            <a:ext cx="3149168" cy="923330"/>
          </a:xfrm>
          <a:prstGeom prst="rect">
            <a:avLst/>
          </a:prstGeom>
          <a:noFill/>
        </p:spPr>
        <p:txBody>
          <a:bodyPr wrap="square" rtlCol="0">
            <a:spAutoFit/>
          </a:bodyPr>
          <a:lstStyle/>
          <a:p>
            <a:r>
              <a:rPr lang="en-US">
                <a:solidFill>
                  <a:srgbClr val="FF0000"/>
                </a:solidFill>
              </a:rPr>
              <a:t>Instructions, personas, in context learning, reasoning, planning, tool use, etc.</a:t>
            </a:r>
          </a:p>
        </p:txBody>
      </p:sp>
    </p:spTree>
    <p:extLst>
      <p:ext uri="{BB962C8B-B14F-4D97-AF65-F5344CB8AC3E}">
        <p14:creationId xmlns:p14="http://schemas.microsoft.com/office/powerpoint/2010/main" val="350059747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3BFA84-1A9A-88C0-C872-20A9B194676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F9FF654-3FC5-978F-4A19-46B32BDBE48F}"/>
              </a:ext>
            </a:extLst>
          </p:cNvPr>
          <p:cNvSpPr>
            <a:spLocks noGrp="1"/>
          </p:cNvSpPr>
          <p:nvPr>
            <p:ph type="title"/>
          </p:nvPr>
        </p:nvSpPr>
        <p:spPr/>
        <p:txBody>
          <a:bodyPr/>
          <a:lstStyle/>
          <a:p>
            <a:r>
              <a:rPr lang="en-US"/>
              <a:t>A Single Agent View</a:t>
            </a:r>
          </a:p>
        </p:txBody>
      </p:sp>
      <p:sp>
        <p:nvSpPr>
          <p:cNvPr id="3" name="Text Placeholder 2">
            <a:extLst>
              <a:ext uri="{FF2B5EF4-FFF2-40B4-BE49-F238E27FC236}">
                <a16:creationId xmlns:a16="http://schemas.microsoft.com/office/drawing/2014/main" id="{67460FAE-9BDA-9F79-1E43-1EE2235419F1}"/>
              </a:ext>
            </a:extLst>
          </p:cNvPr>
          <p:cNvSpPr>
            <a:spLocks noGrp="1"/>
          </p:cNvSpPr>
          <p:nvPr>
            <p:ph type="body" sz="quarter" idx="10"/>
          </p:nvPr>
        </p:nvSpPr>
        <p:spPr>
          <a:xfrm>
            <a:off x="548517" y="1973538"/>
            <a:ext cx="3775462" cy="4957763"/>
          </a:xfrm>
        </p:spPr>
        <p:txBody>
          <a:bodyPr/>
          <a:lstStyle/>
          <a:p>
            <a:pPr marL="0" indent="0">
              <a:buNone/>
            </a:pPr>
            <a:r>
              <a:rPr lang="en-US"/>
              <a:t>The components of a single agent are:</a:t>
            </a:r>
            <a:br>
              <a:rPr lang="en-US"/>
            </a:br>
            <a:endParaRPr lang="en-US"/>
          </a:p>
          <a:p>
            <a:pPr lvl="1"/>
            <a:r>
              <a:rPr lang="en-US"/>
              <a:t>Action and tool use</a:t>
            </a:r>
          </a:p>
          <a:p>
            <a:pPr lvl="1"/>
            <a:r>
              <a:rPr lang="en-US"/>
              <a:t>Reasoning and evaluation</a:t>
            </a:r>
          </a:p>
          <a:p>
            <a:pPr lvl="1"/>
            <a:r>
              <a:rPr lang="en-US"/>
              <a:t>Profile and persona</a:t>
            </a:r>
          </a:p>
          <a:p>
            <a:pPr lvl="1"/>
            <a:r>
              <a:rPr lang="en-US"/>
              <a:t>Memory and knowledge</a:t>
            </a:r>
          </a:p>
          <a:p>
            <a:pPr lvl="1"/>
            <a:r>
              <a:rPr lang="en-US"/>
              <a:t>Planning and feedback</a:t>
            </a:r>
          </a:p>
          <a:p>
            <a:pPr marL="457192" lvl="1" indent="0">
              <a:buNone/>
            </a:pPr>
            <a:endParaRPr lang="en-US"/>
          </a:p>
          <a:p>
            <a:pPr marL="457192" lvl="1" indent="0">
              <a:buNone/>
            </a:pPr>
            <a:endParaRPr lang="en-US"/>
          </a:p>
        </p:txBody>
      </p:sp>
      <p:sp>
        <p:nvSpPr>
          <p:cNvPr id="4" name="Rounded Rectangle 3">
            <a:extLst>
              <a:ext uri="{FF2B5EF4-FFF2-40B4-BE49-F238E27FC236}">
                <a16:creationId xmlns:a16="http://schemas.microsoft.com/office/drawing/2014/main" id="{661166DE-F6CB-41B7-0F7B-8B7BA54EFD6E}"/>
              </a:ext>
            </a:extLst>
          </p:cNvPr>
          <p:cNvSpPr/>
          <p:nvPr/>
        </p:nvSpPr>
        <p:spPr>
          <a:xfrm>
            <a:off x="4502990" y="1673525"/>
            <a:ext cx="6901132" cy="981526"/>
          </a:xfrm>
          <a:prstGeom prst="roundRect">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a:t>Cross-cutting Issues</a:t>
            </a:r>
          </a:p>
        </p:txBody>
      </p:sp>
      <p:sp>
        <p:nvSpPr>
          <p:cNvPr id="5" name="Rounded Rectangle 4">
            <a:extLst>
              <a:ext uri="{FF2B5EF4-FFF2-40B4-BE49-F238E27FC236}">
                <a16:creationId xmlns:a16="http://schemas.microsoft.com/office/drawing/2014/main" id="{9CFA582A-E3EC-89F0-7826-57E73BF72A41}"/>
              </a:ext>
            </a:extLst>
          </p:cNvPr>
          <p:cNvSpPr/>
          <p:nvPr/>
        </p:nvSpPr>
        <p:spPr>
          <a:xfrm>
            <a:off x="4502989" y="2769080"/>
            <a:ext cx="3830127" cy="3571336"/>
          </a:xfrm>
          <a:prstGeom prst="roundRect">
            <a:avLst/>
          </a:prstGeom>
          <a:solidFill>
            <a:schemeClr val="accent6">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a:t>Core Competencies</a:t>
            </a:r>
          </a:p>
        </p:txBody>
      </p:sp>
      <p:sp>
        <p:nvSpPr>
          <p:cNvPr id="6" name="Rounded Rectangle 5">
            <a:extLst>
              <a:ext uri="{FF2B5EF4-FFF2-40B4-BE49-F238E27FC236}">
                <a16:creationId xmlns:a16="http://schemas.microsoft.com/office/drawing/2014/main" id="{B215A857-ABA8-5433-3C5D-8378E7810EE1}"/>
              </a:ext>
            </a:extLst>
          </p:cNvPr>
          <p:cNvSpPr/>
          <p:nvPr/>
        </p:nvSpPr>
        <p:spPr>
          <a:xfrm>
            <a:off x="8419381" y="2769080"/>
            <a:ext cx="2984740" cy="3571336"/>
          </a:xfrm>
          <a:prstGeom prst="roundRect">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a:t>Environments</a:t>
            </a:r>
          </a:p>
        </p:txBody>
      </p:sp>
      <p:sp>
        <p:nvSpPr>
          <p:cNvPr id="7" name="Rounded Rectangle 6">
            <a:extLst>
              <a:ext uri="{FF2B5EF4-FFF2-40B4-BE49-F238E27FC236}">
                <a16:creationId xmlns:a16="http://schemas.microsoft.com/office/drawing/2014/main" id="{B65E983B-7C28-E70B-09EA-E6C66B483C70}"/>
              </a:ext>
            </a:extLst>
          </p:cNvPr>
          <p:cNvSpPr/>
          <p:nvPr/>
        </p:nvSpPr>
        <p:spPr>
          <a:xfrm>
            <a:off x="4655672" y="2161700"/>
            <a:ext cx="759125" cy="402771"/>
          </a:xfrm>
          <a:prstGeom prst="roundRect">
            <a:avLst/>
          </a:prstGeom>
          <a:solidFill>
            <a:schemeClr val="tx1"/>
          </a:solidFill>
          <a:ln>
            <a:solidFill>
              <a:srgbClr val="0070C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Safety</a:t>
            </a:r>
          </a:p>
        </p:txBody>
      </p:sp>
      <p:sp>
        <p:nvSpPr>
          <p:cNvPr id="8" name="Rounded Rectangle 7">
            <a:extLst>
              <a:ext uri="{FF2B5EF4-FFF2-40B4-BE49-F238E27FC236}">
                <a16:creationId xmlns:a16="http://schemas.microsoft.com/office/drawing/2014/main" id="{794E44C9-7193-0192-502C-083C8027EC55}"/>
              </a:ext>
            </a:extLst>
          </p:cNvPr>
          <p:cNvSpPr/>
          <p:nvPr/>
        </p:nvSpPr>
        <p:spPr>
          <a:xfrm>
            <a:off x="7150177" y="2161700"/>
            <a:ext cx="1078237" cy="402771"/>
          </a:xfrm>
          <a:prstGeom prst="roundRect">
            <a:avLst/>
          </a:prstGeom>
          <a:solidFill>
            <a:schemeClr val="tx1"/>
          </a:solidFill>
          <a:ln>
            <a:solidFill>
              <a:srgbClr val="0070C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Evaluation</a:t>
            </a:r>
          </a:p>
        </p:txBody>
      </p:sp>
      <p:sp>
        <p:nvSpPr>
          <p:cNvPr id="9" name="Rounded Rectangle 8">
            <a:extLst>
              <a:ext uri="{FF2B5EF4-FFF2-40B4-BE49-F238E27FC236}">
                <a16:creationId xmlns:a16="http://schemas.microsoft.com/office/drawing/2014/main" id="{699E2885-650C-A9CD-CF5F-DA29BED79CD6}"/>
              </a:ext>
            </a:extLst>
          </p:cNvPr>
          <p:cNvSpPr/>
          <p:nvPr/>
        </p:nvSpPr>
        <p:spPr>
          <a:xfrm>
            <a:off x="9843218" y="2161700"/>
            <a:ext cx="1389045" cy="402771"/>
          </a:xfrm>
          <a:prstGeom prst="roundRect">
            <a:avLst/>
          </a:prstGeom>
          <a:solidFill>
            <a:schemeClr val="tx1"/>
          </a:solidFill>
          <a:ln>
            <a:solidFill>
              <a:srgbClr val="0070C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Synthetic Data</a:t>
            </a:r>
          </a:p>
        </p:txBody>
      </p:sp>
      <p:sp>
        <p:nvSpPr>
          <p:cNvPr id="10" name="Rounded Rectangle 9">
            <a:extLst>
              <a:ext uri="{FF2B5EF4-FFF2-40B4-BE49-F238E27FC236}">
                <a16:creationId xmlns:a16="http://schemas.microsoft.com/office/drawing/2014/main" id="{CC2BE3E1-457D-7DAF-4540-C66F6EC5D153}"/>
              </a:ext>
            </a:extLst>
          </p:cNvPr>
          <p:cNvSpPr/>
          <p:nvPr/>
        </p:nvSpPr>
        <p:spPr>
          <a:xfrm>
            <a:off x="8429745" y="2161700"/>
            <a:ext cx="1212141" cy="402771"/>
          </a:xfrm>
          <a:prstGeom prst="roundRect">
            <a:avLst/>
          </a:prstGeom>
          <a:solidFill>
            <a:schemeClr val="tx1"/>
          </a:solidFill>
          <a:ln>
            <a:solidFill>
              <a:srgbClr val="0070C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Applications</a:t>
            </a:r>
          </a:p>
        </p:txBody>
      </p:sp>
      <p:sp>
        <p:nvSpPr>
          <p:cNvPr id="11" name="Rounded Rectangle 10">
            <a:extLst>
              <a:ext uri="{FF2B5EF4-FFF2-40B4-BE49-F238E27FC236}">
                <a16:creationId xmlns:a16="http://schemas.microsoft.com/office/drawing/2014/main" id="{E70AAE85-C0B0-4B4E-E33D-9667FEDA1BE1}"/>
              </a:ext>
            </a:extLst>
          </p:cNvPr>
          <p:cNvSpPr/>
          <p:nvPr/>
        </p:nvSpPr>
        <p:spPr>
          <a:xfrm>
            <a:off x="5616128" y="2161700"/>
            <a:ext cx="1332718" cy="402771"/>
          </a:xfrm>
          <a:prstGeom prst="roundRect">
            <a:avLst/>
          </a:prstGeom>
          <a:solidFill>
            <a:schemeClr val="tx1"/>
          </a:solidFill>
          <a:ln>
            <a:solidFill>
              <a:srgbClr val="0070C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Efficiency</a:t>
            </a:r>
          </a:p>
        </p:txBody>
      </p:sp>
      <p:sp>
        <p:nvSpPr>
          <p:cNvPr id="12" name="Rounded Rectangle 11">
            <a:extLst>
              <a:ext uri="{FF2B5EF4-FFF2-40B4-BE49-F238E27FC236}">
                <a16:creationId xmlns:a16="http://schemas.microsoft.com/office/drawing/2014/main" id="{0F249B02-2C1C-EE66-2C45-67708F7C15B5}"/>
              </a:ext>
            </a:extLst>
          </p:cNvPr>
          <p:cNvSpPr/>
          <p:nvPr/>
        </p:nvSpPr>
        <p:spPr>
          <a:xfrm>
            <a:off x="7068401" y="3868396"/>
            <a:ext cx="1104225" cy="402771"/>
          </a:xfrm>
          <a:prstGeom prst="roundRect">
            <a:avLst/>
          </a:prstGeom>
          <a:solidFill>
            <a:schemeClr val="tx1"/>
          </a:solidFill>
          <a:ln>
            <a:solidFill>
              <a:srgbClr val="0070C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Multi-agent</a:t>
            </a:r>
          </a:p>
        </p:txBody>
      </p:sp>
      <p:sp>
        <p:nvSpPr>
          <p:cNvPr id="13" name="Rounded Rectangle 12">
            <a:extLst>
              <a:ext uri="{FF2B5EF4-FFF2-40B4-BE49-F238E27FC236}">
                <a16:creationId xmlns:a16="http://schemas.microsoft.com/office/drawing/2014/main" id="{6752751C-F3E6-24F9-8E1E-9426FFF4DFC3}"/>
              </a:ext>
            </a:extLst>
          </p:cNvPr>
          <p:cNvSpPr/>
          <p:nvPr/>
        </p:nvSpPr>
        <p:spPr>
          <a:xfrm>
            <a:off x="5707044" y="4343122"/>
            <a:ext cx="994545" cy="555828"/>
          </a:xfrm>
          <a:prstGeom prst="roundRect">
            <a:avLst/>
          </a:prstGeom>
          <a:solidFill>
            <a:schemeClr val="tx1"/>
          </a:solidFill>
          <a:ln>
            <a:solidFill>
              <a:srgbClr val="0070C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Continual Learning</a:t>
            </a:r>
          </a:p>
        </p:txBody>
      </p:sp>
      <p:sp>
        <p:nvSpPr>
          <p:cNvPr id="14" name="Rounded Rectangle 13">
            <a:extLst>
              <a:ext uri="{FF2B5EF4-FFF2-40B4-BE49-F238E27FC236}">
                <a16:creationId xmlns:a16="http://schemas.microsoft.com/office/drawing/2014/main" id="{B91E2B98-444B-5FEB-15FB-2EB8C4988681}"/>
              </a:ext>
            </a:extLst>
          </p:cNvPr>
          <p:cNvSpPr/>
          <p:nvPr/>
        </p:nvSpPr>
        <p:spPr>
          <a:xfrm>
            <a:off x="5971335" y="5051255"/>
            <a:ext cx="1060919" cy="402771"/>
          </a:xfrm>
          <a:prstGeom prst="roundRect">
            <a:avLst/>
          </a:prstGeom>
          <a:solidFill>
            <a:schemeClr val="tx1"/>
          </a:solidFill>
          <a:ln>
            <a:solidFill>
              <a:srgbClr val="0070C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Grounding</a:t>
            </a:r>
          </a:p>
        </p:txBody>
      </p:sp>
      <p:sp>
        <p:nvSpPr>
          <p:cNvPr id="15" name="Rounded Rectangle 14">
            <a:extLst>
              <a:ext uri="{FF2B5EF4-FFF2-40B4-BE49-F238E27FC236}">
                <a16:creationId xmlns:a16="http://schemas.microsoft.com/office/drawing/2014/main" id="{EE3A8701-FF46-86A2-A2A8-AF6DF0610786}"/>
              </a:ext>
            </a:extLst>
          </p:cNvPr>
          <p:cNvSpPr/>
          <p:nvPr/>
        </p:nvSpPr>
        <p:spPr>
          <a:xfrm>
            <a:off x="4645378" y="4452421"/>
            <a:ext cx="930269" cy="402771"/>
          </a:xfrm>
          <a:prstGeom prst="roundRect">
            <a:avLst/>
          </a:prstGeom>
          <a:solidFill>
            <a:schemeClr val="tx1"/>
          </a:solidFill>
          <a:ln>
            <a:solidFill>
              <a:srgbClr val="0070C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Planning</a:t>
            </a:r>
          </a:p>
        </p:txBody>
      </p:sp>
      <p:sp>
        <p:nvSpPr>
          <p:cNvPr id="16" name="Rounded Rectangle 15">
            <a:extLst>
              <a:ext uri="{FF2B5EF4-FFF2-40B4-BE49-F238E27FC236}">
                <a16:creationId xmlns:a16="http://schemas.microsoft.com/office/drawing/2014/main" id="{C3EAB6D8-0810-A449-D60C-127C5EEB5D3F}"/>
              </a:ext>
            </a:extLst>
          </p:cNvPr>
          <p:cNvSpPr/>
          <p:nvPr/>
        </p:nvSpPr>
        <p:spPr>
          <a:xfrm>
            <a:off x="7223917" y="3344558"/>
            <a:ext cx="956898" cy="402771"/>
          </a:xfrm>
          <a:prstGeom prst="roundRect">
            <a:avLst/>
          </a:prstGeom>
          <a:solidFill>
            <a:schemeClr val="tx1"/>
          </a:solidFill>
          <a:ln>
            <a:solidFill>
              <a:srgbClr val="0070C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Tool Use</a:t>
            </a:r>
          </a:p>
        </p:txBody>
      </p:sp>
      <p:sp>
        <p:nvSpPr>
          <p:cNvPr id="17" name="Rounded Rectangle 16">
            <a:extLst>
              <a:ext uri="{FF2B5EF4-FFF2-40B4-BE49-F238E27FC236}">
                <a16:creationId xmlns:a16="http://schemas.microsoft.com/office/drawing/2014/main" id="{4E68BA26-7D49-B9DB-EF84-0E032EEB6453}"/>
              </a:ext>
            </a:extLst>
          </p:cNvPr>
          <p:cNvSpPr/>
          <p:nvPr/>
        </p:nvSpPr>
        <p:spPr>
          <a:xfrm>
            <a:off x="4636796" y="5051255"/>
            <a:ext cx="1091301" cy="402771"/>
          </a:xfrm>
          <a:prstGeom prst="roundRect">
            <a:avLst/>
          </a:prstGeom>
          <a:solidFill>
            <a:schemeClr val="tx1"/>
          </a:solidFill>
          <a:ln>
            <a:solidFill>
              <a:srgbClr val="0070C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Reasoning</a:t>
            </a:r>
          </a:p>
        </p:txBody>
      </p:sp>
      <p:sp>
        <p:nvSpPr>
          <p:cNvPr id="18" name="Rounded Rectangle 17">
            <a:extLst>
              <a:ext uri="{FF2B5EF4-FFF2-40B4-BE49-F238E27FC236}">
                <a16:creationId xmlns:a16="http://schemas.microsoft.com/office/drawing/2014/main" id="{6DDB9B68-C058-CC6B-289D-892BEE032D24}"/>
              </a:ext>
            </a:extLst>
          </p:cNvPr>
          <p:cNvSpPr/>
          <p:nvPr/>
        </p:nvSpPr>
        <p:spPr>
          <a:xfrm>
            <a:off x="4636796" y="5604758"/>
            <a:ext cx="897135" cy="402771"/>
          </a:xfrm>
          <a:prstGeom prst="roundRect">
            <a:avLst/>
          </a:prstGeom>
          <a:solidFill>
            <a:schemeClr val="tx1"/>
          </a:solidFill>
          <a:ln>
            <a:solidFill>
              <a:srgbClr val="0070C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World Models</a:t>
            </a:r>
          </a:p>
        </p:txBody>
      </p:sp>
      <p:sp>
        <p:nvSpPr>
          <p:cNvPr id="19" name="Rounded Rectangle 18">
            <a:extLst>
              <a:ext uri="{FF2B5EF4-FFF2-40B4-BE49-F238E27FC236}">
                <a16:creationId xmlns:a16="http://schemas.microsoft.com/office/drawing/2014/main" id="{9B048243-ED57-69B4-9B7E-C03AD2B3F25D}"/>
              </a:ext>
            </a:extLst>
          </p:cNvPr>
          <p:cNvSpPr/>
          <p:nvPr/>
        </p:nvSpPr>
        <p:spPr>
          <a:xfrm>
            <a:off x="5687770" y="5608155"/>
            <a:ext cx="1087243" cy="402771"/>
          </a:xfrm>
          <a:prstGeom prst="roundRect">
            <a:avLst/>
          </a:prstGeom>
          <a:solidFill>
            <a:schemeClr val="tx1"/>
          </a:solidFill>
          <a:ln>
            <a:solidFill>
              <a:srgbClr val="0070C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Multimodal </a:t>
            </a:r>
          </a:p>
        </p:txBody>
      </p:sp>
      <p:sp>
        <p:nvSpPr>
          <p:cNvPr id="20" name="Rounded Rectangle 19">
            <a:extLst>
              <a:ext uri="{FF2B5EF4-FFF2-40B4-BE49-F238E27FC236}">
                <a16:creationId xmlns:a16="http://schemas.microsoft.com/office/drawing/2014/main" id="{74620633-7540-F272-AE3A-9D099FCC6A16}"/>
              </a:ext>
            </a:extLst>
          </p:cNvPr>
          <p:cNvSpPr/>
          <p:nvPr/>
        </p:nvSpPr>
        <p:spPr>
          <a:xfrm>
            <a:off x="7275491" y="5051255"/>
            <a:ext cx="897135" cy="402771"/>
          </a:xfrm>
          <a:prstGeom prst="roundRect">
            <a:avLst/>
          </a:prstGeom>
          <a:solidFill>
            <a:schemeClr val="tx1"/>
          </a:solidFill>
          <a:ln>
            <a:solidFill>
              <a:srgbClr val="0070C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Memory</a:t>
            </a:r>
          </a:p>
        </p:txBody>
      </p:sp>
      <p:sp>
        <p:nvSpPr>
          <p:cNvPr id="21" name="Rounded Rectangle 20">
            <a:extLst>
              <a:ext uri="{FF2B5EF4-FFF2-40B4-BE49-F238E27FC236}">
                <a16:creationId xmlns:a16="http://schemas.microsoft.com/office/drawing/2014/main" id="{505FD0A3-5E2B-FAE7-C1E5-EED57E99E051}"/>
              </a:ext>
            </a:extLst>
          </p:cNvPr>
          <p:cNvSpPr/>
          <p:nvPr/>
        </p:nvSpPr>
        <p:spPr>
          <a:xfrm>
            <a:off x="6948846" y="5596107"/>
            <a:ext cx="1253282" cy="402771"/>
          </a:xfrm>
          <a:prstGeom prst="roundRect">
            <a:avLst/>
          </a:prstGeom>
          <a:solidFill>
            <a:schemeClr val="tx1"/>
          </a:solidFill>
          <a:ln>
            <a:solidFill>
              <a:srgbClr val="0070C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Embodiment</a:t>
            </a:r>
          </a:p>
        </p:txBody>
      </p:sp>
      <p:sp>
        <p:nvSpPr>
          <p:cNvPr id="22" name="Rounded Rectangle 21">
            <a:extLst>
              <a:ext uri="{FF2B5EF4-FFF2-40B4-BE49-F238E27FC236}">
                <a16:creationId xmlns:a16="http://schemas.microsoft.com/office/drawing/2014/main" id="{378A0CF7-03B7-7D90-1952-9F6D6A384168}"/>
              </a:ext>
            </a:extLst>
          </p:cNvPr>
          <p:cNvSpPr/>
          <p:nvPr/>
        </p:nvSpPr>
        <p:spPr>
          <a:xfrm>
            <a:off x="9345328" y="5062033"/>
            <a:ext cx="915042" cy="402771"/>
          </a:xfrm>
          <a:prstGeom prst="roundRect">
            <a:avLst/>
          </a:prstGeom>
          <a:solidFill>
            <a:schemeClr val="tx1"/>
          </a:solidFill>
          <a:ln>
            <a:solidFill>
              <a:srgbClr val="0070C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Humans</a:t>
            </a:r>
          </a:p>
        </p:txBody>
      </p:sp>
      <p:sp>
        <p:nvSpPr>
          <p:cNvPr id="23" name="Rounded Rectangle 22">
            <a:extLst>
              <a:ext uri="{FF2B5EF4-FFF2-40B4-BE49-F238E27FC236}">
                <a16:creationId xmlns:a16="http://schemas.microsoft.com/office/drawing/2014/main" id="{863097CE-2F86-363D-21B8-4635558BECDF}"/>
              </a:ext>
            </a:extLst>
          </p:cNvPr>
          <p:cNvSpPr/>
          <p:nvPr/>
        </p:nvSpPr>
        <p:spPr>
          <a:xfrm>
            <a:off x="9661933" y="4560591"/>
            <a:ext cx="814623" cy="402771"/>
          </a:xfrm>
          <a:prstGeom prst="roundRect">
            <a:avLst/>
          </a:prstGeom>
          <a:solidFill>
            <a:schemeClr val="tx1"/>
          </a:solidFill>
          <a:ln>
            <a:solidFill>
              <a:srgbClr val="0070C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Agents</a:t>
            </a:r>
          </a:p>
        </p:txBody>
      </p:sp>
      <p:sp>
        <p:nvSpPr>
          <p:cNvPr id="24" name="Rounded Rectangle 23">
            <a:extLst>
              <a:ext uri="{FF2B5EF4-FFF2-40B4-BE49-F238E27FC236}">
                <a16:creationId xmlns:a16="http://schemas.microsoft.com/office/drawing/2014/main" id="{5E0867B5-F5C1-3D38-D4C3-395923348279}"/>
              </a:ext>
            </a:extLst>
          </p:cNvPr>
          <p:cNvSpPr/>
          <p:nvPr/>
        </p:nvSpPr>
        <p:spPr>
          <a:xfrm>
            <a:off x="8488995" y="5083732"/>
            <a:ext cx="759125" cy="402771"/>
          </a:xfrm>
          <a:prstGeom prst="roundRect">
            <a:avLst/>
          </a:prstGeom>
          <a:solidFill>
            <a:schemeClr val="tx1"/>
          </a:solidFill>
          <a:ln>
            <a:solidFill>
              <a:srgbClr val="0070C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Web</a:t>
            </a:r>
          </a:p>
        </p:txBody>
      </p:sp>
      <p:sp>
        <p:nvSpPr>
          <p:cNvPr id="25" name="Rounded Rectangle 24">
            <a:extLst>
              <a:ext uri="{FF2B5EF4-FFF2-40B4-BE49-F238E27FC236}">
                <a16:creationId xmlns:a16="http://schemas.microsoft.com/office/drawing/2014/main" id="{F3406D8B-536D-2D83-D185-E3E009291407}"/>
              </a:ext>
            </a:extLst>
          </p:cNvPr>
          <p:cNvSpPr/>
          <p:nvPr/>
        </p:nvSpPr>
        <p:spPr>
          <a:xfrm>
            <a:off x="10198811" y="5596106"/>
            <a:ext cx="1155283" cy="402771"/>
          </a:xfrm>
          <a:prstGeom prst="roundRect">
            <a:avLst/>
          </a:prstGeom>
          <a:solidFill>
            <a:schemeClr val="tx1"/>
          </a:solidFill>
          <a:ln>
            <a:solidFill>
              <a:srgbClr val="0070C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Documents</a:t>
            </a:r>
          </a:p>
        </p:txBody>
      </p:sp>
      <p:sp>
        <p:nvSpPr>
          <p:cNvPr id="26" name="Rounded Rectangle 25">
            <a:extLst>
              <a:ext uri="{FF2B5EF4-FFF2-40B4-BE49-F238E27FC236}">
                <a16:creationId xmlns:a16="http://schemas.microsoft.com/office/drawing/2014/main" id="{6F36A67B-6448-0AF7-0D74-E785C44E8CAF}"/>
              </a:ext>
            </a:extLst>
          </p:cNvPr>
          <p:cNvSpPr/>
          <p:nvPr/>
        </p:nvSpPr>
        <p:spPr>
          <a:xfrm>
            <a:off x="8505199" y="4550308"/>
            <a:ext cx="1089052" cy="402771"/>
          </a:xfrm>
          <a:prstGeom prst="roundRect">
            <a:avLst/>
          </a:prstGeom>
          <a:solidFill>
            <a:schemeClr val="tx1"/>
          </a:solidFill>
          <a:ln>
            <a:solidFill>
              <a:srgbClr val="0070C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Databases</a:t>
            </a:r>
          </a:p>
        </p:txBody>
      </p:sp>
      <p:sp>
        <p:nvSpPr>
          <p:cNvPr id="27" name="Rounded Rectangle 26">
            <a:extLst>
              <a:ext uri="{FF2B5EF4-FFF2-40B4-BE49-F238E27FC236}">
                <a16:creationId xmlns:a16="http://schemas.microsoft.com/office/drawing/2014/main" id="{B402EFE9-FE8D-3451-8975-37C661851EC7}"/>
              </a:ext>
            </a:extLst>
          </p:cNvPr>
          <p:cNvSpPr/>
          <p:nvPr/>
        </p:nvSpPr>
        <p:spPr>
          <a:xfrm>
            <a:off x="8488996" y="5600532"/>
            <a:ext cx="759125" cy="402771"/>
          </a:xfrm>
          <a:prstGeom prst="roundRect">
            <a:avLst/>
          </a:prstGeom>
          <a:solidFill>
            <a:schemeClr val="tx1"/>
          </a:solidFill>
          <a:ln>
            <a:solidFill>
              <a:srgbClr val="0070C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APIs</a:t>
            </a:r>
          </a:p>
        </p:txBody>
      </p:sp>
      <p:sp>
        <p:nvSpPr>
          <p:cNvPr id="28" name="Rounded Rectangle 27">
            <a:extLst>
              <a:ext uri="{FF2B5EF4-FFF2-40B4-BE49-F238E27FC236}">
                <a16:creationId xmlns:a16="http://schemas.microsoft.com/office/drawing/2014/main" id="{D47EC486-0343-237C-9551-5B8C21A997F7}"/>
              </a:ext>
            </a:extLst>
          </p:cNvPr>
          <p:cNvSpPr/>
          <p:nvPr/>
        </p:nvSpPr>
        <p:spPr>
          <a:xfrm>
            <a:off x="10357577" y="5070521"/>
            <a:ext cx="1011213" cy="402771"/>
          </a:xfrm>
          <a:prstGeom prst="roundRect">
            <a:avLst/>
          </a:prstGeom>
          <a:solidFill>
            <a:schemeClr val="tx1"/>
          </a:solidFill>
          <a:ln>
            <a:solidFill>
              <a:srgbClr val="0070C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Physical World</a:t>
            </a:r>
          </a:p>
        </p:txBody>
      </p:sp>
      <p:sp>
        <p:nvSpPr>
          <p:cNvPr id="29" name="Rounded Rectangle 28">
            <a:extLst>
              <a:ext uri="{FF2B5EF4-FFF2-40B4-BE49-F238E27FC236}">
                <a16:creationId xmlns:a16="http://schemas.microsoft.com/office/drawing/2014/main" id="{938EA898-41CC-2584-7E37-94E078E213FF}"/>
              </a:ext>
            </a:extLst>
          </p:cNvPr>
          <p:cNvSpPr/>
          <p:nvPr/>
        </p:nvSpPr>
        <p:spPr>
          <a:xfrm>
            <a:off x="9343904" y="5604758"/>
            <a:ext cx="759125" cy="402771"/>
          </a:xfrm>
          <a:prstGeom prst="roundRect">
            <a:avLst/>
          </a:prstGeom>
          <a:solidFill>
            <a:schemeClr val="tx1"/>
          </a:solidFill>
          <a:ln>
            <a:solidFill>
              <a:srgbClr val="0070C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LLMs</a:t>
            </a:r>
          </a:p>
        </p:txBody>
      </p:sp>
      <p:sp>
        <p:nvSpPr>
          <p:cNvPr id="30" name="Rounded Rectangle 29">
            <a:extLst>
              <a:ext uri="{FF2B5EF4-FFF2-40B4-BE49-F238E27FC236}">
                <a16:creationId xmlns:a16="http://schemas.microsoft.com/office/drawing/2014/main" id="{0390D209-2994-B654-1CB1-CCF6459C0622}"/>
              </a:ext>
            </a:extLst>
          </p:cNvPr>
          <p:cNvSpPr/>
          <p:nvPr/>
        </p:nvSpPr>
        <p:spPr>
          <a:xfrm>
            <a:off x="4645378" y="3878832"/>
            <a:ext cx="1015843" cy="402771"/>
          </a:xfrm>
          <a:prstGeom prst="roundRect">
            <a:avLst/>
          </a:prstGeom>
          <a:solidFill>
            <a:schemeClr val="tx1"/>
          </a:solidFill>
          <a:ln>
            <a:solidFill>
              <a:srgbClr val="0070C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Reflection</a:t>
            </a:r>
          </a:p>
        </p:txBody>
      </p:sp>
      <p:sp>
        <p:nvSpPr>
          <p:cNvPr id="31" name="Rounded Rectangle 30">
            <a:extLst>
              <a:ext uri="{FF2B5EF4-FFF2-40B4-BE49-F238E27FC236}">
                <a16:creationId xmlns:a16="http://schemas.microsoft.com/office/drawing/2014/main" id="{2DA1F18C-7E6C-AAE2-6F38-3A1CB590EA9A}"/>
              </a:ext>
            </a:extLst>
          </p:cNvPr>
          <p:cNvSpPr/>
          <p:nvPr/>
        </p:nvSpPr>
        <p:spPr>
          <a:xfrm>
            <a:off x="4636796" y="3344559"/>
            <a:ext cx="1322655" cy="402771"/>
          </a:xfrm>
          <a:prstGeom prst="roundRect">
            <a:avLst/>
          </a:prstGeom>
          <a:solidFill>
            <a:schemeClr val="tx1"/>
          </a:solidFill>
          <a:ln>
            <a:solidFill>
              <a:srgbClr val="0070C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Explainability</a:t>
            </a:r>
          </a:p>
        </p:txBody>
      </p:sp>
      <p:sp>
        <p:nvSpPr>
          <p:cNvPr id="32" name="Rounded Rectangle 31">
            <a:extLst>
              <a:ext uri="{FF2B5EF4-FFF2-40B4-BE49-F238E27FC236}">
                <a16:creationId xmlns:a16="http://schemas.microsoft.com/office/drawing/2014/main" id="{9709D789-1B93-9F52-927E-7593B7F331BF}"/>
              </a:ext>
            </a:extLst>
          </p:cNvPr>
          <p:cNvSpPr/>
          <p:nvPr/>
        </p:nvSpPr>
        <p:spPr>
          <a:xfrm>
            <a:off x="5836871" y="3861359"/>
            <a:ext cx="1055880" cy="402771"/>
          </a:xfrm>
          <a:prstGeom prst="roundRect">
            <a:avLst/>
          </a:prstGeom>
          <a:solidFill>
            <a:schemeClr val="tx1"/>
          </a:solidFill>
          <a:ln>
            <a:solidFill>
              <a:srgbClr val="0070C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Guardrails</a:t>
            </a:r>
          </a:p>
        </p:txBody>
      </p:sp>
      <p:sp>
        <p:nvSpPr>
          <p:cNvPr id="33" name="Rounded Rectangle 32">
            <a:extLst>
              <a:ext uri="{FF2B5EF4-FFF2-40B4-BE49-F238E27FC236}">
                <a16:creationId xmlns:a16="http://schemas.microsoft.com/office/drawing/2014/main" id="{979E33F7-285E-4510-C654-331017EC1471}"/>
              </a:ext>
            </a:extLst>
          </p:cNvPr>
          <p:cNvSpPr/>
          <p:nvPr/>
        </p:nvSpPr>
        <p:spPr>
          <a:xfrm>
            <a:off x="6055299" y="3351596"/>
            <a:ext cx="1072770" cy="402771"/>
          </a:xfrm>
          <a:prstGeom prst="roundRect">
            <a:avLst/>
          </a:prstGeom>
          <a:solidFill>
            <a:schemeClr val="tx1"/>
          </a:solidFill>
          <a:ln>
            <a:solidFill>
              <a:srgbClr val="0070C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Calibration</a:t>
            </a:r>
          </a:p>
        </p:txBody>
      </p:sp>
      <p:sp>
        <p:nvSpPr>
          <p:cNvPr id="34" name="Rounded Rectangle 33">
            <a:extLst>
              <a:ext uri="{FF2B5EF4-FFF2-40B4-BE49-F238E27FC236}">
                <a16:creationId xmlns:a16="http://schemas.microsoft.com/office/drawing/2014/main" id="{2B1C763A-306E-59A8-23D7-392B44CD4EF0}"/>
              </a:ext>
            </a:extLst>
          </p:cNvPr>
          <p:cNvSpPr/>
          <p:nvPr/>
        </p:nvSpPr>
        <p:spPr>
          <a:xfrm>
            <a:off x="6832986" y="4452420"/>
            <a:ext cx="1357999" cy="402771"/>
          </a:xfrm>
          <a:prstGeom prst="roundRect">
            <a:avLst/>
          </a:prstGeom>
          <a:solidFill>
            <a:schemeClr val="tx1"/>
          </a:solidFill>
          <a:ln>
            <a:solidFill>
              <a:srgbClr val="0070C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Transparency</a:t>
            </a:r>
          </a:p>
        </p:txBody>
      </p:sp>
      <p:sp>
        <p:nvSpPr>
          <p:cNvPr id="36" name="Rounded Rectangle 35">
            <a:extLst>
              <a:ext uri="{FF2B5EF4-FFF2-40B4-BE49-F238E27FC236}">
                <a16:creationId xmlns:a16="http://schemas.microsoft.com/office/drawing/2014/main" id="{4875BC20-9574-FF1A-BD1F-967ECE7E476E}"/>
              </a:ext>
            </a:extLst>
          </p:cNvPr>
          <p:cNvSpPr/>
          <p:nvPr/>
        </p:nvSpPr>
        <p:spPr>
          <a:xfrm>
            <a:off x="10123194" y="4039617"/>
            <a:ext cx="1230900" cy="402771"/>
          </a:xfrm>
          <a:prstGeom prst="roundRect">
            <a:avLst/>
          </a:prstGeom>
          <a:solidFill>
            <a:schemeClr val="tx1"/>
          </a:solidFill>
          <a:ln>
            <a:solidFill>
              <a:srgbClr val="0070C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IoT &amp; Edge</a:t>
            </a:r>
          </a:p>
          <a:p>
            <a:pPr algn="ctr"/>
            <a:r>
              <a:rPr lang="en-US" sz="1400"/>
              <a:t>Devices	</a:t>
            </a:r>
          </a:p>
        </p:txBody>
      </p:sp>
      <p:sp>
        <p:nvSpPr>
          <p:cNvPr id="37" name="Rounded Rectangle 36">
            <a:extLst>
              <a:ext uri="{FF2B5EF4-FFF2-40B4-BE49-F238E27FC236}">
                <a16:creationId xmlns:a16="http://schemas.microsoft.com/office/drawing/2014/main" id="{A400A2D6-C4DE-5322-3621-E20BE8D28390}"/>
              </a:ext>
            </a:extLst>
          </p:cNvPr>
          <p:cNvSpPr/>
          <p:nvPr/>
        </p:nvSpPr>
        <p:spPr>
          <a:xfrm>
            <a:off x="9558923" y="3521860"/>
            <a:ext cx="1795171" cy="402771"/>
          </a:xfrm>
          <a:prstGeom prst="roundRect">
            <a:avLst/>
          </a:prstGeom>
          <a:solidFill>
            <a:schemeClr val="tx1"/>
          </a:solidFill>
          <a:ln>
            <a:solidFill>
              <a:srgbClr val="0070C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Knowledge Graphs</a:t>
            </a:r>
          </a:p>
        </p:txBody>
      </p:sp>
      <p:sp>
        <p:nvSpPr>
          <p:cNvPr id="38" name="Rounded Rectangle 37">
            <a:extLst>
              <a:ext uri="{FF2B5EF4-FFF2-40B4-BE49-F238E27FC236}">
                <a16:creationId xmlns:a16="http://schemas.microsoft.com/office/drawing/2014/main" id="{8DCCDCDB-BE32-6867-1736-CF8A7B6BE9B4}"/>
              </a:ext>
            </a:extLst>
          </p:cNvPr>
          <p:cNvSpPr/>
          <p:nvPr/>
        </p:nvSpPr>
        <p:spPr>
          <a:xfrm>
            <a:off x="8494072" y="3529667"/>
            <a:ext cx="1011213" cy="402771"/>
          </a:xfrm>
          <a:prstGeom prst="roundRect">
            <a:avLst/>
          </a:prstGeom>
          <a:solidFill>
            <a:schemeClr val="tx1"/>
          </a:solidFill>
          <a:ln>
            <a:solidFill>
              <a:srgbClr val="0070C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Event Streams</a:t>
            </a:r>
          </a:p>
        </p:txBody>
      </p:sp>
      <p:sp>
        <p:nvSpPr>
          <p:cNvPr id="39" name="Rounded Rectangle 38">
            <a:extLst>
              <a:ext uri="{FF2B5EF4-FFF2-40B4-BE49-F238E27FC236}">
                <a16:creationId xmlns:a16="http://schemas.microsoft.com/office/drawing/2014/main" id="{96346CF4-EC29-19F0-6C59-CB561D9D271E}"/>
              </a:ext>
            </a:extLst>
          </p:cNvPr>
          <p:cNvSpPr/>
          <p:nvPr/>
        </p:nvSpPr>
        <p:spPr>
          <a:xfrm>
            <a:off x="8487061" y="4037450"/>
            <a:ext cx="1462274" cy="402771"/>
          </a:xfrm>
          <a:prstGeom prst="roundRect">
            <a:avLst/>
          </a:prstGeom>
          <a:solidFill>
            <a:schemeClr val="tx1"/>
          </a:solidFill>
          <a:ln>
            <a:solidFill>
              <a:srgbClr val="0070C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E-Commerce</a:t>
            </a:r>
          </a:p>
        </p:txBody>
      </p:sp>
      <p:sp>
        <p:nvSpPr>
          <p:cNvPr id="41" name="Rounded Rectangle 40">
            <a:extLst>
              <a:ext uri="{FF2B5EF4-FFF2-40B4-BE49-F238E27FC236}">
                <a16:creationId xmlns:a16="http://schemas.microsoft.com/office/drawing/2014/main" id="{BC654981-FFBB-4AF4-926B-9279D51881A1}"/>
              </a:ext>
            </a:extLst>
          </p:cNvPr>
          <p:cNvSpPr/>
          <p:nvPr/>
        </p:nvSpPr>
        <p:spPr>
          <a:xfrm>
            <a:off x="10544238" y="4555069"/>
            <a:ext cx="814623" cy="402771"/>
          </a:xfrm>
          <a:prstGeom prst="roundRect">
            <a:avLst/>
          </a:prstGeom>
          <a:solidFill>
            <a:schemeClr val="tx1"/>
          </a:solidFill>
          <a:ln>
            <a:solidFill>
              <a:srgbClr val="0070C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Search</a:t>
            </a:r>
          </a:p>
        </p:txBody>
      </p:sp>
    </p:spTree>
    <p:extLst>
      <p:ext uri="{BB962C8B-B14F-4D97-AF65-F5344CB8AC3E}">
        <p14:creationId xmlns:p14="http://schemas.microsoft.com/office/powerpoint/2010/main" val="166375693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9F6B63-BD30-6F73-28FF-8A3E7B62D9D7}"/>
              </a:ext>
            </a:extLst>
          </p:cNvPr>
          <p:cNvSpPr>
            <a:spLocks noGrp="1"/>
          </p:cNvSpPr>
          <p:nvPr>
            <p:ph type="title"/>
          </p:nvPr>
        </p:nvSpPr>
        <p:spPr/>
        <p:txBody>
          <a:bodyPr/>
          <a:lstStyle/>
          <a:p>
            <a:r>
              <a:rPr lang="en-US"/>
              <a:t>Why are AI Agents Important? (Key Benefits)</a:t>
            </a:r>
          </a:p>
        </p:txBody>
      </p:sp>
      <p:grpSp>
        <p:nvGrpSpPr>
          <p:cNvPr id="45" name="Group 44">
            <a:extLst>
              <a:ext uri="{FF2B5EF4-FFF2-40B4-BE49-F238E27FC236}">
                <a16:creationId xmlns:a16="http://schemas.microsoft.com/office/drawing/2014/main" id="{A1DD02A0-052D-A9D3-995D-A6827E400F17}"/>
              </a:ext>
            </a:extLst>
          </p:cNvPr>
          <p:cNvGrpSpPr>
            <a:grpSpLocks noChangeAspect="1"/>
          </p:cNvGrpSpPr>
          <p:nvPr/>
        </p:nvGrpSpPr>
        <p:grpSpPr>
          <a:xfrm>
            <a:off x="2398288" y="1107286"/>
            <a:ext cx="7566413" cy="5206995"/>
            <a:chOff x="1483984" y="1631806"/>
            <a:chExt cx="6176028" cy="4250168"/>
          </a:xfrm>
        </p:grpSpPr>
        <p:grpSp>
          <p:nvGrpSpPr>
            <p:cNvPr id="3" name="Group 2">
              <a:extLst>
                <a:ext uri="{FF2B5EF4-FFF2-40B4-BE49-F238E27FC236}">
                  <a16:creationId xmlns:a16="http://schemas.microsoft.com/office/drawing/2014/main" id="{D77E3364-C9B9-2967-117C-5BA470D8712D}"/>
                </a:ext>
              </a:extLst>
            </p:cNvPr>
            <p:cNvGrpSpPr/>
            <p:nvPr/>
          </p:nvGrpSpPr>
          <p:grpSpPr>
            <a:xfrm>
              <a:off x="1483984" y="1631806"/>
              <a:ext cx="1394586" cy="2085801"/>
              <a:chOff x="398453" y="1095747"/>
              <a:chExt cx="1394587" cy="2085803"/>
            </a:xfrm>
          </p:grpSpPr>
          <p:sp>
            <p:nvSpPr>
              <p:cNvPr id="4" name="Rounded Rectangle 1">
                <a:extLst>
                  <a:ext uri="{FF2B5EF4-FFF2-40B4-BE49-F238E27FC236}">
                    <a16:creationId xmlns:a16="http://schemas.microsoft.com/office/drawing/2014/main" id="{026B5988-9134-8481-19D6-E943E899042D}"/>
                  </a:ext>
                </a:extLst>
              </p:cNvPr>
              <p:cNvSpPr/>
              <p:nvPr/>
            </p:nvSpPr>
            <p:spPr>
              <a:xfrm>
                <a:off x="398453" y="1095747"/>
                <a:ext cx="1394587" cy="2085803"/>
              </a:xfrm>
              <a:custGeom>
                <a:avLst/>
                <a:gdLst/>
                <a:ahLst/>
                <a:cxnLst/>
                <a:rect l="0" t="0" r="0" b="0"/>
                <a:pathLst>
                  <a:path w="1394587" h="2085803">
                    <a:moveTo>
                      <a:pt x="1394587" y="99613"/>
                    </a:moveTo>
                    <a:lnTo>
                      <a:pt x="0" y="99613"/>
                    </a:lnTo>
                    <a:cubicBezTo>
                      <a:pt x="0" y="44598"/>
                      <a:pt x="44598" y="0"/>
                      <a:pt x="99613" y="0"/>
                    </a:cubicBezTo>
                    <a:lnTo>
                      <a:pt x="1294974" y="0"/>
                    </a:lnTo>
                    <a:cubicBezTo>
                      <a:pt x="1349985" y="0"/>
                      <a:pt x="1394587" y="44598"/>
                      <a:pt x="1394587" y="99613"/>
                    </a:cubicBezTo>
                    <a:close/>
                    <a:moveTo>
                      <a:pt x="1394587" y="1693427"/>
                    </a:moveTo>
                    <a:lnTo>
                      <a:pt x="1394587" y="99613"/>
                    </a:lnTo>
                    <a:lnTo>
                      <a:pt x="0" y="99613"/>
                    </a:lnTo>
                    <a:lnTo>
                      <a:pt x="0" y="1693427"/>
                    </a:lnTo>
                    <a:lnTo>
                      <a:pt x="1394587" y="1693427"/>
                    </a:lnTo>
                    <a:close/>
                    <a:moveTo>
                      <a:pt x="0" y="1693427"/>
                    </a:moveTo>
                    <a:lnTo>
                      <a:pt x="1394587" y="1693427"/>
                    </a:lnTo>
                    <a:lnTo>
                      <a:pt x="1394587" y="1727357"/>
                    </a:lnTo>
                    <a:cubicBezTo>
                      <a:pt x="1394587" y="1767204"/>
                      <a:pt x="1370838" y="1803218"/>
                      <a:pt x="1334213" y="1818915"/>
                    </a:cubicBezTo>
                    <a:lnTo>
                      <a:pt x="736533" y="2075064"/>
                    </a:lnTo>
                    <a:cubicBezTo>
                      <a:pt x="711476" y="2085803"/>
                      <a:pt x="683112" y="2085803"/>
                      <a:pt x="658054" y="2075064"/>
                    </a:cubicBezTo>
                    <a:lnTo>
                      <a:pt x="60374" y="1818915"/>
                    </a:lnTo>
                    <a:cubicBezTo>
                      <a:pt x="23747" y="1803218"/>
                      <a:pt x="0" y="1767204"/>
                      <a:pt x="0" y="1727357"/>
                    </a:cubicBezTo>
                    <a:lnTo>
                      <a:pt x="0" y="1693427"/>
                    </a:lnTo>
                    <a:close/>
                  </a:path>
                </a:pathLst>
              </a:custGeom>
              <a:solidFill>
                <a:srgbClr val="0D75D6"/>
              </a:solidFill>
              <a:ln>
                <a:noFill/>
              </a:ln>
            </p:spPr>
            <p:txBody>
              <a:bodyPr rtlCol="0" anchor="ctr"/>
              <a:lstStyle/>
              <a:p>
                <a:pPr algn="ctr"/>
                <a:endParaRPr sz="2400"/>
              </a:p>
            </p:txBody>
          </p:sp>
          <p:sp>
            <p:nvSpPr>
              <p:cNvPr id="5" name="Rounded Rectangle 2">
                <a:extLst>
                  <a:ext uri="{FF2B5EF4-FFF2-40B4-BE49-F238E27FC236}">
                    <a16:creationId xmlns:a16="http://schemas.microsoft.com/office/drawing/2014/main" id="{E7A6DDFB-0B6F-4ACD-26B2-27A391835478}"/>
                  </a:ext>
                </a:extLst>
              </p:cNvPr>
              <p:cNvSpPr/>
              <p:nvPr/>
            </p:nvSpPr>
            <p:spPr>
              <a:xfrm>
                <a:off x="398453" y="1095747"/>
                <a:ext cx="1394587" cy="2085803"/>
              </a:xfrm>
              <a:custGeom>
                <a:avLst/>
                <a:gdLst/>
                <a:ahLst/>
                <a:cxnLst/>
                <a:rect l="0" t="0" r="0" b="0"/>
                <a:pathLst>
                  <a:path w="1394587" h="2085803">
                    <a:moveTo>
                      <a:pt x="1394587" y="99613"/>
                    </a:moveTo>
                    <a:cubicBezTo>
                      <a:pt x="1394587" y="44598"/>
                      <a:pt x="1349989" y="0"/>
                      <a:pt x="1294974" y="0"/>
                    </a:cubicBezTo>
                    <a:lnTo>
                      <a:pt x="99613" y="0"/>
                    </a:lnTo>
                    <a:cubicBezTo>
                      <a:pt x="44598" y="0"/>
                      <a:pt x="0" y="44598"/>
                      <a:pt x="0" y="99613"/>
                    </a:cubicBezTo>
                    <a:moveTo>
                      <a:pt x="1394587" y="1693425"/>
                    </a:moveTo>
                    <a:lnTo>
                      <a:pt x="1394587" y="99613"/>
                    </a:lnTo>
                    <a:moveTo>
                      <a:pt x="0" y="1693425"/>
                    </a:moveTo>
                    <a:lnTo>
                      <a:pt x="0" y="99613"/>
                    </a:lnTo>
                    <a:moveTo>
                      <a:pt x="1394587" y="1693427"/>
                    </a:moveTo>
                    <a:lnTo>
                      <a:pt x="1394587" y="1727356"/>
                    </a:lnTo>
                    <a:cubicBezTo>
                      <a:pt x="1394587" y="1767204"/>
                      <a:pt x="1370839" y="1803218"/>
                      <a:pt x="1334213" y="1818915"/>
                    </a:cubicBezTo>
                    <a:lnTo>
                      <a:pt x="736533" y="2075064"/>
                    </a:lnTo>
                    <a:cubicBezTo>
                      <a:pt x="711476" y="2085803"/>
                      <a:pt x="683112" y="2085803"/>
                      <a:pt x="658054" y="2075064"/>
                    </a:cubicBezTo>
                    <a:lnTo>
                      <a:pt x="60374" y="1818915"/>
                    </a:lnTo>
                    <a:cubicBezTo>
                      <a:pt x="23747" y="1803218"/>
                      <a:pt x="0" y="1767204"/>
                      <a:pt x="0" y="1727356"/>
                    </a:cubicBezTo>
                    <a:lnTo>
                      <a:pt x="0" y="1693427"/>
                    </a:lnTo>
                  </a:path>
                </a:pathLst>
              </a:custGeom>
              <a:noFill/>
              <a:ln w="6225">
                <a:solidFill>
                  <a:srgbClr val="FFFFFF"/>
                </a:solidFill>
              </a:ln>
            </p:spPr>
            <p:txBody>
              <a:bodyPr rtlCol="0" anchor="ctr"/>
              <a:lstStyle/>
              <a:p>
                <a:pPr algn="ctr"/>
                <a:endParaRPr sz="2400"/>
              </a:p>
            </p:txBody>
          </p:sp>
        </p:grpSp>
        <p:grpSp>
          <p:nvGrpSpPr>
            <p:cNvPr id="6" name="Group 5">
              <a:extLst>
                <a:ext uri="{FF2B5EF4-FFF2-40B4-BE49-F238E27FC236}">
                  <a16:creationId xmlns:a16="http://schemas.microsoft.com/office/drawing/2014/main" id="{24F8C022-FFEA-D15D-3B9A-22BD2BD95459}"/>
                </a:ext>
              </a:extLst>
            </p:cNvPr>
            <p:cNvGrpSpPr/>
            <p:nvPr/>
          </p:nvGrpSpPr>
          <p:grpSpPr>
            <a:xfrm>
              <a:off x="3077799" y="1631806"/>
              <a:ext cx="1394586" cy="2085801"/>
              <a:chOff x="1992268" y="1095747"/>
              <a:chExt cx="1394587" cy="2085803"/>
            </a:xfrm>
          </p:grpSpPr>
          <p:sp>
            <p:nvSpPr>
              <p:cNvPr id="7" name="Rounded Rectangle 4">
                <a:extLst>
                  <a:ext uri="{FF2B5EF4-FFF2-40B4-BE49-F238E27FC236}">
                    <a16:creationId xmlns:a16="http://schemas.microsoft.com/office/drawing/2014/main" id="{CCA072E8-DE28-7E4A-C166-6306A7C214C8}"/>
                  </a:ext>
                </a:extLst>
              </p:cNvPr>
              <p:cNvSpPr/>
              <p:nvPr/>
            </p:nvSpPr>
            <p:spPr>
              <a:xfrm>
                <a:off x="1992268" y="1095747"/>
                <a:ext cx="1394587" cy="2085803"/>
              </a:xfrm>
              <a:custGeom>
                <a:avLst/>
                <a:gdLst/>
                <a:ahLst/>
                <a:cxnLst/>
                <a:rect l="0" t="0" r="0" b="0"/>
                <a:pathLst>
                  <a:path w="1394587" h="2085803">
                    <a:moveTo>
                      <a:pt x="1394587" y="99613"/>
                    </a:moveTo>
                    <a:lnTo>
                      <a:pt x="0" y="99613"/>
                    </a:lnTo>
                    <a:cubicBezTo>
                      <a:pt x="0" y="44598"/>
                      <a:pt x="44598" y="0"/>
                      <a:pt x="99613" y="0"/>
                    </a:cubicBezTo>
                    <a:lnTo>
                      <a:pt x="1294974" y="0"/>
                    </a:lnTo>
                    <a:cubicBezTo>
                      <a:pt x="1349985" y="0"/>
                      <a:pt x="1394587" y="44598"/>
                      <a:pt x="1394587" y="99613"/>
                    </a:cubicBezTo>
                    <a:close/>
                    <a:moveTo>
                      <a:pt x="1394587" y="1693427"/>
                    </a:moveTo>
                    <a:lnTo>
                      <a:pt x="1394587" y="99613"/>
                    </a:lnTo>
                    <a:lnTo>
                      <a:pt x="0" y="99613"/>
                    </a:lnTo>
                    <a:lnTo>
                      <a:pt x="0" y="1693427"/>
                    </a:lnTo>
                    <a:lnTo>
                      <a:pt x="1394587" y="1693427"/>
                    </a:lnTo>
                    <a:close/>
                    <a:moveTo>
                      <a:pt x="0" y="1693427"/>
                    </a:moveTo>
                    <a:lnTo>
                      <a:pt x="1394587" y="1693427"/>
                    </a:lnTo>
                    <a:lnTo>
                      <a:pt x="1394587" y="1727357"/>
                    </a:lnTo>
                    <a:cubicBezTo>
                      <a:pt x="1394587" y="1767204"/>
                      <a:pt x="1370838" y="1803218"/>
                      <a:pt x="1334213" y="1818915"/>
                    </a:cubicBezTo>
                    <a:lnTo>
                      <a:pt x="736533" y="2075064"/>
                    </a:lnTo>
                    <a:cubicBezTo>
                      <a:pt x="711476" y="2085803"/>
                      <a:pt x="683112" y="2085803"/>
                      <a:pt x="658054" y="2075064"/>
                    </a:cubicBezTo>
                    <a:lnTo>
                      <a:pt x="60374" y="1818915"/>
                    </a:lnTo>
                    <a:cubicBezTo>
                      <a:pt x="23747" y="1803218"/>
                      <a:pt x="0" y="1767204"/>
                      <a:pt x="0" y="1727357"/>
                    </a:cubicBezTo>
                    <a:lnTo>
                      <a:pt x="0" y="1693427"/>
                    </a:lnTo>
                    <a:close/>
                  </a:path>
                </a:pathLst>
              </a:custGeom>
              <a:solidFill>
                <a:srgbClr val="1890FF"/>
              </a:solidFill>
              <a:ln>
                <a:noFill/>
              </a:ln>
            </p:spPr>
            <p:txBody>
              <a:bodyPr rtlCol="0" anchor="ctr"/>
              <a:lstStyle/>
              <a:p>
                <a:pPr algn="ctr"/>
                <a:endParaRPr sz="2400"/>
              </a:p>
            </p:txBody>
          </p:sp>
          <p:sp>
            <p:nvSpPr>
              <p:cNvPr id="8" name="Rounded Rectangle 5">
                <a:extLst>
                  <a:ext uri="{FF2B5EF4-FFF2-40B4-BE49-F238E27FC236}">
                    <a16:creationId xmlns:a16="http://schemas.microsoft.com/office/drawing/2014/main" id="{D004A950-5D67-0CCC-3B81-22EE7911CD30}"/>
                  </a:ext>
                </a:extLst>
              </p:cNvPr>
              <p:cNvSpPr/>
              <p:nvPr/>
            </p:nvSpPr>
            <p:spPr>
              <a:xfrm>
                <a:off x="1992268" y="1095747"/>
                <a:ext cx="1394587" cy="2085803"/>
              </a:xfrm>
              <a:custGeom>
                <a:avLst/>
                <a:gdLst/>
                <a:ahLst/>
                <a:cxnLst/>
                <a:rect l="0" t="0" r="0" b="0"/>
                <a:pathLst>
                  <a:path w="1394587" h="2085803">
                    <a:moveTo>
                      <a:pt x="1394587" y="99613"/>
                    </a:moveTo>
                    <a:cubicBezTo>
                      <a:pt x="1394587" y="44598"/>
                      <a:pt x="1349989" y="0"/>
                      <a:pt x="1294974" y="0"/>
                    </a:cubicBezTo>
                    <a:lnTo>
                      <a:pt x="99613" y="0"/>
                    </a:lnTo>
                    <a:cubicBezTo>
                      <a:pt x="44598" y="0"/>
                      <a:pt x="0" y="44598"/>
                      <a:pt x="0" y="99613"/>
                    </a:cubicBezTo>
                    <a:moveTo>
                      <a:pt x="1394587" y="1693425"/>
                    </a:moveTo>
                    <a:lnTo>
                      <a:pt x="1394587" y="99613"/>
                    </a:lnTo>
                    <a:moveTo>
                      <a:pt x="0" y="1693425"/>
                    </a:moveTo>
                    <a:lnTo>
                      <a:pt x="0" y="99613"/>
                    </a:lnTo>
                    <a:moveTo>
                      <a:pt x="1394587" y="1693427"/>
                    </a:moveTo>
                    <a:lnTo>
                      <a:pt x="1394587" y="1727356"/>
                    </a:lnTo>
                    <a:cubicBezTo>
                      <a:pt x="1394587" y="1767204"/>
                      <a:pt x="1370839" y="1803218"/>
                      <a:pt x="1334213" y="1818915"/>
                    </a:cubicBezTo>
                    <a:lnTo>
                      <a:pt x="736533" y="2075064"/>
                    </a:lnTo>
                    <a:cubicBezTo>
                      <a:pt x="711476" y="2085803"/>
                      <a:pt x="683112" y="2085803"/>
                      <a:pt x="658054" y="2075064"/>
                    </a:cubicBezTo>
                    <a:lnTo>
                      <a:pt x="60374" y="1818915"/>
                    </a:lnTo>
                    <a:cubicBezTo>
                      <a:pt x="23747" y="1803218"/>
                      <a:pt x="0" y="1767204"/>
                      <a:pt x="0" y="1727356"/>
                    </a:cubicBezTo>
                    <a:lnTo>
                      <a:pt x="0" y="1693427"/>
                    </a:lnTo>
                  </a:path>
                </a:pathLst>
              </a:custGeom>
              <a:noFill/>
              <a:ln w="6225">
                <a:solidFill>
                  <a:srgbClr val="FFFFFF"/>
                </a:solidFill>
              </a:ln>
            </p:spPr>
            <p:txBody>
              <a:bodyPr rtlCol="0" anchor="ctr"/>
              <a:lstStyle/>
              <a:p>
                <a:pPr algn="ctr"/>
                <a:endParaRPr sz="2400"/>
              </a:p>
            </p:txBody>
          </p:sp>
        </p:grpSp>
        <p:grpSp>
          <p:nvGrpSpPr>
            <p:cNvPr id="9" name="Group 8">
              <a:extLst>
                <a:ext uri="{FF2B5EF4-FFF2-40B4-BE49-F238E27FC236}">
                  <a16:creationId xmlns:a16="http://schemas.microsoft.com/office/drawing/2014/main" id="{FF935020-9816-789D-550C-2319BA3DB70E}"/>
                </a:ext>
              </a:extLst>
            </p:cNvPr>
            <p:cNvGrpSpPr/>
            <p:nvPr/>
          </p:nvGrpSpPr>
          <p:grpSpPr>
            <a:xfrm>
              <a:off x="4671612" y="1631806"/>
              <a:ext cx="1394586" cy="2085801"/>
              <a:chOff x="3586082" y="1095747"/>
              <a:chExt cx="1394587" cy="2085803"/>
            </a:xfrm>
          </p:grpSpPr>
          <p:sp>
            <p:nvSpPr>
              <p:cNvPr id="10" name="Rounded Rectangle 7">
                <a:extLst>
                  <a:ext uri="{FF2B5EF4-FFF2-40B4-BE49-F238E27FC236}">
                    <a16:creationId xmlns:a16="http://schemas.microsoft.com/office/drawing/2014/main" id="{13A8859C-A422-C1F4-7D35-37E8E9C5D691}"/>
                  </a:ext>
                </a:extLst>
              </p:cNvPr>
              <p:cNvSpPr/>
              <p:nvPr/>
            </p:nvSpPr>
            <p:spPr>
              <a:xfrm>
                <a:off x="3586082" y="1095747"/>
                <a:ext cx="1394587" cy="2085803"/>
              </a:xfrm>
              <a:custGeom>
                <a:avLst/>
                <a:gdLst/>
                <a:ahLst/>
                <a:cxnLst/>
                <a:rect l="0" t="0" r="0" b="0"/>
                <a:pathLst>
                  <a:path w="1394587" h="2085803">
                    <a:moveTo>
                      <a:pt x="1394587" y="99613"/>
                    </a:moveTo>
                    <a:lnTo>
                      <a:pt x="0" y="99613"/>
                    </a:lnTo>
                    <a:cubicBezTo>
                      <a:pt x="0" y="44598"/>
                      <a:pt x="44598" y="0"/>
                      <a:pt x="99613" y="0"/>
                    </a:cubicBezTo>
                    <a:lnTo>
                      <a:pt x="1294974" y="0"/>
                    </a:lnTo>
                    <a:cubicBezTo>
                      <a:pt x="1349985" y="0"/>
                      <a:pt x="1394587" y="44598"/>
                      <a:pt x="1394587" y="99613"/>
                    </a:cubicBezTo>
                    <a:close/>
                    <a:moveTo>
                      <a:pt x="1394587" y="1693427"/>
                    </a:moveTo>
                    <a:lnTo>
                      <a:pt x="1394587" y="99613"/>
                    </a:lnTo>
                    <a:lnTo>
                      <a:pt x="0" y="99613"/>
                    </a:lnTo>
                    <a:lnTo>
                      <a:pt x="0" y="1693427"/>
                    </a:lnTo>
                    <a:lnTo>
                      <a:pt x="1394587" y="1693427"/>
                    </a:lnTo>
                    <a:close/>
                    <a:moveTo>
                      <a:pt x="0" y="1693427"/>
                    </a:moveTo>
                    <a:lnTo>
                      <a:pt x="1394587" y="1693427"/>
                    </a:lnTo>
                    <a:lnTo>
                      <a:pt x="1394587" y="1727357"/>
                    </a:lnTo>
                    <a:cubicBezTo>
                      <a:pt x="1394587" y="1767204"/>
                      <a:pt x="1370838" y="1803218"/>
                      <a:pt x="1334213" y="1818915"/>
                    </a:cubicBezTo>
                    <a:lnTo>
                      <a:pt x="736533" y="2075064"/>
                    </a:lnTo>
                    <a:cubicBezTo>
                      <a:pt x="711476" y="2085803"/>
                      <a:pt x="683112" y="2085803"/>
                      <a:pt x="658054" y="2075064"/>
                    </a:cubicBezTo>
                    <a:lnTo>
                      <a:pt x="60374" y="1818915"/>
                    </a:lnTo>
                    <a:cubicBezTo>
                      <a:pt x="23747" y="1803218"/>
                      <a:pt x="0" y="1767204"/>
                      <a:pt x="0" y="1727357"/>
                    </a:cubicBezTo>
                    <a:lnTo>
                      <a:pt x="0" y="1693427"/>
                    </a:lnTo>
                    <a:close/>
                  </a:path>
                </a:pathLst>
              </a:custGeom>
              <a:solidFill>
                <a:srgbClr val="389FFF"/>
              </a:solidFill>
              <a:ln>
                <a:noFill/>
              </a:ln>
            </p:spPr>
            <p:txBody>
              <a:bodyPr rtlCol="0" anchor="ctr"/>
              <a:lstStyle/>
              <a:p>
                <a:pPr algn="ctr"/>
                <a:endParaRPr sz="2400"/>
              </a:p>
            </p:txBody>
          </p:sp>
          <p:sp>
            <p:nvSpPr>
              <p:cNvPr id="11" name="Rounded Rectangle 8">
                <a:extLst>
                  <a:ext uri="{FF2B5EF4-FFF2-40B4-BE49-F238E27FC236}">
                    <a16:creationId xmlns:a16="http://schemas.microsoft.com/office/drawing/2014/main" id="{F24C9342-AE9C-D1C5-06B7-9842C8AFA073}"/>
                  </a:ext>
                </a:extLst>
              </p:cNvPr>
              <p:cNvSpPr/>
              <p:nvPr/>
            </p:nvSpPr>
            <p:spPr>
              <a:xfrm>
                <a:off x="3586082" y="1095747"/>
                <a:ext cx="1394587" cy="2085803"/>
              </a:xfrm>
              <a:custGeom>
                <a:avLst/>
                <a:gdLst/>
                <a:ahLst/>
                <a:cxnLst/>
                <a:rect l="0" t="0" r="0" b="0"/>
                <a:pathLst>
                  <a:path w="1394587" h="2085803">
                    <a:moveTo>
                      <a:pt x="1394587" y="99613"/>
                    </a:moveTo>
                    <a:cubicBezTo>
                      <a:pt x="1394587" y="44598"/>
                      <a:pt x="1349989" y="0"/>
                      <a:pt x="1294974" y="0"/>
                    </a:cubicBezTo>
                    <a:lnTo>
                      <a:pt x="99613" y="0"/>
                    </a:lnTo>
                    <a:cubicBezTo>
                      <a:pt x="44598" y="0"/>
                      <a:pt x="0" y="44598"/>
                      <a:pt x="0" y="99613"/>
                    </a:cubicBezTo>
                    <a:moveTo>
                      <a:pt x="1394587" y="1693425"/>
                    </a:moveTo>
                    <a:lnTo>
                      <a:pt x="1394587" y="99613"/>
                    </a:lnTo>
                    <a:moveTo>
                      <a:pt x="0" y="1693425"/>
                    </a:moveTo>
                    <a:lnTo>
                      <a:pt x="0" y="99613"/>
                    </a:lnTo>
                    <a:moveTo>
                      <a:pt x="1394587" y="1693427"/>
                    </a:moveTo>
                    <a:lnTo>
                      <a:pt x="1394587" y="1727356"/>
                    </a:lnTo>
                    <a:cubicBezTo>
                      <a:pt x="1394587" y="1767204"/>
                      <a:pt x="1370839" y="1803218"/>
                      <a:pt x="1334213" y="1818915"/>
                    </a:cubicBezTo>
                    <a:lnTo>
                      <a:pt x="736533" y="2075064"/>
                    </a:lnTo>
                    <a:cubicBezTo>
                      <a:pt x="711476" y="2085803"/>
                      <a:pt x="683112" y="2085803"/>
                      <a:pt x="658054" y="2075064"/>
                    </a:cubicBezTo>
                    <a:lnTo>
                      <a:pt x="60374" y="1818915"/>
                    </a:lnTo>
                    <a:cubicBezTo>
                      <a:pt x="23747" y="1803218"/>
                      <a:pt x="0" y="1767204"/>
                      <a:pt x="0" y="1727356"/>
                    </a:cubicBezTo>
                    <a:lnTo>
                      <a:pt x="0" y="1693427"/>
                    </a:lnTo>
                  </a:path>
                </a:pathLst>
              </a:custGeom>
              <a:noFill/>
              <a:ln w="6225">
                <a:solidFill>
                  <a:srgbClr val="FFFFFF"/>
                </a:solidFill>
              </a:ln>
            </p:spPr>
            <p:txBody>
              <a:bodyPr rtlCol="0" anchor="ctr"/>
              <a:lstStyle/>
              <a:p>
                <a:pPr algn="ctr"/>
                <a:endParaRPr sz="2400"/>
              </a:p>
            </p:txBody>
          </p:sp>
        </p:grpSp>
        <p:grpSp>
          <p:nvGrpSpPr>
            <p:cNvPr id="12" name="Group 11">
              <a:extLst>
                <a:ext uri="{FF2B5EF4-FFF2-40B4-BE49-F238E27FC236}">
                  <a16:creationId xmlns:a16="http://schemas.microsoft.com/office/drawing/2014/main" id="{852F6A1D-C094-F900-47EF-BB0E28FDE0A9}"/>
                </a:ext>
              </a:extLst>
            </p:cNvPr>
            <p:cNvGrpSpPr/>
            <p:nvPr/>
          </p:nvGrpSpPr>
          <p:grpSpPr>
            <a:xfrm>
              <a:off x="6265426" y="1631806"/>
              <a:ext cx="1394586" cy="2085801"/>
              <a:chOff x="5179897" y="1095747"/>
              <a:chExt cx="1394587" cy="2085803"/>
            </a:xfrm>
          </p:grpSpPr>
          <p:sp>
            <p:nvSpPr>
              <p:cNvPr id="13" name="Rounded Rectangle 10">
                <a:extLst>
                  <a:ext uri="{FF2B5EF4-FFF2-40B4-BE49-F238E27FC236}">
                    <a16:creationId xmlns:a16="http://schemas.microsoft.com/office/drawing/2014/main" id="{F4E18B9B-F3CD-1462-FC0B-7C2BB13A6859}"/>
                  </a:ext>
                </a:extLst>
              </p:cNvPr>
              <p:cNvSpPr/>
              <p:nvPr/>
            </p:nvSpPr>
            <p:spPr>
              <a:xfrm>
                <a:off x="5179897" y="1095747"/>
                <a:ext cx="1394587" cy="2085803"/>
              </a:xfrm>
              <a:custGeom>
                <a:avLst/>
                <a:gdLst/>
                <a:ahLst/>
                <a:cxnLst/>
                <a:rect l="0" t="0" r="0" b="0"/>
                <a:pathLst>
                  <a:path w="1394587" h="2085803">
                    <a:moveTo>
                      <a:pt x="1394587" y="99613"/>
                    </a:moveTo>
                    <a:lnTo>
                      <a:pt x="0" y="99613"/>
                    </a:lnTo>
                    <a:cubicBezTo>
                      <a:pt x="0" y="44598"/>
                      <a:pt x="44598" y="0"/>
                      <a:pt x="99613" y="0"/>
                    </a:cubicBezTo>
                    <a:lnTo>
                      <a:pt x="1294974" y="0"/>
                    </a:lnTo>
                    <a:cubicBezTo>
                      <a:pt x="1349985" y="0"/>
                      <a:pt x="1394587" y="44598"/>
                      <a:pt x="1394587" y="99613"/>
                    </a:cubicBezTo>
                    <a:close/>
                    <a:moveTo>
                      <a:pt x="1394587" y="1693427"/>
                    </a:moveTo>
                    <a:lnTo>
                      <a:pt x="1394587" y="99613"/>
                    </a:lnTo>
                    <a:lnTo>
                      <a:pt x="0" y="99613"/>
                    </a:lnTo>
                    <a:lnTo>
                      <a:pt x="0" y="1693427"/>
                    </a:lnTo>
                    <a:lnTo>
                      <a:pt x="1394587" y="1693427"/>
                    </a:lnTo>
                    <a:close/>
                    <a:moveTo>
                      <a:pt x="0" y="1693427"/>
                    </a:moveTo>
                    <a:lnTo>
                      <a:pt x="1394587" y="1693427"/>
                    </a:lnTo>
                    <a:lnTo>
                      <a:pt x="1394587" y="1727357"/>
                    </a:lnTo>
                    <a:cubicBezTo>
                      <a:pt x="1394587" y="1767204"/>
                      <a:pt x="1370838" y="1803218"/>
                      <a:pt x="1334213" y="1818915"/>
                    </a:cubicBezTo>
                    <a:lnTo>
                      <a:pt x="736533" y="2075064"/>
                    </a:lnTo>
                    <a:cubicBezTo>
                      <a:pt x="711476" y="2085803"/>
                      <a:pt x="683112" y="2085803"/>
                      <a:pt x="658054" y="2075064"/>
                    </a:cubicBezTo>
                    <a:lnTo>
                      <a:pt x="60374" y="1818915"/>
                    </a:lnTo>
                    <a:cubicBezTo>
                      <a:pt x="23747" y="1803218"/>
                      <a:pt x="0" y="1767204"/>
                      <a:pt x="0" y="1727357"/>
                    </a:cubicBezTo>
                    <a:lnTo>
                      <a:pt x="0" y="1693427"/>
                    </a:lnTo>
                    <a:close/>
                  </a:path>
                </a:pathLst>
              </a:custGeom>
              <a:solidFill>
                <a:srgbClr val="8AC6FF"/>
              </a:solidFill>
              <a:ln>
                <a:noFill/>
              </a:ln>
            </p:spPr>
            <p:txBody>
              <a:bodyPr rtlCol="0" anchor="ctr"/>
              <a:lstStyle/>
              <a:p>
                <a:pPr algn="ctr"/>
                <a:endParaRPr sz="2400"/>
              </a:p>
            </p:txBody>
          </p:sp>
          <p:sp>
            <p:nvSpPr>
              <p:cNvPr id="14" name="Rounded Rectangle 11">
                <a:extLst>
                  <a:ext uri="{FF2B5EF4-FFF2-40B4-BE49-F238E27FC236}">
                    <a16:creationId xmlns:a16="http://schemas.microsoft.com/office/drawing/2014/main" id="{37612361-E5C4-A23D-8C15-CF702E591AA6}"/>
                  </a:ext>
                </a:extLst>
              </p:cNvPr>
              <p:cNvSpPr/>
              <p:nvPr/>
            </p:nvSpPr>
            <p:spPr>
              <a:xfrm>
                <a:off x="5179897" y="1095747"/>
                <a:ext cx="1394587" cy="2085803"/>
              </a:xfrm>
              <a:custGeom>
                <a:avLst/>
                <a:gdLst/>
                <a:ahLst/>
                <a:cxnLst/>
                <a:rect l="0" t="0" r="0" b="0"/>
                <a:pathLst>
                  <a:path w="1394587" h="2085803">
                    <a:moveTo>
                      <a:pt x="1394587" y="99613"/>
                    </a:moveTo>
                    <a:cubicBezTo>
                      <a:pt x="1394587" y="44598"/>
                      <a:pt x="1349989" y="0"/>
                      <a:pt x="1294974" y="0"/>
                    </a:cubicBezTo>
                    <a:lnTo>
                      <a:pt x="99613" y="0"/>
                    </a:lnTo>
                    <a:cubicBezTo>
                      <a:pt x="44598" y="0"/>
                      <a:pt x="0" y="44598"/>
                      <a:pt x="0" y="99613"/>
                    </a:cubicBezTo>
                    <a:moveTo>
                      <a:pt x="1394587" y="1693425"/>
                    </a:moveTo>
                    <a:lnTo>
                      <a:pt x="1394587" y="99613"/>
                    </a:lnTo>
                    <a:moveTo>
                      <a:pt x="0" y="1693425"/>
                    </a:moveTo>
                    <a:lnTo>
                      <a:pt x="0" y="99613"/>
                    </a:lnTo>
                    <a:moveTo>
                      <a:pt x="1394587" y="1693427"/>
                    </a:moveTo>
                    <a:lnTo>
                      <a:pt x="1394587" y="1727356"/>
                    </a:lnTo>
                    <a:cubicBezTo>
                      <a:pt x="1394587" y="1767204"/>
                      <a:pt x="1370839" y="1803218"/>
                      <a:pt x="1334213" y="1818915"/>
                    </a:cubicBezTo>
                    <a:lnTo>
                      <a:pt x="736533" y="2075064"/>
                    </a:lnTo>
                    <a:cubicBezTo>
                      <a:pt x="711476" y="2085803"/>
                      <a:pt x="683112" y="2085803"/>
                      <a:pt x="658054" y="2075064"/>
                    </a:cubicBezTo>
                    <a:lnTo>
                      <a:pt x="60374" y="1818915"/>
                    </a:lnTo>
                    <a:cubicBezTo>
                      <a:pt x="23747" y="1803218"/>
                      <a:pt x="0" y="1767204"/>
                      <a:pt x="0" y="1727356"/>
                    </a:cubicBezTo>
                    <a:lnTo>
                      <a:pt x="0" y="1693427"/>
                    </a:lnTo>
                  </a:path>
                </a:pathLst>
              </a:custGeom>
              <a:noFill/>
              <a:ln w="6225">
                <a:solidFill>
                  <a:srgbClr val="FFFFFF"/>
                </a:solidFill>
              </a:ln>
            </p:spPr>
            <p:txBody>
              <a:bodyPr rtlCol="0" anchor="ctr"/>
              <a:lstStyle/>
              <a:p>
                <a:pPr algn="ctr"/>
                <a:endParaRPr sz="2400"/>
              </a:p>
            </p:txBody>
          </p:sp>
        </p:grpSp>
        <p:grpSp>
          <p:nvGrpSpPr>
            <p:cNvPr id="15" name="Group 14">
              <a:extLst>
                <a:ext uri="{FF2B5EF4-FFF2-40B4-BE49-F238E27FC236}">
                  <a16:creationId xmlns:a16="http://schemas.microsoft.com/office/drawing/2014/main" id="{F5981E1E-2563-EC95-0F33-C07664D3A9A8}"/>
                </a:ext>
              </a:extLst>
            </p:cNvPr>
            <p:cNvGrpSpPr/>
            <p:nvPr/>
          </p:nvGrpSpPr>
          <p:grpSpPr>
            <a:xfrm>
              <a:off x="2280891" y="3596485"/>
              <a:ext cx="1394586" cy="2285489"/>
              <a:chOff x="1195360" y="3060427"/>
              <a:chExt cx="1394587" cy="2285491"/>
            </a:xfrm>
          </p:grpSpPr>
          <p:sp>
            <p:nvSpPr>
              <p:cNvPr id="16" name="Rounded Rectangle 13">
                <a:extLst>
                  <a:ext uri="{FF2B5EF4-FFF2-40B4-BE49-F238E27FC236}">
                    <a16:creationId xmlns:a16="http://schemas.microsoft.com/office/drawing/2014/main" id="{EF8DC1B6-17DC-32C4-5246-B47E6F3857FB}"/>
                  </a:ext>
                </a:extLst>
              </p:cNvPr>
              <p:cNvSpPr/>
              <p:nvPr/>
            </p:nvSpPr>
            <p:spPr>
              <a:xfrm>
                <a:off x="1195360" y="3060427"/>
                <a:ext cx="1394587" cy="2285491"/>
              </a:xfrm>
              <a:custGeom>
                <a:avLst/>
                <a:gdLst/>
                <a:ahLst/>
                <a:cxnLst/>
                <a:rect l="0" t="0" r="0" b="0"/>
                <a:pathLst>
                  <a:path w="1394587" h="2285491">
                    <a:moveTo>
                      <a:pt x="0" y="2185878"/>
                    </a:moveTo>
                    <a:lnTo>
                      <a:pt x="1394587" y="2185878"/>
                    </a:lnTo>
                    <a:cubicBezTo>
                      <a:pt x="1394587" y="2240893"/>
                      <a:pt x="1349985" y="2285491"/>
                      <a:pt x="1294974" y="2285491"/>
                    </a:cubicBezTo>
                    <a:lnTo>
                      <a:pt x="99613" y="2285491"/>
                    </a:lnTo>
                    <a:cubicBezTo>
                      <a:pt x="44598" y="2285491"/>
                      <a:pt x="0" y="2240892"/>
                      <a:pt x="0" y="2185878"/>
                    </a:cubicBezTo>
                    <a:close/>
                    <a:moveTo>
                      <a:pt x="1394587" y="2185878"/>
                    </a:moveTo>
                    <a:lnTo>
                      <a:pt x="1394587" y="392837"/>
                    </a:lnTo>
                    <a:lnTo>
                      <a:pt x="0" y="392837"/>
                    </a:lnTo>
                    <a:lnTo>
                      <a:pt x="0" y="2185878"/>
                    </a:lnTo>
                    <a:lnTo>
                      <a:pt x="1394587" y="2185878"/>
                    </a:lnTo>
                    <a:close/>
                    <a:moveTo>
                      <a:pt x="1394587" y="392375"/>
                    </a:moveTo>
                    <a:lnTo>
                      <a:pt x="0" y="392375"/>
                    </a:lnTo>
                    <a:lnTo>
                      <a:pt x="0" y="358446"/>
                    </a:lnTo>
                    <a:cubicBezTo>
                      <a:pt x="0" y="318598"/>
                      <a:pt x="23747" y="282584"/>
                      <a:pt x="60374" y="266887"/>
                    </a:cubicBezTo>
                    <a:lnTo>
                      <a:pt x="658054" y="10739"/>
                    </a:lnTo>
                    <a:cubicBezTo>
                      <a:pt x="683111" y="0"/>
                      <a:pt x="711476" y="0"/>
                      <a:pt x="736533" y="10739"/>
                    </a:cubicBezTo>
                    <a:lnTo>
                      <a:pt x="1334213" y="266887"/>
                    </a:lnTo>
                    <a:cubicBezTo>
                      <a:pt x="1370838" y="282584"/>
                      <a:pt x="1394587" y="318598"/>
                      <a:pt x="1394587" y="358446"/>
                    </a:cubicBezTo>
                    <a:lnTo>
                      <a:pt x="1394587" y="392375"/>
                    </a:lnTo>
                    <a:close/>
                  </a:path>
                </a:pathLst>
              </a:custGeom>
              <a:solidFill>
                <a:srgbClr val="0888FF"/>
              </a:solidFill>
              <a:ln>
                <a:noFill/>
              </a:ln>
            </p:spPr>
            <p:txBody>
              <a:bodyPr rtlCol="0" anchor="ctr"/>
              <a:lstStyle/>
              <a:p>
                <a:pPr algn="ctr"/>
                <a:endParaRPr sz="2400"/>
              </a:p>
            </p:txBody>
          </p:sp>
          <p:sp>
            <p:nvSpPr>
              <p:cNvPr id="17" name="Rounded Rectangle 14">
                <a:extLst>
                  <a:ext uri="{FF2B5EF4-FFF2-40B4-BE49-F238E27FC236}">
                    <a16:creationId xmlns:a16="http://schemas.microsoft.com/office/drawing/2014/main" id="{67661E24-D517-B00B-4E8A-3666475CD32C}"/>
                  </a:ext>
                </a:extLst>
              </p:cNvPr>
              <p:cNvSpPr/>
              <p:nvPr/>
            </p:nvSpPr>
            <p:spPr>
              <a:xfrm>
                <a:off x="1195360" y="3060427"/>
                <a:ext cx="1394587" cy="2285491"/>
              </a:xfrm>
              <a:custGeom>
                <a:avLst/>
                <a:gdLst/>
                <a:ahLst/>
                <a:cxnLst/>
                <a:rect l="0" t="0" r="0" b="0"/>
                <a:pathLst>
                  <a:path w="1394587" h="2285491">
                    <a:moveTo>
                      <a:pt x="0" y="2185878"/>
                    </a:moveTo>
                    <a:cubicBezTo>
                      <a:pt x="0" y="2240892"/>
                      <a:pt x="44598" y="2285491"/>
                      <a:pt x="99613" y="2285491"/>
                    </a:cubicBezTo>
                    <a:lnTo>
                      <a:pt x="1294974" y="2285491"/>
                    </a:lnTo>
                    <a:cubicBezTo>
                      <a:pt x="1349989" y="2285491"/>
                      <a:pt x="1394587" y="2240892"/>
                      <a:pt x="1394587" y="2185878"/>
                    </a:cubicBezTo>
                    <a:moveTo>
                      <a:pt x="1394587" y="2185875"/>
                    </a:moveTo>
                    <a:lnTo>
                      <a:pt x="1394587" y="392837"/>
                    </a:lnTo>
                    <a:moveTo>
                      <a:pt x="0" y="2185875"/>
                    </a:moveTo>
                    <a:lnTo>
                      <a:pt x="0" y="392837"/>
                    </a:lnTo>
                    <a:moveTo>
                      <a:pt x="0" y="392375"/>
                    </a:moveTo>
                    <a:lnTo>
                      <a:pt x="0" y="358446"/>
                    </a:lnTo>
                    <a:cubicBezTo>
                      <a:pt x="0" y="318598"/>
                      <a:pt x="23747" y="282584"/>
                      <a:pt x="60374" y="266887"/>
                    </a:cubicBezTo>
                    <a:lnTo>
                      <a:pt x="658054" y="10739"/>
                    </a:lnTo>
                    <a:cubicBezTo>
                      <a:pt x="683111" y="0"/>
                      <a:pt x="711476" y="0"/>
                      <a:pt x="736533" y="10739"/>
                    </a:cubicBezTo>
                    <a:lnTo>
                      <a:pt x="1334213" y="266887"/>
                    </a:lnTo>
                    <a:cubicBezTo>
                      <a:pt x="1370839" y="282584"/>
                      <a:pt x="1394587" y="318598"/>
                      <a:pt x="1394587" y="358446"/>
                    </a:cubicBezTo>
                    <a:lnTo>
                      <a:pt x="1394587" y="392375"/>
                    </a:lnTo>
                  </a:path>
                </a:pathLst>
              </a:custGeom>
              <a:noFill/>
              <a:ln w="6225">
                <a:solidFill>
                  <a:srgbClr val="FFFFFF"/>
                </a:solidFill>
              </a:ln>
            </p:spPr>
            <p:txBody>
              <a:bodyPr rtlCol="0" anchor="ctr"/>
              <a:lstStyle/>
              <a:p>
                <a:pPr algn="ctr"/>
                <a:endParaRPr sz="2400"/>
              </a:p>
            </p:txBody>
          </p:sp>
        </p:grpSp>
        <p:grpSp>
          <p:nvGrpSpPr>
            <p:cNvPr id="18" name="Group 17">
              <a:extLst>
                <a:ext uri="{FF2B5EF4-FFF2-40B4-BE49-F238E27FC236}">
                  <a16:creationId xmlns:a16="http://schemas.microsoft.com/office/drawing/2014/main" id="{DAD0CCD4-29AF-242F-B489-D088B2CD9FD3}"/>
                </a:ext>
              </a:extLst>
            </p:cNvPr>
            <p:cNvGrpSpPr/>
            <p:nvPr/>
          </p:nvGrpSpPr>
          <p:grpSpPr>
            <a:xfrm>
              <a:off x="3874705" y="3596485"/>
              <a:ext cx="1394586" cy="2285489"/>
              <a:chOff x="2789175" y="3060427"/>
              <a:chExt cx="1394587" cy="2285491"/>
            </a:xfrm>
          </p:grpSpPr>
          <p:sp>
            <p:nvSpPr>
              <p:cNvPr id="19" name="Rounded Rectangle 16">
                <a:extLst>
                  <a:ext uri="{FF2B5EF4-FFF2-40B4-BE49-F238E27FC236}">
                    <a16:creationId xmlns:a16="http://schemas.microsoft.com/office/drawing/2014/main" id="{A342C106-9185-9B3F-06AC-3E83137171EA}"/>
                  </a:ext>
                </a:extLst>
              </p:cNvPr>
              <p:cNvSpPr/>
              <p:nvPr/>
            </p:nvSpPr>
            <p:spPr>
              <a:xfrm>
                <a:off x="2789175" y="3060427"/>
                <a:ext cx="1394587" cy="2285491"/>
              </a:xfrm>
              <a:custGeom>
                <a:avLst/>
                <a:gdLst/>
                <a:ahLst/>
                <a:cxnLst/>
                <a:rect l="0" t="0" r="0" b="0"/>
                <a:pathLst>
                  <a:path w="1394587" h="2285491">
                    <a:moveTo>
                      <a:pt x="0" y="2185878"/>
                    </a:moveTo>
                    <a:lnTo>
                      <a:pt x="1394587" y="2185878"/>
                    </a:lnTo>
                    <a:cubicBezTo>
                      <a:pt x="1394587" y="2240894"/>
                      <a:pt x="1349985" y="2285491"/>
                      <a:pt x="1294974" y="2285491"/>
                    </a:cubicBezTo>
                    <a:lnTo>
                      <a:pt x="99613" y="2285491"/>
                    </a:lnTo>
                    <a:cubicBezTo>
                      <a:pt x="44598" y="2285491"/>
                      <a:pt x="0" y="2240893"/>
                      <a:pt x="0" y="2185878"/>
                    </a:cubicBezTo>
                    <a:close/>
                    <a:moveTo>
                      <a:pt x="1394587" y="2185878"/>
                    </a:moveTo>
                    <a:lnTo>
                      <a:pt x="1394587" y="392837"/>
                    </a:lnTo>
                    <a:lnTo>
                      <a:pt x="0" y="392837"/>
                    </a:lnTo>
                    <a:lnTo>
                      <a:pt x="0" y="2185878"/>
                    </a:lnTo>
                    <a:lnTo>
                      <a:pt x="1394587" y="2185878"/>
                    </a:lnTo>
                    <a:close/>
                    <a:moveTo>
                      <a:pt x="1394587" y="392375"/>
                    </a:moveTo>
                    <a:lnTo>
                      <a:pt x="0" y="392375"/>
                    </a:lnTo>
                    <a:lnTo>
                      <a:pt x="0" y="358446"/>
                    </a:lnTo>
                    <a:cubicBezTo>
                      <a:pt x="0" y="318598"/>
                      <a:pt x="23747" y="282584"/>
                      <a:pt x="60374" y="266887"/>
                    </a:cubicBezTo>
                    <a:lnTo>
                      <a:pt x="658054" y="10739"/>
                    </a:lnTo>
                    <a:cubicBezTo>
                      <a:pt x="683111" y="0"/>
                      <a:pt x="711476" y="0"/>
                      <a:pt x="736533" y="10739"/>
                    </a:cubicBezTo>
                    <a:lnTo>
                      <a:pt x="1334213" y="266887"/>
                    </a:lnTo>
                    <a:cubicBezTo>
                      <a:pt x="1370838" y="282584"/>
                      <a:pt x="1394587" y="318598"/>
                      <a:pt x="1394587" y="358446"/>
                    </a:cubicBezTo>
                    <a:lnTo>
                      <a:pt x="1394587" y="392375"/>
                    </a:lnTo>
                    <a:close/>
                  </a:path>
                </a:pathLst>
              </a:custGeom>
              <a:solidFill>
                <a:srgbClr val="2897FF"/>
              </a:solidFill>
              <a:ln>
                <a:noFill/>
              </a:ln>
            </p:spPr>
            <p:txBody>
              <a:bodyPr rtlCol="0" anchor="ctr"/>
              <a:lstStyle/>
              <a:p>
                <a:pPr algn="ctr"/>
                <a:endParaRPr sz="2400"/>
              </a:p>
            </p:txBody>
          </p:sp>
          <p:sp>
            <p:nvSpPr>
              <p:cNvPr id="20" name="Rounded Rectangle 17">
                <a:extLst>
                  <a:ext uri="{FF2B5EF4-FFF2-40B4-BE49-F238E27FC236}">
                    <a16:creationId xmlns:a16="http://schemas.microsoft.com/office/drawing/2014/main" id="{B050C91A-E4A9-7C1B-21BE-AEDAEF7403F7}"/>
                  </a:ext>
                </a:extLst>
              </p:cNvPr>
              <p:cNvSpPr/>
              <p:nvPr/>
            </p:nvSpPr>
            <p:spPr>
              <a:xfrm>
                <a:off x="2789175" y="3060427"/>
                <a:ext cx="1394587" cy="2285491"/>
              </a:xfrm>
              <a:custGeom>
                <a:avLst/>
                <a:gdLst/>
                <a:ahLst/>
                <a:cxnLst/>
                <a:rect l="0" t="0" r="0" b="0"/>
                <a:pathLst>
                  <a:path w="1394587" h="2285491">
                    <a:moveTo>
                      <a:pt x="0" y="2185878"/>
                    </a:moveTo>
                    <a:cubicBezTo>
                      <a:pt x="0" y="2240893"/>
                      <a:pt x="44598" y="2285491"/>
                      <a:pt x="99613" y="2285491"/>
                    </a:cubicBezTo>
                    <a:lnTo>
                      <a:pt x="1294974" y="2285491"/>
                    </a:lnTo>
                    <a:cubicBezTo>
                      <a:pt x="1349989" y="2285491"/>
                      <a:pt x="1394587" y="2240893"/>
                      <a:pt x="1394587" y="2185878"/>
                    </a:cubicBezTo>
                    <a:moveTo>
                      <a:pt x="1394587" y="2185875"/>
                    </a:moveTo>
                    <a:lnTo>
                      <a:pt x="1394587" y="392837"/>
                    </a:lnTo>
                    <a:moveTo>
                      <a:pt x="0" y="2185875"/>
                    </a:moveTo>
                    <a:lnTo>
                      <a:pt x="0" y="392837"/>
                    </a:lnTo>
                    <a:moveTo>
                      <a:pt x="0" y="392375"/>
                    </a:moveTo>
                    <a:lnTo>
                      <a:pt x="0" y="358446"/>
                    </a:lnTo>
                    <a:cubicBezTo>
                      <a:pt x="0" y="318598"/>
                      <a:pt x="23747" y="282584"/>
                      <a:pt x="60374" y="266887"/>
                    </a:cubicBezTo>
                    <a:lnTo>
                      <a:pt x="658054" y="10739"/>
                    </a:lnTo>
                    <a:cubicBezTo>
                      <a:pt x="683111" y="0"/>
                      <a:pt x="711476" y="0"/>
                      <a:pt x="736533" y="10739"/>
                    </a:cubicBezTo>
                    <a:lnTo>
                      <a:pt x="1334213" y="266887"/>
                    </a:lnTo>
                    <a:cubicBezTo>
                      <a:pt x="1370839" y="282584"/>
                      <a:pt x="1394587" y="318598"/>
                      <a:pt x="1394587" y="358446"/>
                    </a:cubicBezTo>
                    <a:lnTo>
                      <a:pt x="1394587" y="392375"/>
                    </a:lnTo>
                  </a:path>
                </a:pathLst>
              </a:custGeom>
              <a:noFill/>
              <a:ln w="6225">
                <a:solidFill>
                  <a:srgbClr val="FFFFFF"/>
                </a:solidFill>
              </a:ln>
            </p:spPr>
            <p:txBody>
              <a:bodyPr rtlCol="0" anchor="ctr"/>
              <a:lstStyle/>
              <a:p>
                <a:pPr algn="ctr"/>
                <a:endParaRPr sz="2400"/>
              </a:p>
            </p:txBody>
          </p:sp>
        </p:grpSp>
        <p:grpSp>
          <p:nvGrpSpPr>
            <p:cNvPr id="21" name="Group 20">
              <a:extLst>
                <a:ext uri="{FF2B5EF4-FFF2-40B4-BE49-F238E27FC236}">
                  <a16:creationId xmlns:a16="http://schemas.microsoft.com/office/drawing/2014/main" id="{4B50D869-2CF9-48EC-2DA6-176916BA52CB}"/>
                </a:ext>
              </a:extLst>
            </p:cNvPr>
            <p:cNvGrpSpPr/>
            <p:nvPr/>
          </p:nvGrpSpPr>
          <p:grpSpPr>
            <a:xfrm>
              <a:off x="5468518" y="3596485"/>
              <a:ext cx="1394586" cy="2285489"/>
              <a:chOff x="4382989" y="3060427"/>
              <a:chExt cx="1394587" cy="2285491"/>
            </a:xfrm>
          </p:grpSpPr>
          <p:sp>
            <p:nvSpPr>
              <p:cNvPr id="22" name="Rounded Rectangle 19">
                <a:extLst>
                  <a:ext uri="{FF2B5EF4-FFF2-40B4-BE49-F238E27FC236}">
                    <a16:creationId xmlns:a16="http://schemas.microsoft.com/office/drawing/2014/main" id="{4A5503D1-6BEC-6556-F39C-26D5D38FC195}"/>
                  </a:ext>
                </a:extLst>
              </p:cNvPr>
              <p:cNvSpPr/>
              <p:nvPr/>
            </p:nvSpPr>
            <p:spPr>
              <a:xfrm>
                <a:off x="4382989" y="3060427"/>
                <a:ext cx="1394587" cy="2285491"/>
              </a:xfrm>
              <a:custGeom>
                <a:avLst/>
                <a:gdLst/>
                <a:ahLst/>
                <a:cxnLst/>
                <a:rect l="0" t="0" r="0" b="0"/>
                <a:pathLst>
                  <a:path w="1394587" h="2285491">
                    <a:moveTo>
                      <a:pt x="0" y="2185878"/>
                    </a:moveTo>
                    <a:lnTo>
                      <a:pt x="1394587" y="2185878"/>
                    </a:lnTo>
                    <a:cubicBezTo>
                      <a:pt x="1394587" y="2240894"/>
                      <a:pt x="1349985" y="2285491"/>
                      <a:pt x="1294974" y="2285491"/>
                    </a:cubicBezTo>
                    <a:lnTo>
                      <a:pt x="99613" y="2285491"/>
                    </a:lnTo>
                    <a:cubicBezTo>
                      <a:pt x="44598" y="2285491"/>
                      <a:pt x="0" y="2240893"/>
                      <a:pt x="0" y="2185878"/>
                    </a:cubicBezTo>
                    <a:close/>
                    <a:moveTo>
                      <a:pt x="1394587" y="2185878"/>
                    </a:moveTo>
                    <a:lnTo>
                      <a:pt x="1394587" y="392837"/>
                    </a:lnTo>
                    <a:lnTo>
                      <a:pt x="0" y="392837"/>
                    </a:lnTo>
                    <a:lnTo>
                      <a:pt x="0" y="2185878"/>
                    </a:lnTo>
                    <a:lnTo>
                      <a:pt x="1394587" y="2185878"/>
                    </a:lnTo>
                    <a:close/>
                    <a:moveTo>
                      <a:pt x="1394587" y="392375"/>
                    </a:moveTo>
                    <a:lnTo>
                      <a:pt x="0" y="392375"/>
                    </a:lnTo>
                    <a:lnTo>
                      <a:pt x="0" y="358446"/>
                    </a:lnTo>
                    <a:cubicBezTo>
                      <a:pt x="0" y="318598"/>
                      <a:pt x="23747" y="282584"/>
                      <a:pt x="60374" y="266887"/>
                    </a:cubicBezTo>
                    <a:lnTo>
                      <a:pt x="658054" y="10739"/>
                    </a:lnTo>
                    <a:cubicBezTo>
                      <a:pt x="683111" y="0"/>
                      <a:pt x="711476" y="0"/>
                      <a:pt x="736533" y="10739"/>
                    </a:cubicBezTo>
                    <a:lnTo>
                      <a:pt x="1334213" y="266887"/>
                    </a:lnTo>
                    <a:cubicBezTo>
                      <a:pt x="1370838" y="282584"/>
                      <a:pt x="1394587" y="318598"/>
                      <a:pt x="1394587" y="358446"/>
                    </a:cubicBezTo>
                    <a:lnTo>
                      <a:pt x="1394587" y="392375"/>
                    </a:lnTo>
                    <a:close/>
                  </a:path>
                </a:pathLst>
              </a:custGeom>
              <a:solidFill>
                <a:srgbClr val="5DB1FF"/>
              </a:solidFill>
              <a:ln>
                <a:noFill/>
              </a:ln>
            </p:spPr>
            <p:txBody>
              <a:bodyPr rtlCol="0" anchor="ctr"/>
              <a:lstStyle/>
              <a:p>
                <a:pPr algn="ctr"/>
                <a:endParaRPr sz="2400"/>
              </a:p>
            </p:txBody>
          </p:sp>
          <p:sp>
            <p:nvSpPr>
              <p:cNvPr id="23" name="Rounded Rectangle 20">
                <a:extLst>
                  <a:ext uri="{FF2B5EF4-FFF2-40B4-BE49-F238E27FC236}">
                    <a16:creationId xmlns:a16="http://schemas.microsoft.com/office/drawing/2014/main" id="{01FF4CAC-3569-0C97-61CE-E9A2243936BB}"/>
                  </a:ext>
                </a:extLst>
              </p:cNvPr>
              <p:cNvSpPr/>
              <p:nvPr/>
            </p:nvSpPr>
            <p:spPr>
              <a:xfrm>
                <a:off x="4382989" y="3060427"/>
                <a:ext cx="1394587" cy="2285491"/>
              </a:xfrm>
              <a:custGeom>
                <a:avLst/>
                <a:gdLst/>
                <a:ahLst/>
                <a:cxnLst/>
                <a:rect l="0" t="0" r="0" b="0"/>
                <a:pathLst>
                  <a:path w="1394587" h="2285491">
                    <a:moveTo>
                      <a:pt x="0" y="2185878"/>
                    </a:moveTo>
                    <a:cubicBezTo>
                      <a:pt x="0" y="2240893"/>
                      <a:pt x="44598" y="2285491"/>
                      <a:pt x="99613" y="2285491"/>
                    </a:cubicBezTo>
                    <a:lnTo>
                      <a:pt x="1294974" y="2285491"/>
                    </a:lnTo>
                    <a:cubicBezTo>
                      <a:pt x="1349989" y="2285491"/>
                      <a:pt x="1394587" y="2240893"/>
                      <a:pt x="1394587" y="2185878"/>
                    </a:cubicBezTo>
                    <a:moveTo>
                      <a:pt x="1394587" y="2185875"/>
                    </a:moveTo>
                    <a:lnTo>
                      <a:pt x="1394587" y="392837"/>
                    </a:lnTo>
                    <a:moveTo>
                      <a:pt x="0" y="2185875"/>
                    </a:moveTo>
                    <a:lnTo>
                      <a:pt x="0" y="392837"/>
                    </a:lnTo>
                    <a:moveTo>
                      <a:pt x="0" y="392375"/>
                    </a:moveTo>
                    <a:lnTo>
                      <a:pt x="0" y="358446"/>
                    </a:lnTo>
                    <a:cubicBezTo>
                      <a:pt x="0" y="318598"/>
                      <a:pt x="23747" y="282584"/>
                      <a:pt x="60374" y="266887"/>
                    </a:cubicBezTo>
                    <a:lnTo>
                      <a:pt x="658054" y="10739"/>
                    </a:lnTo>
                    <a:cubicBezTo>
                      <a:pt x="683111" y="0"/>
                      <a:pt x="711476" y="0"/>
                      <a:pt x="736533" y="10739"/>
                    </a:cubicBezTo>
                    <a:lnTo>
                      <a:pt x="1334213" y="266887"/>
                    </a:lnTo>
                    <a:cubicBezTo>
                      <a:pt x="1370839" y="282584"/>
                      <a:pt x="1394587" y="318598"/>
                      <a:pt x="1394587" y="358446"/>
                    </a:cubicBezTo>
                    <a:lnTo>
                      <a:pt x="1394587" y="392375"/>
                    </a:lnTo>
                  </a:path>
                </a:pathLst>
              </a:custGeom>
              <a:noFill/>
              <a:ln w="6225">
                <a:solidFill>
                  <a:srgbClr val="FFFFFF"/>
                </a:solidFill>
              </a:ln>
            </p:spPr>
            <p:txBody>
              <a:bodyPr rtlCol="0" anchor="ctr"/>
              <a:lstStyle/>
              <a:p>
                <a:pPr algn="ctr"/>
                <a:endParaRPr sz="2400"/>
              </a:p>
            </p:txBody>
          </p:sp>
        </p:grpSp>
        <p:sp>
          <p:nvSpPr>
            <p:cNvPr id="24" name="TextBox 23">
              <a:extLst>
                <a:ext uri="{FF2B5EF4-FFF2-40B4-BE49-F238E27FC236}">
                  <a16:creationId xmlns:a16="http://schemas.microsoft.com/office/drawing/2014/main" id="{6CD9BA69-58A9-ADDA-0AAD-FC1D38CC9CAF}"/>
                </a:ext>
              </a:extLst>
            </p:cNvPr>
            <p:cNvSpPr txBox="1"/>
            <p:nvPr/>
          </p:nvSpPr>
          <p:spPr>
            <a:xfrm>
              <a:off x="4889324" y="1739721"/>
              <a:ext cx="959087" cy="401953"/>
            </a:xfrm>
            <a:prstGeom prst="rect">
              <a:avLst/>
            </a:prstGeom>
            <a:noFill/>
            <a:ln>
              <a:noFill/>
            </a:ln>
          </p:spPr>
          <p:txBody>
            <a:bodyPr wrap="none" lIns="0" tIns="0" rIns="0" bIns="0" anchor="t">
              <a:spAutoFit/>
            </a:bodyPr>
            <a:lstStyle/>
            <a:p>
              <a:pPr algn="ctr"/>
              <a:r>
                <a:rPr sz="1600" b="1">
                  <a:solidFill>
                    <a:srgbClr val="FFFFFF"/>
                  </a:solidFill>
                  <a:latin typeface="Arial"/>
                </a:rPr>
                <a:t>Competitive
Edge</a:t>
              </a:r>
            </a:p>
          </p:txBody>
        </p:sp>
        <p:sp>
          <p:nvSpPr>
            <p:cNvPr id="25" name="TextBox 24">
              <a:extLst>
                <a:ext uri="{FF2B5EF4-FFF2-40B4-BE49-F238E27FC236}">
                  <a16:creationId xmlns:a16="http://schemas.microsoft.com/office/drawing/2014/main" id="{1326F02F-ED27-606C-1FA3-9645F8D299C4}"/>
                </a:ext>
              </a:extLst>
            </p:cNvPr>
            <p:cNvSpPr txBox="1"/>
            <p:nvPr/>
          </p:nvSpPr>
          <p:spPr>
            <a:xfrm>
              <a:off x="6534246" y="1739721"/>
              <a:ext cx="857028" cy="401953"/>
            </a:xfrm>
            <a:prstGeom prst="rect">
              <a:avLst/>
            </a:prstGeom>
            <a:noFill/>
            <a:ln>
              <a:noFill/>
            </a:ln>
          </p:spPr>
          <p:txBody>
            <a:bodyPr wrap="none" lIns="0" tIns="0" rIns="0" bIns="0" anchor="t">
              <a:spAutoFit/>
            </a:bodyPr>
            <a:lstStyle/>
            <a:p>
              <a:pPr algn="ctr"/>
              <a:r>
                <a:rPr sz="1600" b="1">
                  <a:solidFill>
                    <a:srgbClr val="FFFFFF"/>
                  </a:solidFill>
                  <a:latin typeface="Arial"/>
                </a:rPr>
                <a:t>Intuitive
Interaction</a:t>
              </a:r>
            </a:p>
          </p:txBody>
        </p:sp>
        <p:sp>
          <p:nvSpPr>
            <p:cNvPr id="26" name="TextBox 25">
              <a:extLst>
                <a:ext uri="{FF2B5EF4-FFF2-40B4-BE49-F238E27FC236}">
                  <a16:creationId xmlns:a16="http://schemas.microsoft.com/office/drawing/2014/main" id="{53C564FA-BEA4-CE99-CA4D-DE78AADE48B9}"/>
                </a:ext>
              </a:extLst>
            </p:cNvPr>
            <p:cNvSpPr txBox="1"/>
            <p:nvPr/>
          </p:nvSpPr>
          <p:spPr>
            <a:xfrm>
              <a:off x="1669703" y="2233637"/>
              <a:ext cx="1023199" cy="527563"/>
            </a:xfrm>
            <a:prstGeom prst="rect">
              <a:avLst/>
            </a:prstGeom>
            <a:noFill/>
            <a:ln>
              <a:noFill/>
            </a:ln>
          </p:spPr>
          <p:txBody>
            <a:bodyPr wrap="none" lIns="0" tIns="0" rIns="0" bIns="0" anchor="t">
              <a:spAutoFit/>
            </a:bodyPr>
            <a:lstStyle/>
            <a:p>
              <a:pPr algn="ctr"/>
              <a:r>
                <a:rPr sz="1050" b="0">
                  <a:solidFill>
                    <a:srgbClr val="FFFFFF"/>
                  </a:solidFill>
                  <a:latin typeface="Arial"/>
                </a:rPr>
                <a:t>Agents process data
in real-time, boosting
efficiency across
teams.</a:t>
              </a:r>
            </a:p>
          </p:txBody>
        </p:sp>
        <p:sp>
          <p:nvSpPr>
            <p:cNvPr id="27" name="TextBox 26">
              <a:extLst>
                <a:ext uri="{FF2B5EF4-FFF2-40B4-BE49-F238E27FC236}">
                  <a16:creationId xmlns:a16="http://schemas.microsoft.com/office/drawing/2014/main" id="{6E03C258-643A-C7D6-C026-4D54B025345B}"/>
                </a:ext>
              </a:extLst>
            </p:cNvPr>
            <p:cNvSpPr txBox="1"/>
            <p:nvPr/>
          </p:nvSpPr>
          <p:spPr>
            <a:xfrm>
              <a:off x="3298190" y="2233637"/>
              <a:ext cx="953853" cy="527563"/>
            </a:xfrm>
            <a:prstGeom prst="rect">
              <a:avLst/>
            </a:prstGeom>
            <a:noFill/>
            <a:ln>
              <a:noFill/>
            </a:ln>
          </p:spPr>
          <p:txBody>
            <a:bodyPr wrap="none" lIns="0" tIns="0" rIns="0" bIns="0" anchor="t">
              <a:spAutoFit/>
            </a:bodyPr>
            <a:lstStyle/>
            <a:p>
              <a:pPr algn="ctr"/>
              <a:r>
                <a:rPr sz="1050" b="0">
                  <a:solidFill>
                    <a:srgbClr val="FFFFFF"/>
                  </a:solidFill>
                  <a:latin typeface="Arial"/>
                </a:rPr>
                <a:t>AI agents automate
repetitive tasks,
reducing manual
oversight.</a:t>
              </a:r>
            </a:p>
          </p:txBody>
        </p:sp>
        <p:sp>
          <p:nvSpPr>
            <p:cNvPr id="28" name="TextBox 27">
              <a:extLst>
                <a:ext uri="{FF2B5EF4-FFF2-40B4-BE49-F238E27FC236}">
                  <a16:creationId xmlns:a16="http://schemas.microsoft.com/office/drawing/2014/main" id="{F1AD8DE6-C938-7DB6-59EF-82214160D609}"/>
                </a:ext>
              </a:extLst>
            </p:cNvPr>
            <p:cNvSpPr txBox="1"/>
            <p:nvPr/>
          </p:nvSpPr>
          <p:spPr>
            <a:xfrm>
              <a:off x="4866444" y="2233637"/>
              <a:ext cx="1004881" cy="527563"/>
            </a:xfrm>
            <a:prstGeom prst="rect">
              <a:avLst/>
            </a:prstGeom>
            <a:noFill/>
            <a:ln>
              <a:noFill/>
            </a:ln>
          </p:spPr>
          <p:txBody>
            <a:bodyPr wrap="none" lIns="0" tIns="0" rIns="0" bIns="0" anchor="t">
              <a:spAutoFit/>
            </a:bodyPr>
            <a:lstStyle/>
            <a:p>
              <a:pPr algn="ctr"/>
              <a:r>
                <a:rPr sz="1050" b="0">
                  <a:solidFill>
                    <a:srgbClr val="FFFFFF"/>
                  </a:solidFill>
                  <a:latin typeface="Arial"/>
                </a:rPr>
                <a:t>Companies focus on
R&amp;D by reducing
manual oversight
with AI agents.</a:t>
              </a:r>
            </a:p>
          </p:txBody>
        </p:sp>
        <p:sp>
          <p:nvSpPr>
            <p:cNvPr id="29" name="TextBox 28">
              <a:extLst>
                <a:ext uri="{FF2B5EF4-FFF2-40B4-BE49-F238E27FC236}">
                  <a16:creationId xmlns:a16="http://schemas.microsoft.com/office/drawing/2014/main" id="{215BBB5B-190F-6062-448F-51FF2BEEFD42}"/>
                </a:ext>
              </a:extLst>
            </p:cNvPr>
            <p:cNvSpPr txBox="1"/>
            <p:nvPr/>
          </p:nvSpPr>
          <p:spPr>
            <a:xfrm>
              <a:off x="6504086" y="2233637"/>
              <a:ext cx="917217" cy="527563"/>
            </a:xfrm>
            <a:prstGeom prst="rect">
              <a:avLst/>
            </a:prstGeom>
            <a:noFill/>
            <a:ln>
              <a:noFill/>
            </a:ln>
          </p:spPr>
          <p:txBody>
            <a:bodyPr wrap="none" lIns="0" tIns="0" rIns="0" bIns="0" anchor="t">
              <a:spAutoFit/>
            </a:bodyPr>
            <a:lstStyle/>
            <a:p>
              <a:pPr algn="ctr"/>
              <a:r>
                <a:rPr sz="1050" b="0">
                  <a:solidFill>
                    <a:srgbClr val="FFFFFF"/>
                  </a:solidFill>
                  <a:latin typeface="Arial"/>
                </a:rPr>
                <a:t>Agents simplify
software functions,
allowing natural
language inputs.</a:t>
              </a:r>
            </a:p>
          </p:txBody>
        </p:sp>
        <p:sp>
          <p:nvSpPr>
            <p:cNvPr id="30" name="TextBox 29">
              <a:extLst>
                <a:ext uri="{FF2B5EF4-FFF2-40B4-BE49-F238E27FC236}">
                  <a16:creationId xmlns:a16="http://schemas.microsoft.com/office/drawing/2014/main" id="{30215A8D-EB3D-1F5F-89CE-5C5FC68D34E0}"/>
                </a:ext>
              </a:extLst>
            </p:cNvPr>
            <p:cNvSpPr txBox="1"/>
            <p:nvPr/>
          </p:nvSpPr>
          <p:spPr>
            <a:xfrm>
              <a:off x="3338056" y="1739721"/>
              <a:ext cx="874037" cy="401953"/>
            </a:xfrm>
            <a:prstGeom prst="rect">
              <a:avLst/>
            </a:prstGeom>
            <a:noFill/>
            <a:ln>
              <a:noFill/>
            </a:ln>
          </p:spPr>
          <p:txBody>
            <a:bodyPr wrap="none" lIns="0" tIns="0" rIns="0" bIns="0" anchor="t">
              <a:spAutoFit/>
            </a:bodyPr>
            <a:lstStyle/>
            <a:p>
              <a:pPr algn="ctr"/>
              <a:r>
                <a:rPr sz="1600" b="1">
                  <a:solidFill>
                    <a:srgbClr val="FFFFFF"/>
                  </a:solidFill>
                  <a:latin typeface="Arial"/>
                </a:rPr>
                <a:t>Automated
Labor</a:t>
              </a:r>
            </a:p>
          </p:txBody>
        </p:sp>
        <p:sp>
          <p:nvSpPr>
            <p:cNvPr id="31" name="TextBox 30">
              <a:extLst>
                <a:ext uri="{FF2B5EF4-FFF2-40B4-BE49-F238E27FC236}">
                  <a16:creationId xmlns:a16="http://schemas.microsoft.com/office/drawing/2014/main" id="{CB110EDF-2D50-8625-0B4E-4E1D97E58A64}"/>
                </a:ext>
              </a:extLst>
            </p:cNvPr>
            <p:cNvSpPr txBox="1"/>
            <p:nvPr/>
          </p:nvSpPr>
          <p:spPr>
            <a:xfrm>
              <a:off x="5715096" y="4989606"/>
              <a:ext cx="901515" cy="527563"/>
            </a:xfrm>
            <a:prstGeom prst="rect">
              <a:avLst/>
            </a:prstGeom>
            <a:noFill/>
            <a:ln>
              <a:noFill/>
            </a:ln>
          </p:spPr>
          <p:txBody>
            <a:bodyPr wrap="none" lIns="0" tIns="0" rIns="0" bIns="0" anchor="t">
              <a:spAutoFit/>
            </a:bodyPr>
            <a:lstStyle/>
            <a:p>
              <a:pPr algn="ctr"/>
              <a:r>
                <a:rPr sz="1050" b="0">
                  <a:solidFill>
                    <a:srgbClr val="FFFFFF"/>
                  </a:solidFill>
                  <a:latin typeface="Arial"/>
                </a:rPr>
                <a:t>Agents fetch real-
time information,
optimizing through
feedback loops.</a:t>
              </a:r>
            </a:p>
          </p:txBody>
        </p:sp>
        <p:sp>
          <p:nvSpPr>
            <p:cNvPr id="32" name="TextBox 31">
              <a:extLst>
                <a:ext uri="{FF2B5EF4-FFF2-40B4-BE49-F238E27FC236}">
                  <a16:creationId xmlns:a16="http://schemas.microsoft.com/office/drawing/2014/main" id="{0B6E67BD-C1FA-D560-CF9D-72C0C40A5FB7}"/>
                </a:ext>
              </a:extLst>
            </p:cNvPr>
            <p:cNvSpPr txBox="1"/>
            <p:nvPr/>
          </p:nvSpPr>
          <p:spPr>
            <a:xfrm>
              <a:off x="2503218" y="4495689"/>
              <a:ext cx="949927" cy="401953"/>
            </a:xfrm>
            <a:prstGeom prst="rect">
              <a:avLst/>
            </a:prstGeom>
            <a:noFill/>
            <a:ln>
              <a:noFill/>
            </a:ln>
          </p:spPr>
          <p:txBody>
            <a:bodyPr wrap="none" lIns="0" tIns="0" rIns="0" bIns="0" anchor="t">
              <a:spAutoFit/>
            </a:bodyPr>
            <a:lstStyle/>
            <a:p>
              <a:pPr algn="ctr"/>
              <a:r>
                <a:rPr sz="1600" b="1">
                  <a:solidFill>
                    <a:srgbClr val="FFFFFF"/>
                  </a:solidFill>
                  <a:latin typeface="Arial"/>
                </a:rPr>
                <a:t>Enhanced
Satisfaction</a:t>
              </a:r>
            </a:p>
          </p:txBody>
        </p:sp>
        <p:sp>
          <p:nvSpPr>
            <p:cNvPr id="33" name="TextBox 32">
              <a:extLst>
                <a:ext uri="{FF2B5EF4-FFF2-40B4-BE49-F238E27FC236}">
                  <a16:creationId xmlns:a16="http://schemas.microsoft.com/office/drawing/2014/main" id="{3FB1C8E9-0ADB-3D83-6E48-402616FBB538}"/>
                </a:ext>
              </a:extLst>
            </p:cNvPr>
            <p:cNvSpPr txBox="1"/>
            <p:nvPr/>
          </p:nvSpPr>
          <p:spPr>
            <a:xfrm>
              <a:off x="4073484" y="4495689"/>
              <a:ext cx="997030" cy="401953"/>
            </a:xfrm>
            <a:prstGeom prst="rect">
              <a:avLst/>
            </a:prstGeom>
            <a:noFill/>
            <a:ln>
              <a:noFill/>
            </a:ln>
          </p:spPr>
          <p:txBody>
            <a:bodyPr wrap="none" lIns="0" tIns="0" rIns="0" bIns="0" anchor="t">
              <a:spAutoFit/>
            </a:bodyPr>
            <a:lstStyle/>
            <a:p>
              <a:pPr algn="ctr"/>
              <a:r>
                <a:rPr sz="1600" b="1">
                  <a:solidFill>
                    <a:srgbClr val="FFFFFF"/>
                  </a:solidFill>
                  <a:latin typeface="Arial"/>
                </a:rPr>
                <a:t>Scalability &amp;
Flexibility</a:t>
              </a:r>
            </a:p>
          </p:txBody>
        </p:sp>
        <p:sp>
          <p:nvSpPr>
            <p:cNvPr id="34" name="TextBox 33">
              <a:extLst>
                <a:ext uri="{FF2B5EF4-FFF2-40B4-BE49-F238E27FC236}">
                  <a16:creationId xmlns:a16="http://schemas.microsoft.com/office/drawing/2014/main" id="{B96045C9-9B41-4A08-6D3F-07F4F3026BCD}"/>
                </a:ext>
              </a:extLst>
            </p:cNvPr>
            <p:cNvSpPr txBox="1"/>
            <p:nvPr/>
          </p:nvSpPr>
          <p:spPr>
            <a:xfrm>
              <a:off x="5789611" y="4495689"/>
              <a:ext cx="752353" cy="401953"/>
            </a:xfrm>
            <a:prstGeom prst="rect">
              <a:avLst/>
            </a:prstGeom>
            <a:noFill/>
            <a:ln>
              <a:noFill/>
            </a:ln>
          </p:spPr>
          <p:txBody>
            <a:bodyPr wrap="none" lIns="0" tIns="0" rIns="0" bIns="0" anchor="t">
              <a:spAutoFit/>
            </a:bodyPr>
            <a:lstStyle/>
            <a:p>
              <a:pPr algn="ctr"/>
              <a:r>
                <a:rPr sz="1600" b="1">
                  <a:solidFill>
                    <a:srgbClr val="FFFFFF"/>
                  </a:solidFill>
                  <a:latin typeface="Arial"/>
                </a:rPr>
                <a:t>Extended
Reach</a:t>
              </a:r>
            </a:p>
          </p:txBody>
        </p:sp>
        <p:sp>
          <p:nvSpPr>
            <p:cNvPr id="35" name="TextBox 34">
              <a:extLst>
                <a:ext uri="{FF2B5EF4-FFF2-40B4-BE49-F238E27FC236}">
                  <a16:creationId xmlns:a16="http://schemas.microsoft.com/office/drawing/2014/main" id="{7D94132C-02E1-0DE3-10A9-4C575F1A6CAE}"/>
                </a:ext>
              </a:extLst>
            </p:cNvPr>
            <p:cNvSpPr txBox="1"/>
            <p:nvPr/>
          </p:nvSpPr>
          <p:spPr>
            <a:xfrm>
              <a:off x="2472459" y="4989606"/>
              <a:ext cx="1011424" cy="527563"/>
            </a:xfrm>
            <a:prstGeom prst="rect">
              <a:avLst/>
            </a:prstGeom>
            <a:noFill/>
            <a:ln>
              <a:noFill/>
            </a:ln>
          </p:spPr>
          <p:txBody>
            <a:bodyPr wrap="none" lIns="0" tIns="0" rIns="0" bIns="0" anchor="t">
              <a:spAutoFit/>
            </a:bodyPr>
            <a:lstStyle/>
            <a:p>
              <a:pPr algn="ctr"/>
              <a:r>
                <a:rPr sz="1050" b="0">
                  <a:solidFill>
                    <a:srgbClr val="FFFFFF"/>
                  </a:solidFill>
                  <a:latin typeface="Arial"/>
                </a:rPr>
                <a:t>AI agents provide
instant, personalized
service, improving
customer loyalty.</a:t>
              </a:r>
            </a:p>
          </p:txBody>
        </p:sp>
        <p:sp>
          <p:nvSpPr>
            <p:cNvPr id="36" name="TextBox 35">
              <a:extLst>
                <a:ext uri="{FF2B5EF4-FFF2-40B4-BE49-F238E27FC236}">
                  <a16:creationId xmlns:a16="http://schemas.microsoft.com/office/drawing/2014/main" id="{8D8EF8F5-98EC-6E09-A074-5FCDD2F54615}"/>
                </a:ext>
              </a:extLst>
            </p:cNvPr>
            <p:cNvSpPr txBox="1"/>
            <p:nvPr/>
          </p:nvSpPr>
          <p:spPr>
            <a:xfrm>
              <a:off x="4115344" y="5014508"/>
              <a:ext cx="913291" cy="659453"/>
            </a:xfrm>
            <a:prstGeom prst="rect">
              <a:avLst/>
            </a:prstGeom>
            <a:noFill/>
            <a:ln>
              <a:noFill/>
            </a:ln>
          </p:spPr>
          <p:txBody>
            <a:bodyPr wrap="none" lIns="0" tIns="0" rIns="0" bIns="0" anchor="t">
              <a:spAutoFit/>
            </a:bodyPr>
            <a:lstStyle/>
            <a:p>
              <a:pPr algn="ctr"/>
              <a:r>
                <a:rPr sz="1050" b="0">
                  <a:solidFill>
                    <a:srgbClr val="FFFFFF"/>
                  </a:solidFill>
                  <a:latin typeface="Arial"/>
                </a:rPr>
                <a:t>Workloads adjust
based on demand,
with modular
architectures for
easy integration.</a:t>
              </a:r>
            </a:p>
          </p:txBody>
        </p:sp>
        <p:sp>
          <p:nvSpPr>
            <p:cNvPr id="37" name="TextBox 36">
              <a:extLst>
                <a:ext uri="{FF2B5EF4-FFF2-40B4-BE49-F238E27FC236}">
                  <a16:creationId xmlns:a16="http://schemas.microsoft.com/office/drawing/2014/main" id="{45347226-53D0-4DBE-3B55-DA39B79E64C5}"/>
                </a:ext>
              </a:extLst>
            </p:cNvPr>
            <p:cNvSpPr txBox="1"/>
            <p:nvPr/>
          </p:nvSpPr>
          <p:spPr>
            <a:xfrm>
              <a:off x="1707006" y="1739721"/>
              <a:ext cx="948619" cy="401953"/>
            </a:xfrm>
            <a:prstGeom prst="rect">
              <a:avLst/>
            </a:prstGeom>
            <a:noFill/>
            <a:ln>
              <a:noFill/>
            </a:ln>
          </p:spPr>
          <p:txBody>
            <a:bodyPr wrap="none" lIns="0" tIns="0" rIns="0" bIns="0" anchor="t">
              <a:spAutoFit/>
            </a:bodyPr>
            <a:lstStyle/>
            <a:p>
              <a:pPr algn="ctr"/>
              <a:r>
                <a:rPr sz="1600" b="1">
                  <a:solidFill>
                    <a:srgbClr val="FFFFFF"/>
                  </a:solidFill>
                  <a:latin typeface="Arial"/>
                </a:rPr>
                <a:t>Accelerated
Reasoning</a:t>
              </a:r>
            </a:p>
          </p:txBody>
        </p:sp>
        <p:sp>
          <p:nvSpPr>
            <p:cNvPr id="38" name="Rounded Rectangle 37">
              <a:extLst>
                <a:ext uri="{FF2B5EF4-FFF2-40B4-BE49-F238E27FC236}">
                  <a16:creationId xmlns:a16="http://schemas.microsoft.com/office/drawing/2014/main" id="{66AEFE3D-0E26-AD3A-E154-377F44A44FE1}"/>
                </a:ext>
              </a:extLst>
            </p:cNvPr>
            <p:cNvSpPr/>
            <p:nvPr/>
          </p:nvSpPr>
          <p:spPr>
            <a:xfrm>
              <a:off x="1942709" y="2934864"/>
              <a:ext cx="477135" cy="484595"/>
            </a:xfrm>
            <a:custGeom>
              <a:avLst/>
              <a:gdLst/>
              <a:ahLst/>
              <a:cxnLst/>
              <a:rect l="0" t="0" r="0" b="0"/>
              <a:pathLst>
                <a:path w="477135" h="484595">
                  <a:moveTo>
                    <a:pt x="179194" y="82937"/>
                  </a:moveTo>
                  <a:cubicBezTo>
                    <a:pt x="199291" y="76160"/>
                    <a:pt x="211046" y="55322"/>
                    <a:pt x="206452" y="34616"/>
                  </a:cubicBezTo>
                  <a:cubicBezTo>
                    <a:pt x="201858" y="13911"/>
                    <a:pt x="182393" y="0"/>
                    <a:pt x="161315" y="2359"/>
                  </a:cubicBezTo>
                  <a:cubicBezTo>
                    <a:pt x="140238" y="4718"/>
                    <a:pt x="124330" y="22588"/>
                    <a:pt x="124427" y="43797"/>
                  </a:cubicBezTo>
                  <a:cubicBezTo>
                    <a:pt x="124483" y="47543"/>
                    <a:pt x="125049" y="51264"/>
                    <a:pt x="126108" y="54858"/>
                  </a:cubicBezTo>
                  <a:cubicBezTo>
                    <a:pt x="123804" y="54651"/>
                    <a:pt x="121584" y="54173"/>
                    <a:pt x="119239" y="54173"/>
                  </a:cubicBezTo>
                  <a:cubicBezTo>
                    <a:pt x="89596" y="54028"/>
                    <a:pt x="62471" y="70816"/>
                    <a:pt x="49377" y="97411"/>
                  </a:cubicBezTo>
                  <a:cubicBezTo>
                    <a:pt x="36283" y="124005"/>
                    <a:pt x="39517" y="155740"/>
                    <a:pt x="57707" y="179147"/>
                  </a:cubicBezTo>
                  <a:cubicBezTo>
                    <a:pt x="25216" y="181376"/>
                    <a:pt x="0" y="208381"/>
                    <a:pt x="0" y="240948"/>
                  </a:cubicBezTo>
                  <a:cubicBezTo>
                    <a:pt x="0" y="273515"/>
                    <a:pt x="25216" y="300521"/>
                    <a:pt x="57707" y="302750"/>
                  </a:cubicBezTo>
                  <a:cubicBezTo>
                    <a:pt x="39517" y="326156"/>
                    <a:pt x="36283" y="357892"/>
                    <a:pt x="49377" y="384486"/>
                  </a:cubicBezTo>
                  <a:cubicBezTo>
                    <a:pt x="62471" y="411081"/>
                    <a:pt x="89596" y="427868"/>
                    <a:pt x="119239" y="427723"/>
                  </a:cubicBezTo>
                  <a:cubicBezTo>
                    <a:pt x="121584" y="427723"/>
                    <a:pt x="123804" y="427246"/>
                    <a:pt x="126108" y="427039"/>
                  </a:cubicBezTo>
                  <a:cubicBezTo>
                    <a:pt x="119941" y="448854"/>
                    <a:pt x="132420" y="471582"/>
                    <a:pt x="154137" y="478089"/>
                  </a:cubicBezTo>
                  <a:cubicBezTo>
                    <a:pt x="175854" y="484595"/>
                    <a:pt x="198774" y="472472"/>
                    <a:pt x="205617" y="450859"/>
                  </a:cubicBezTo>
                  <a:cubicBezTo>
                    <a:pt x="212461" y="429246"/>
                    <a:pt x="200697" y="406140"/>
                    <a:pt x="179194" y="398960"/>
                  </a:cubicBezTo>
                  <a:moveTo>
                    <a:pt x="297941" y="82937"/>
                  </a:moveTo>
                  <a:cubicBezTo>
                    <a:pt x="277844" y="76160"/>
                    <a:pt x="266088" y="55322"/>
                    <a:pt x="270682" y="34616"/>
                  </a:cubicBezTo>
                  <a:cubicBezTo>
                    <a:pt x="275276" y="13911"/>
                    <a:pt x="294742" y="0"/>
                    <a:pt x="315819" y="2359"/>
                  </a:cubicBezTo>
                  <a:cubicBezTo>
                    <a:pt x="336897" y="4718"/>
                    <a:pt x="352805" y="22588"/>
                    <a:pt x="352708" y="43797"/>
                  </a:cubicBezTo>
                  <a:cubicBezTo>
                    <a:pt x="352651" y="47543"/>
                    <a:pt x="352086" y="51264"/>
                    <a:pt x="351027" y="54858"/>
                  </a:cubicBezTo>
                  <a:cubicBezTo>
                    <a:pt x="353330" y="54651"/>
                    <a:pt x="355551" y="54173"/>
                    <a:pt x="357896" y="54173"/>
                  </a:cubicBezTo>
                  <a:cubicBezTo>
                    <a:pt x="387539" y="54028"/>
                    <a:pt x="414664" y="70816"/>
                    <a:pt x="427758" y="97411"/>
                  </a:cubicBezTo>
                  <a:cubicBezTo>
                    <a:pt x="440852" y="124005"/>
                    <a:pt x="437618" y="155740"/>
                    <a:pt x="419428" y="179147"/>
                  </a:cubicBezTo>
                  <a:cubicBezTo>
                    <a:pt x="451918" y="181376"/>
                    <a:pt x="477135" y="208381"/>
                    <a:pt x="477135" y="240948"/>
                  </a:cubicBezTo>
                  <a:cubicBezTo>
                    <a:pt x="477135" y="273515"/>
                    <a:pt x="451918" y="300521"/>
                    <a:pt x="419428" y="302750"/>
                  </a:cubicBezTo>
                  <a:cubicBezTo>
                    <a:pt x="437618" y="326156"/>
                    <a:pt x="440852" y="357892"/>
                    <a:pt x="427758" y="384486"/>
                  </a:cubicBezTo>
                  <a:cubicBezTo>
                    <a:pt x="414664" y="411081"/>
                    <a:pt x="387539" y="427868"/>
                    <a:pt x="357896" y="427723"/>
                  </a:cubicBezTo>
                  <a:cubicBezTo>
                    <a:pt x="355551" y="427723"/>
                    <a:pt x="353330" y="427246"/>
                    <a:pt x="351027" y="427039"/>
                  </a:cubicBezTo>
                  <a:cubicBezTo>
                    <a:pt x="357194" y="448854"/>
                    <a:pt x="344715" y="471582"/>
                    <a:pt x="322998" y="478089"/>
                  </a:cubicBezTo>
                  <a:cubicBezTo>
                    <a:pt x="301281" y="484595"/>
                    <a:pt x="278361" y="472472"/>
                    <a:pt x="271517" y="450859"/>
                  </a:cubicBezTo>
                  <a:cubicBezTo>
                    <a:pt x="264673" y="429246"/>
                    <a:pt x="276437" y="406140"/>
                    <a:pt x="297941" y="398960"/>
                  </a:cubicBezTo>
                  <a:moveTo>
                    <a:pt x="207438" y="41722"/>
                  </a:moveTo>
                  <a:cubicBezTo>
                    <a:pt x="226701" y="30600"/>
                    <a:pt x="250434" y="30600"/>
                    <a:pt x="269696" y="41722"/>
                  </a:cubicBezTo>
                  <a:moveTo>
                    <a:pt x="269696" y="440175"/>
                  </a:moveTo>
                  <a:cubicBezTo>
                    <a:pt x="250434" y="451297"/>
                    <a:pt x="226701" y="451297"/>
                    <a:pt x="207438" y="440175"/>
                  </a:cubicBezTo>
                  <a:moveTo>
                    <a:pt x="176309" y="157937"/>
                  </a:moveTo>
                  <a:lnTo>
                    <a:pt x="300826" y="157937"/>
                  </a:lnTo>
                  <a:cubicBezTo>
                    <a:pt x="300826" y="157937"/>
                    <a:pt x="321578" y="157937"/>
                    <a:pt x="321578" y="178690"/>
                  </a:cubicBezTo>
                  <a:lnTo>
                    <a:pt x="321578" y="303207"/>
                  </a:lnTo>
                  <a:cubicBezTo>
                    <a:pt x="321578" y="303207"/>
                    <a:pt x="321578" y="323960"/>
                    <a:pt x="300826" y="323960"/>
                  </a:cubicBezTo>
                  <a:lnTo>
                    <a:pt x="176309" y="323960"/>
                  </a:lnTo>
                  <a:cubicBezTo>
                    <a:pt x="176309" y="323960"/>
                    <a:pt x="155556" y="323960"/>
                    <a:pt x="155556" y="303207"/>
                  </a:cubicBezTo>
                  <a:lnTo>
                    <a:pt x="155556" y="178690"/>
                  </a:lnTo>
                  <a:cubicBezTo>
                    <a:pt x="155556" y="178690"/>
                    <a:pt x="155556" y="157937"/>
                    <a:pt x="176309" y="157937"/>
                  </a:cubicBezTo>
                  <a:moveTo>
                    <a:pt x="197062" y="157937"/>
                  </a:moveTo>
                  <a:lnTo>
                    <a:pt x="197062" y="116432"/>
                  </a:lnTo>
                  <a:moveTo>
                    <a:pt x="280073" y="116432"/>
                  </a:moveTo>
                  <a:lnTo>
                    <a:pt x="280073" y="157937"/>
                  </a:lnTo>
                  <a:moveTo>
                    <a:pt x="155556" y="282454"/>
                  </a:moveTo>
                  <a:lnTo>
                    <a:pt x="114051" y="282454"/>
                  </a:lnTo>
                  <a:moveTo>
                    <a:pt x="155556" y="199443"/>
                  </a:moveTo>
                  <a:lnTo>
                    <a:pt x="114051" y="199443"/>
                  </a:lnTo>
                  <a:moveTo>
                    <a:pt x="280073" y="365465"/>
                  </a:moveTo>
                  <a:lnTo>
                    <a:pt x="280073" y="323960"/>
                  </a:lnTo>
                  <a:moveTo>
                    <a:pt x="197062" y="323960"/>
                  </a:moveTo>
                  <a:lnTo>
                    <a:pt x="197062" y="365465"/>
                  </a:lnTo>
                  <a:moveTo>
                    <a:pt x="321578" y="199443"/>
                  </a:moveTo>
                  <a:lnTo>
                    <a:pt x="363084" y="199443"/>
                  </a:lnTo>
                  <a:moveTo>
                    <a:pt x="321578" y="282454"/>
                  </a:moveTo>
                  <a:lnTo>
                    <a:pt x="363084" y="282454"/>
                  </a:lnTo>
                </a:path>
              </a:pathLst>
            </a:custGeom>
            <a:noFill/>
            <a:ln w="6225">
              <a:solidFill>
                <a:srgbClr val="FFFFFF"/>
              </a:solidFill>
            </a:ln>
          </p:spPr>
          <p:txBody>
            <a:bodyPr rtlCol="0" anchor="ctr"/>
            <a:lstStyle/>
            <a:p>
              <a:pPr algn="ctr"/>
              <a:endParaRPr sz="2400"/>
            </a:p>
          </p:txBody>
        </p:sp>
        <p:sp>
          <p:nvSpPr>
            <p:cNvPr id="39" name="Rounded Rectangle 38">
              <a:extLst>
                <a:ext uri="{FF2B5EF4-FFF2-40B4-BE49-F238E27FC236}">
                  <a16:creationId xmlns:a16="http://schemas.microsoft.com/office/drawing/2014/main" id="{849C56A9-DB9F-66D9-A270-140AB0FAAAC4}"/>
                </a:ext>
              </a:extLst>
            </p:cNvPr>
            <p:cNvSpPr/>
            <p:nvPr/>
          </p:nvSpPr>
          <p:spPr>
            <a:xfrm>
              <a:off x="3535272" y="2937435"/>
              <a:ext cx="488626" cy="474295"/>
            </a:xfrm>
            <a:custGeom>
              <a:avLst/>
              <a:gdLst/>
              <a:ahLst/>
              <a:cxnLst/>
              <a:rect l="0" t="0" r="0" b="0"/>
              <a:pathLst>
                <a:path w="488627" h="474296">
                  <a:moveTo>
                    <a:pt x="155645" y="70343"/>
                  </a:moveTo>
                  <a:lnTo>
                    <a:pt x="155645" y="379705"/>
                  </a:lnTo>
                  <a:lnTo>
                    <a:pt x="202339" y="469398"/>
                  </a:lnTo>
                  <a:lnTo>
                    <a:pt x="25940" y="469398"/>
                  </a:lnTo>
                  <a:lnTo>
                    <a:pt x="73485" y="378625"/>
                  </a:lnTo>
                  <a:lnTo>
                    <a:pt x="72634" y="70301"/>
                  </a:lnTo>
                  <a:moveTo>
                    <a:pt x="311935" y="80283"/>
                  </a:moveTo>
                  <a:lnTo>
                    <a:pt x="161560" y="80283"/>
                  </a:lnTo>
                  <a:moveTo>
                    <a:pt x="148756" y="18025"/>
                  </a:moveTo>
                  <a:lnTo>
                    <a:pt x="315836" y="18025"/>
                  </a:lnTo>
                  <a:moveTo>
                    <a:pt x="291389" y="363289"/>
                  </a:moveTo>
                  <a:lnTo>
                    <a:pt x="424581" y="363289"/>
                  </a:lnTo>
                  <a:lnTo>
                    <a:pt x="424581" y="474296"/>
                  </a:lnTo>
                  <a:lnTo>
                    <a:pt x="291389" y="474296"/>
                  </a:lnTo>
                  <a:close/>
                  <a:moveTo>
                    <a:pt x="291389" y="363289"/>
                  </a:moveTo>
                  <a:lnTo>
                    <a:pt x="252540" y="324440"/>
                  </a:lnTo>
                  <a:moveTo>
                    <a:pt x="424581" y="363289"/>
                  </a:moveTo>
                  <a:lnTo>
                    <a:pt x="463430" y="324440"/>
                  </a:lnTo>
                  <a:moveTo>
                    <a:pt x="357985" y="167632"/>
                  </a:moveTo>
                  <a:cubicBezTo>
                    <a:pt x="341060" y="167636"/>
                    <a:pt x="326711" y="155188"/>
                    <a:pt x="324324" y="138433"/>
                  </a:cubicBezTo>
                  <a:lnTo>
                    <a:pt x="312454" y="55027"/>
                  </a:lnTo>
                  <a:cubicBezTo>
                    <a:pt x="309893" y="37184"/>
                    <a:pt x="317979" y="19488"/>
                    <a:pt x="333144" y="9744"/>
                  </a:cubicBezTo>
                  <a:cubicBezTo>
                    <a:pt x="348309" y="0"/>
                    <a:pt x="367765" y="0"/>
                    <a:pt x="382930" y="9744"/>
                  </a:cubicBezTo>
                  <a:cubicBezTo>
                    <a:pt x="398095" y="19488"/>
                    <a:pt x="406181" y="37184"/>
                    <a:pt x="403621" y="55027"/>
                  </a:cubicBezTo>
                  <a:lnTo>
                    <a:pt x="391688" y="138433"/>
                  </a:lnTo>
                  <a:cubicBezTo>
                    <a:pt x="389307" y="155208"/>
                    <a:pt x="374929" y="167665"/>
                    <a:pt x="357985" y="167632"/>
                  </a:cubicBezTo>
                  <a:close/>
                  <a:moveTo>
                    <a:pt x="317227" y="229081"/>
                  </a:moveTo>
                  <a:lnTo>
                    <a:pt x="398764" y="229081"/>
                  </a:lnTo>
                  <a:lnTo>
                    <a:pt x="398764" y="310619"/>
                  </a:lnTo>
                  <a:lnTo>
                    <a:pt x="317227" y="310619"/>
                  </a:lnTo>
                  <a:close/>
                  <a:moveTo>
                    <a:pt x="67446" y="49154"/>
                  </a:moveTo>
                  <a:cubicBezTo>
                    <a:pt x="67446" y="74942"/>
                    <a:pt x="88352" y="95848"/>
                    <a:pt x="114140" y="95848"/>
                  </a:cubicBezTo>
                  <a:cubicBezTo>
                    <a:pt x="139928" y="95848"/>
                    <a:pt x="160834" y="74942"/>
                    <a:pt x="160834" y="49154"/>
                  </a:cubicBezTo>
                  <a:cubicBezTo>
                    <a:pt x="160834" y="23366"/>
                    <a:pt x="139928" y="2460"/>
                    <a:pt x="114140" y="2460"/>
                  </a:cubicBezTo>
                  <a:cubicBezTo>
                    <a:pt x="88352" y="2460"/>
                    <a:pt x="67446" y="23366"/>
                    <a:pt x="67446" y="49154"/>
                  </a:cubicBezTo>
                  <a:moveTo>
                    <a:pt x="0" y="469398"/>
                  </a:moveTo>
                  <a:lnTo>
                    <a:pt x="228280" y="469398"/>
                  </a:lnTo>
                  <a:moveTo>
                    <a:pt x="419040" y="122349"/>
                  </a:moveTo>
                  <a:lnTo>
                    <a:pt x="398163" y="112969"/>
                  </a:lnTo>
                  <a:cubicBezTo>
                    <a:pt x="397248" y="112710"/>
                    <a:pt x="396320" y="112502"/>
                    <a:pt x="395382" y="112346"/>
                  </a:cubicBezTo>
                  <a:lnTo>
                    <a:pt x="391646" y="138453"/>
                  </a:lnTo>
                  <a:cubicBezTo>
                    <a:pt x="390275" y="147443"/>
                    <a:pt x="385309" y="155488"/>
                    <a:pt x="377887" y="160742"/>
                  </a:cubicBezTo>
                  <a:lnTo>
                    <a:pt x="397768" y="169686"/>
                  </a:lnTo>
                  <a:cubicBezTo>
                    <a:pt x="420195" y="179751"/>
                    <a:pt x="432176" y="204448"/>
                    <a:pt x="426200" y="228292"/>
                  </a:cubicBezTo>
                  <a:cubicBezTo>
                    <a:pt x="422727" y="242195"/>
                    <a:pt x="431182" y="256281"/>
                    <a:pt x="445085" y="259754"/>
                  </a:cubicBezTo>
                  <a:cubicBezTo>
                    <a:pt x="458987" y="263226"/>
                    <a:pt x="473073" y="254771"/>
                    <a:pt x="476546" y="240868"/>
                  </a:cubicBezTo>
                  <a:cubicBezTo>
                    <a:pt x="488627" y="192647"/>
                    <a:pt x="464394" y="142703"/>
                    <a:pt x="419040" y="122349"/>
                  </a:cubicBezTo>
                  <a:close/>
                  <a:moveTo>
                    <a:pt x="324324" y="138453"/>
                  </a:moveTo>
                  <a:lnTo>
                    <a:pt x="320589" y="112346"/>
                  </a:lnTo>
                  <a:cubicBezTo>
                    <a:pt x="319658" y="112502"/>
                    <a:pt x="318736" y="112710"/>
                    <a:pt x="317829" y="112969"/>
                  </a:cubicBezTo>
                  <a:lnTo>
                    <a:pt x="296930" y="122370"/>
                  </a:lnTo>
                  <a:cubicBezTo>
                    <a:pt x="251557" y="142704"/>
                    <a:pt x="227316" y="192665"/>
                    <a:pt x="239424" y="240889"/>
                  </a:cubicBezTo>
                  <a:cubicBezTo>
                    <a:pt x="242337" y="252413"/>
                    <a:pt x="252691" y="260495"/>
                    <a:pt x="264577" y="260521"/>
                  </a:cubicBezTo>
                  <a:cubicBezTo>
                    <a:pt x="266675" y="260512"/>
                    <a:pt x="268765" y="260255"/>
                    <a:pt x="270803" y="259754"/>
                  </a:cubicBezTo>
                  <a:cubicBezTo>
                    <a:pt x="284699" y="256274"/>
                    <a:pt x="293144" y="242189"/>
                    <a:pt x="289667" y="228292"/>
                  </a:cubicBezTo>
                  <a:cubicBezTo>
                    <a:pt x="283693" y="204426"/>
                    <a:pt x="295716" y="179716"/>
                    <a:pt x="318181" y="169686"/>
                  </a:cubicBezTo>
                  <a:lnTo>
                    <a:pt x="338083" y="160742"/>
                  </a:lnTo>
                  <a:cubicBezTo>
                    <a:pt x="330669" y="155481"/>
                    <a:pt x="325704" y="147439"/>
                    <a:pt x="324324" y="138453"/>
                  </a:cubicBezTo>
                  <a:close/>
                </a:path>
              </a:pathLst>
            </a:custGeom>
            <a:noFill/>
            <a:ln w="6225">
              <a:solidFill>
                <a:srgbClr val="FFFFFF"/>
              </a:solidFill>
            </a:ln>
          </p:spPr>
          <p:txBody>
            <a:bodyPr rtlCol="0" anchor="ctr"/>
            <a:lstStyle/>
            <a:p>
              <a:pPr algn="ctr"/>
              <a:endParaRPr sz="2400"/>
            </a:p>
          </p:txBody>
        </p:sp>
        <p:sp>
          <p:nvSpPr>
            <p:cNvPr id="40" name="Rounded Rectangle 39">
              <a:extLst>
                <a:ext uri="{FF2B5EF4-FFF2-40B4-BE49-F238E27FC236}">
                  <a16:creationId xmlns:a16="http://schemas.microsoft.com/office/drawing/2014/main" id="{5AAAD9FC-9499-0E57-3342-6CD12CD9FB3B}"/>
                </a:ext>
              </a:extLst>
            </p:cNvPr>
            <p:cNvSpPr/>
            <p:nvPr/>
          </p:nvSpPr>
          <p:spPr>
            <a:xfrm>
              <a:off x="5129390" y="2934230"/>
              <a:ext cx="478171" cy="480243"/>
            </a:xfrm>
            <a:custGeom>
              <a:avLst/>
              <a:gdLst/>
              <a:ahLst/>
              <a:cxnLst/>
              <a:rect l="0" t="0" r="0" b="0"/>
              <a:pathLst>
                <a:path w="478171" h="480244">
                  <a:moveTo>
                    <a:pt x="396903" y="47212"/>
                  </a:moveTo>
                  <a:lnTo>
                    <a:pt x="478171" y="47212"/>
                  </a:lnTo>
                  <a:moveTo>
                    <a:pt x="478171" y="108059"/>
                  </a:moveTo>
                  <a:lnTo>
                    <a:pt x="407176" y="108059"/>
                  </a:lnTo>
                  <a:moveTo>
                    <a:pt x="291458" y="86144"/>
                  </a:moveTo>
                  <a:cubicBezTo>
                    <a:pt x="291458" y="119245"/>
                    <a:pt x="318292" y="146078"/>
                    <a:pt x="351392" y="146078"/>
                  </a:cubicBezTo>
                  <a:cubicBezTo>
                    <a:pt x="384493" y="146078"/>
                    <a:pt x="411326" y="119245"/>
                    <a:pt x="411326" y="86144"/>
                  </a:cubicBezTo>
                  <a:cubicBezTo>
                    <a:pt x="411326" y="53044"/>
                    <a:pt x="384493" y="26210"/>
                    <a:pt x="351392" y="26210"/>
                  </a:cubicBezTo>
                  <a:cubicBezTo>
                    <a:pt x="318292" y="26210"/>
                    <a:pt x="291458" y="53044"/>
                    <a:pt x="291458" y="86144"/>
                  </a:cubicBezTo>
                  <a:moveTo>
                    <a:pt x="297954" y="58958"/>
                  </a:moveTo>
                  <a:cubicBezTo>
                    <a:pt x="290473" y="55697"/>
                    <a:pt x="282168" y="54820"/>
                    <a:pt x="274171" y="56447"/>
                  </a:cubicBezTo>
                  <a:cubicBezTo>
                    <a:pt x="258407" y="62073"/>
                    <a:pt x="244878" y="72633"/>
                    <a:pt x="235592" y="86559"/>
                  </a:cubicBezTo>
                  <a:cubicBezTo>
                    <a:pt x="228026" y="98195"/>
                    <a:pt x="212611" y="101758"/>
                    <a:pt x="200706" y="94625"/>
                  </a:cubicBezTo>
                  <a:cubicBezTo>
                    <a:pt x="188802" y="87491"/>
                    <a:pt x="184675" y="72216"/>
                    <a:pt x="191368" y="60058"/>
                  </a:cubicBezTo>
                  <a:cubicBezTo>
                    <a:pt x="208410" y="33345"/>
                    <a:pt x="234721" y="13870"/>
                    <a:pt x="265248" y="5374"/>
                  </a:cubicBezTo>
                  <a:cubicBezTo>
                    <a:pt x="286768" y="0"/>
                    <a:pt x="340207" y="1805"/>
                    <a:pt x="365795" y="27974"/>
                  </a:cubicBezTo>
                  <a:moveTo>
                    <a:pt x="351247" y="146120"/>
                  </a:moveTo>
                  <a:cubicBezTo>
                    <a:pt x="350744" y="154265"/>
                    <a:pt x="347753" y="162060"/>
                    <a:pt x="342676" y="168450"/>
                  </a:cubicBezTo>
                  <a:cubicBezTo>
                    <a:pt x="330492" y="179925"/>
                    <a:pt x="314932" y="187166"/>
                    <a:pt x="298307" y="189099"/>
                  </a:cubicBezTo>
                  <a:cubicBezTo>
                    <a:pt x="284106" y="190074"/>
                    <a:pt x="273385" y="202375"/>
                    <a:pt x="274358" y="216576"/>
                  </a:cubicBezTo>
                  <a:cubicBezTo>
                    <a:pt x="274619" y="220729"/>
                    <a:pt x="275894" y="224755"/>
                    <a:pt x="278073" y="228301"/>
                  </a:cubicBezTo>
                  <a:cubicBezTo>
                    <a:pt x="283087" y="236463"/>
                    <a:pt x="292215" y="241171"/>
                    <a:pt x="301772" y="240524"/>
                  </a:cubicBezTo>
                  <a:cubicBezTo>
                    <a:pt x="333306" y="237504"/>
                    <a:pt x="362612" y="222936"/>
                    <a:pt x="384057" y="199621"/>
                  </a:cubicBezTo>
                  <a:cubicBezTo>
                    <a:pt x="398584" y="182894"/>
                    <a:pt x="421412" y="134478"/>
                    <a:pt x="409687" y="99779"/>
                  </a:cubicBezTo>
                  <a:moveTo>
                    <a:pt x="341016" y="86144"/>
                  </a:moveTo>
                  <a:cubicBezTo>
                    <a:pt x="341016" y="80414"/>
                    <a:pt x="345662" y="75768"/>
                    <a:pt x="351392" y="75768"/>
                  </a:cubicBezTo>
                  <a:cubicBezTo>
                    <a:pt x="357123" y="75768"/>
                    <a:pt x="361769" y="80414"/>
                    <a:pt x="361769" y="86144"/>
                  </a:cubicBezTo>
                  <a:cubicBezTo>
                    <a:pt x="361769" y="91875"/>
                    <a:pt x="357123" y="96521"/>
                    <a:pt x="351392" y="96521"/>
                  </a:cubicBezTo>
                  <a:cubicBezTo>
                    <a:pt x="345662" y="96521"/>
                    <a:pt x="341016" y="91875"/>
                    <a:pt x="341016" y="86144"/>
                  </a:cubicBezTo>
                  <a:moveTo>
                    <a:pt x="50664" y="407605"/>
                  </a:moveTo>
                  <a:cubicBezTo>
                    <a:pt x="26466" y="326939"/>
                    <a:pt x="83868" y="345347"/>
                    <a:pt x="104621" y="233136"/>
                  </a:cubicBezTo>
                  <a:lnTo>
                    <a:pt x="25947" y="233136"/>
                  </a:lnTo>
                  <a:cubicBezTo>
                    <a:pt x="9345" y="233136"/>
                    <a:pt x="6398" y="224233"/>
                    <a:pt x="1231" y="208420"/>
                  </a:cubicBezTo>
                  <a:cubicBezTo>
                    <a:pt x="0" y="198421"/>
                    <a:pt x="4914" y="188665"/>
                    <a:pt x="13682" y="183703"/>
                  </a:cubicBezTo>
                  <a:lnTo>
                    <a:pt x="100076" y="121922"/>
                  </a:lnTo>
                  <a:lnTo>
                    <a:pt x="100076" y="91457"/>
                  </a:lnTo>
                  <a:cubicBezTo>
                    <a:pt x="100077" y="87128"/>
                    <a:pt x="102344" y="83116"/>
                    <a:pt x="106051" y="80882"/>
                  </a:cubicBezTo>
                  <a:cubicBezTo>
                    <a:pt x="109759" y="78648"/>
                    <a:pt x="114366" y="78519"/>
                    <a:pt x="118193" y="80541"/>
                  </a:cubicBezTo>
                  <a:cubicBezTo>
                    <a:pt x="191305" y="119141"/>
                    <a:pt x="206642" y="148195"/>
                    <a:pt x="206455" y="179324"/>
                  </a:cubicBezTo>
                  <a:cubicBezTo>
                    <a:pt x="206289" y="203771"/>
                    <a:pt x="196639" y="229567"/>
                    <a:pt x="197718" y="262336"/>
                  </a:cubicBezTo>
                  <a:cubicBezTo>
                    <a:pt x="200022" y="333040"/>
                    <a:pt x="249890" y="345347"/>
                    <a:pt x="223638" y="407605"/>
                  </a:cubicBezTo>
                  <a:moveTo>
                    <a:pt x="257735" y="465464"/>
                  </a:moveTo>
                  <a:cubicBezTo>
                    <a:pt x="258462" y="469091"/>
                    <a:pt x="257526" y="472853"/>
                    <a:pt x="255182" y="475715"/>
                  </a:cubicBezTo>
                  <a:cubicBezTo>
                    <a:pt x="252838" y="478577"/>
                    <a:pt x="249335" y="480238"/>
                    <a:pt x="245636" y="480240"/>
                  </a:cubicBezTo>
                  <a:lnTo>
                    <a:pt x="28666" y="480240"/>
                  </a:lnTo>
                  <a:cubicBezTo>
                    <a:pt x="24963" y="480244"/>
                    <a:pt x="21454" y="478586"/>
                    <a:pt x="19106" y="475723"/>
                  </a:cubicBezTo>
                  <a:cubicBezTo>
                    <a:pt x="16758" y="472860"/>
                    <a:pt x="15818" y="469094"/>
                    <a:pt x="16546" y="465464"/>
                  </a:cubicBezTo>
                  <a:lnTo>
                    <a:pt x="25947" y="420057"/>
                  </a:lnTo>
                  <a:cubicBezTo>
                    <a:pt x="29309" y="409867"/>
                    <a:pt x="40018" y="407605"/>
                    <a:pt x="50664" y="407605"/>
                  </a:cubicBezTo>
                  <a:lnTo>
                    <a:pt x="223638" y="407605"/>
                  </a:lnTo>
                  <a:cubicBezTo>
                    <a:pt x="234264" y="407605"/>
                    <a:pt x="244972" y="409867"/>
                    <a:pt x="248334" y="419953"/>
                  </a:cubicBezTo>
                  <a:close/>
                </a:path>
              </a:pathLst>
            </a:custGeom>
            <a:noFill/>
            <a:ln w="6225">
              <a:solidFill>
                <a:srgbClr val="FFFFFF"/>
              </a:solidFill>
            </a:ln>
          </p:spPr>
          <p:txBody>
            <a:bodyPr rtlCol="0" anchor="ctr"/>
            <a:lstStyle/>
            <a:p>
              <a:pPr algn="ctr"/>
              <a:endParaRPr sz="2400"/>
            </a:p>
          </p:txBody>
        </p:sp>
        <p:sp>
          <p:nvSpPr>
            <p:cNvPr id="41" name="Rounded Rectangle 40">
              <a:extLst>
                <a:ext uri="{FF2B5EF4-FFF2-40B4-BE49-F238E27FC236}">
                  <a16:creationId xmlns:a16="http://schemas.microsoft.com/office/drawing/2014/main" id="{56FC0543-A37F-7EA6-3D64-3BFA0AD72B23}"/>
                </a:ext>
              </a:extLst>
            </p:cNvPr>
            <p:cNvSpPr/>
            <p:nvPr/>
          </p:nvSpPr>
          <p:spPr>
            <a:xfrm>
              <a:off x="6734438" y="2937155"/>
              <a:ext cx="466936" cy="477314"/>
            </a:xfrm>
            <a:custGeom>
              <a:avLst/>
              <a:gdLst/>
              <a:ahLst/>
              <a:cxnLst/>
              <a:rect l="0" t="0" r="0" b="0"/>
              <a:pathLst>
                <a:path w="466937" h="477314">
                  <a:moveTo>
                    <a:pt x="466937" y="186775"/>
                  </a:moveTo>
                  <a:cubicBezTo>
                    <a:pt x="466937" y="198236"/>
                    <a:pt x="457646" y="207527"/>
                    <a:pt x="446185" y="207527"/>
                  </a:cubicBezTo>
                  <a:lnTo>
                    <a:pt x="332044" y="207527"/>
                  </a:lnTo>
                  <a:lnTo>
                    <a:pt x="259409" y="269786"/>
                  </a:lnTo>
                  <a:lnTo>
                    <a:pt x="259409" y="207527"/>
                  </a:lnTo>
                  <a:lnTo>
                    <a:pt x="238657" y="207527"/>
                  </a:lnTo>
                  <a:cubicBezTo>
                    <a:pt x="227195" y="207527"/>
                    <a:pt x="217904" y="198236"/>
                    <a:pt x="217904" y="186775"/>
                  </a:cubicBezTo>
                  <a:lnTo>
                    <a:pt x="217904" y="20752"/>
                  </a:lnTo>
                  <a:cubicBezTo>
                    <a:pt x="217904" y="9291"/>
                    <a:pt x="227195" y="0"/>
                    <a:pt x="238657" y="0"/>
                  </a:cubicBezTo>
                  <a:lnTo>
                    <a:pt x="446185" y="0"/>
                  </a:lnTo>
                  <a:cubicBezTo>
                    <a:pt x="457646" y="0"/>
                    <a:pt x="466937" y="9291"/>
                    <a:pt x="466937" y="20752"/>
                  </a:cubicBezTo>
                  <a:close/>
                  <a:moveTo>
                    <a:pt x="167059" y="425432"/>
                  </a:moveTo>
                  <a:cubicBezTo>
                    <a:pt x="198516" y="428851"/>
                    <a:pt x="230131" y="420578"/>
                    <a:pt x="255881" y="402189"/>
                  </a:cubicBezTo>
                  <a:cubicBezTo>
                    <a:pt x="242600" y="388699"/>
                    <a:pt x="233261" y="380398"/>
                    <a:pt x="229940" y="328724"/>
                  </a:cubicBezTo>
                  <a:cubicBezTo>
                    <a:pt x="224545" y="251523"/>
                    <a:pt x="172663" y="224960"/>
                    <a:pt x="127837" y="224960"/>
                  </a:cubicBezTo>
                  <a:cubicBezTo>
                    <a:pt x="83011" y="224960"/>
                    <a:pt x="31336" y="252146"/>
                    <a:pt x="25940" y="328724"/>
                  </a:cubicBezTo>
                  <a:cubicBezTo>
                    <a:pt x="22413" y="379776"/>
                    <a:pt x="13281" y="388077"/>
                    <a:pt x="0" y="401566"/>
                  </a:cubicBezTo>
                  <a:cubicBezTo>
                    <a:pt x="25647" y="420211"/>
                    <a:pt x="57283" y="428711"/>
                    <a:pt x="88821" y="425432"/>
                  </a:cubicBezTo>
                  <a:moveTo>
                    <a:pt x="238864" y="477314"/>
                  </a:moveTo>
                  <a:cubicBezTo>
                    <a:pt x="221017" y="470050"/>
                    <a:pt x="200056" y="462579"/>
                    <a:pt x="176606" y="454071"/>
                  </a:cubicBezTo>
                  <a:cubicBezTo>
                    <a:pt x="170405" y="451813"/>
                    <a:pt x="166265" y="445935"/>
                    <a:pt x="166229" y="439336"/>
                  </a:cubicBezTo>
                  <a:lnTo>
                    <a:pt x="166229" y="410697"/>
                  </a:lnTo>
                  <a:cubicBezTo>
                    <a:pt x="166275" y="406272"/>
                    <a:pt x="168154" y="402064"/>
                    <a:pt x="171418" y="399076"/>
                  </a:cubicBezTo>
                  <a:cubicBezTo>
                    <a:pt x="183137" y="388453"/>
                    <a:pt x="189841" y="373387"/>
                    <a:pt x="189888" y="357570"/>
                  </a:cubicBezTo>
                  <a:lnTo>
                    <a:pt x="189888" y="317932"/>
                  </a:lnTo>
                  <a:cubicBezTo>
                    <a:pt x="165542" y="313978"/>
                    <a:pt x="143437" y="301378"/>
                    <a:pt x="127629" y="282445"/>
                  </a:cubicBezTo>
                  <a:cubicBezTo>
                    <a:pt x="111883" y="301452"/>
                    <a:pt x="89749" y="314068"/>
                    <a:pt x="65371" y="317932"/>
                  </a:cubicBezTo>
                  <a:lnTo>
                    <a:pt x="65371" y="357155"/>
                  </a:lnTo>
                  <a:cubicBezTo>
                    <a:pt x="65417" y="372972"/>
                    <a:pt x="72122" y="388038"/>
                    <a:pt x="83841" y="398661"/>
                  </a:cubicBezTo>
                  <a:cubicBezTo>
                    <a:pt x="87105" y="401649"/>
                    <a:pt x="88983" y="405857"/>
                    <a:pt x="89029" y="410282"/>
                  </a:cubicBezTo>
                  <a:lnTo>
                    <a:pt x="89029" y="438921"/>
                  </a:lnTo>
                  <a:cubicBezTo>
                    <a:pt x="88993" y="445520"/>
                    <a:pt x="84853" y="451398"/>
                    <a:pt x="78653" y="453656"/>
                  </a:cubicBezTo>
                  <a:cubicBezTo>
                    <a:pt x="56032" y="462164"/>
                    <a:pt x="35072" y="469635"/>
                    <a:pt x="16394" y="476899"/>
                  </a:cubicBezTo>
                  <a:moveTo>
                    <a:pt x="280162" y="134893"/>
                  </a:moveTo>
                  <a:lnTo>
                    <a:pt x="321668" y="93387"/>
                  </a:lnTo>
                  <a:lnTo>
                    <a:pt x="280162" y="51881"/>
                  </a:lnTo>
                  <a:moveTo>
                    <a:pt x="342421" y="124516"/>
                  </a:moveTo>
                  <a:lnTo>
                    <a:pt x="425432" y="124516"/>
                  </a:lnTo>
                </a:path>
              </a:pathLst>
            </a:custGeom>
            <a:noFill/>
            <a:ln w="6225">
              <a:solidFill>
                <a:srgbClr val="FFFFFF"/>
              </a:solidFill>
            </a:ln>
          </p:spPr>
          <p:txBody>
            <a:bodyPr rtlCol="0" anchor="ctr"/>
            <a:lstStyle/>
            <a:p>
              <a:pPr algn="ctr"/>
              <a:endParaRPr sz="2400"/>
            </a:p>
          </p:txBody>
        </p:sp>
        <p:sp>
          <p:nvSpPr>
            <p:cNvPr id="42" name="Rounded Rectangle 41">
              <a:extLst>
                <a:ext uri="{FF2B5EF4-FFF2-40B4-BE49-F238E27FC236}">
                  <a16:creationId xmlns:a16="http://schemas.microsoft.com/office/drawing/2014/main" id="{AD4B32B4-64E7-64AA-13A6-3C2DF28532EE}"/>
                </a:ext>
              </a:extLst>
            </p:cNvPr>
            <p:cNvSpPr/>
            <p:nvPr/>
          </p:nvSpPr>
          <p:spPr>
            <a:xfrm>
              <a:off x="2739517" y="3892299"/>
              <a:ext cx="482788" cy="480557"/>
            </a:xfrm>
            <a:custGeom>
              <a:avLst/>
              <a:gdLst/>
              <a:ahLst/>
              <a:cxnLst/>
              <a:rect l="0" t="0" r="0" b="0"/>
              <a:pathLst>
                <a:path w="482788" h="480557">
                  <a:moveTo>
                    <a:pt x="360299" y="477360"/>
                  </a:moveTo>
                  <a:cubicBezTo>
                    <a:pt x="358342" y="479402"/>
                    <a:pt x="355636" y="480557"/>
                    <a:pt x="352807" y="480557"/>
                  </a:cubicBezTo>
                  <a:cubicBezTo>
                    <a:pt x="349979" y="480557"/>
                    <a:pt x="347273" y="479402"/>
                    <a:pt x="345316" y="477360"/>
                  </a:cubicBezTo>
                  <a:lnTo>
                    <a:pt x="246677" y="374447"/>
                  </a:lnTo>
                  <a:cubicBezTo>
                    <a:pt x="227566" y="355341"/>
                    <a:pt x="222826" y="326149"/>
                    <a:pt x="234911" y="301978"/>
                  </a:cubicBezTo>
                  <a:lnTo>
                    <a:pt x="234911" y="301978"/>
                  </a:lnTo>
                  <a:cubicBezTo>
                    <a:pt x="243940" y="283927"/>
                    <a:pt x="261096" y="271315"/>
                    <a:pt x="281020" y="268084"/>
                  </a:cubicBezTo>
                  <a:cubicBezTo>
                    <a:pt x="300944" y="264852"/>
                    <a:pt x="321206" y="271394"/>
                    <a:pt x="335479" y="285667"/>
                  </a:cubicBezTo>
                  <a:lnTo>
                    <a:pt x="352807" y="302995"/>
                  </a:lnTo>
                  <a:lnTo>
                    <a:pt x="370136" y="285667"/>
                  </a:lnTo>
                  <a:cubicBezTo>
                    <a:pt x="384408" y="271394"/>
                    <a:pt x="404671" y="264852"/>
                    <a:pt x="424595" y="268084"/>
                  </a:cubicBezTo>
                  <a:cubicBezTo>
                    <a:pt x="444518" y="271315"/>
                    <a:pt x="461674" y="283927"/>
                    <a:pt x="470704" y="301978"/>
                  </a:cubicBezTo>
                  <a:lnTo>
                    <a:pt x="470704" y="301978"/>
                  </a:lnTo>
                  <a:cubicBezTo>
                    <a:pt x="482788" y="326149"/>
                    <a:pt x="478048" y="355341"/>
                    <a:pt x="458937" y="374447"/>
                  </a:cubicBezTo>
                  <a:close/>
                  <a:moveTo>
                    <a:pt x="251119" y="186261"/>
                  </a:moveTo>
                  <a:cubicBezTo>
                    <a:pt x="239527" y="167204"/>
                    <a:pt x="233756" y="145174"/>
                    <a:pt x="234516" y="122882"/>
                  </a:cubicBezTo>
                  <a:lnTo>
                    <a:pt x="234516" y="97024"/>
                  </a:lnTo>
                  <a:cubicBezTo>
                    <a:pt x="235837" y="64310"/>
                    <a:pt x="219137" y="33500"/>
                    <a:pt x="191006" y="16750"/>
                  </a:cubicBezTo>
                  <a:cubicBezTo>
                    <a:pt x="162875" y="0"/>
                    <a:pt x="127829" y="0"/>
                    <a:pt x="99698" y="16750"/>
                  </a:cubicBezTo>
                  <a:cubicBezTo>
                    <a:pt x="71567" y="33500"/>
                    <a:pt x="54867" y="64310"/>
                    <a:pt x="56188" y="97024"/>
                  </a:cubicBezTo>
                  <a:lnTo>
                    <a:pt x="56188" y="122923"/>
                  </a:lnTo>
                  <a:cubicBezTo>
                    <a:pt x="56896" y="145217"/>
                    <a:pt x="51075" y="167231"/>
                    <a:pt x="39440" y="186261"/>
                  </a:cubicBezTo>
                  <a:moveTo>
                    <a:pt x="56167" y="111737"/>
                  </a:moveTo>
                  <a:cubicBezTo>
                    <a:pt x="90437" y="111710"/>
                    <a:pt x="123003" y="96790"/>
                    <a:pt x="145404" y="70854"/>
                  </a:cubicBezTo>
                  <a:cubicBezTo>
                    <a:pt x="167811" y="96781"/>
                    <a:pt x="200373" y="111699"/>
                    <a:pt x="234641" y="111737"/>
                  </a:cubicBezTo>
                  <a:moveTo>
                    <a:pt x="223912" y="111260"/>
                  </a:moveTo>
                  <a:cubicBezTo>
                    <a:pt x="221981" y="153261"/>
                    <a:pt x="187366" y="186321"/>
                    <a:pt x="145321" y="186321"/>
                  </a:cubicBezTo>
                  <a:cubicBezTo>
                    <a:pt x="103275" y="186321"/>
                    <a:pt x="68661" y="153261"/>
                    <a:pt x="66730" y="111260"/>
                  </a:cubicBezTo>
                  <a:moveTo>
                    <a:pt x="166032" y="360584"/>
                  </a:moveTo>
                  <a:lnTo>
                    <a:pt x="10" y="360584"/>
                  </a:lnTo>
                  <a:cubicBezTo>
                    <a:pt x="0" y="310767"/>
                    <a:pt x="25517" y="264420"/>
                    <a:pt x="67617" y="237787"/>
                  </a:cubicBezTo>
                  <a:cubicBezTo>
                    <a:pt x="109717" y="211154"/>
                    <a:pt x="162528" y="207952"/>
                    <a:pt x="207538" y="229302"/>
                  </a:cubicBezTo>
                </a:path>
              </a:pathLst>
            </a:custGeom>
            <a:noFill/>
            <a:ln w="6225">
              <a:solidFill>
                <a:srgbClr val="FFFFFF"/>
              </a:solidFill>
            </a:ln>
          </p:spPr>
          <p:txBody>
            <a:bodyPr rtlCol="0" anchor="ctr"/>
            <a:lstStyle/>
            <a:p>
              <a:pPr algn="ctr"/>
              <a:endParaRPr sz="2400"/>
            </a:p>
          </p:txBody>
        </p:sp>
        <p:sp>
          <p:nvSpPr>
            <p:cNvPr id="43" name="Rounded Rectangle 42">
              <a:extLst>
                <a:ext uri="{FF2B5EF4-FFF2-40B4-BE49-F238E27FC236}">
                  <a16:creationId xmlns:a16="http://schemas.microsoft.com/office/drawing/2014/main" id="{E4DF1A41-C439-8073-43C2-F67F06CE9A7C}"/>
                </a:ext>
              </a:extLst>
            </p:cNvPr>
            <p:cNvSpPr/>
            <p:nvPr/>
          </p:nvSpPr>
          <p:spPr>
            <a:xfrm>
              <a:off x="4333422" y="3905274"/>
              <a:ext cx="477314" cy="466937"/>
            </a:xfrm>
            <a:custGeom>
              <a:avLst/>
              <a:gdLst/>
              <a:ahLst/>
              <a:cxnLst/>
              <a:rect l="0" t="0" r="0" b="0"/>
              <a:pathLst>
                <a:path w="477314" h="466937">
                  <a:moveTo>
                    <a:pt x="0" y="466937"/>
                  </a:moveTo>
                  <a:lnTo>
                    <a:pt x="477314" y="466937"/>
                  </a:lnTo>
                  <a:moveTo>
                    <a:pt x="82928" y="466937"/>
                  </a:moveTo>
                  <a:lnTo>
                    <a:pt x="82928" y="415055"/>
                  </a:lnTo>
                  <a:cubicBezTo>
                    <a:pt x="82928" y="409325"/>
                    <a:pt x="78282" y="404679"/>
                    <a:pt x="72551" y="404679"/>
                  </a:cubicBezTo>
                  <a:lnTo>
                    <a:pt x="31046" y="404679"/>
                  </a:lnTo>
                  <a:cubicBezTo>
                    <a:pt x="25315" y="404679"/>
                    <a:pt x="20669" y="409325"/>
                    <a:pt x="20669" y="415055"/>
                  </a:cubicBezTo>
                  <a:lnTo>
                    <a:pt x="20669" y="466937"/>
                  </a:lnTo>
                  <a:moveTo>
                    <a:pt x="207444" y="466937"/>
                  </a:moveTo>
                  <a:lnTo>
                    <a:pt x="207444" y="332044"/>
                  </a:lnTo>
                  <a:cubicBezTo>
                    <a:pt x="207444" y="326313"/>
                    <a:pt x="202799" y="321668"/>
                    <a:pt x="197068" y="321668"/>
                  </a:cubicBezTo>
                  <a:lnTo>
                    <a:pt x="155562" y="321668"/>
                  </a:lnTo>
                  <a:cubicBezTo>
                    <a:pt x="149832" y="321668"/>
                    <a:pt x="145186" y="326313"/>
                    <a:pt x="145186" y="332044"/>
                  </a:cubicBezTo>
                  <a:lnTo>
                    <a:pt x="145186" y="466937"/>
                  </a:lnTo>
                  <a:moveTo>
                    <a:pt x="331961" y="466937"/>
                  </a:moveTo>
                  <a:lnTo>
                    <a:pt x="331961" y="249033"/>
                  </a:lnTo>
                  <a:cubicBezTo>
                    <a:pt x="331961" y="243302"/>
                    <a:pt x="327315" y="238657"/>
                    <a:pt x="321585" y="238657"/>
                  </a:cubicBezTo>
                  <a:lnTo>
                    <a:pt x="280079" y="238657"/>
                  </a:lnTo>
                  <a:cubicBezTo>
                    <a:pt x="274348" y="238657"/>
                    <a:pt x="269703" y="243302"/>
                    <a:pt x="269703" y="249033"/>
                  </a:cubicBezTo>
                  <a:lnTo>
                    <a:pt x="269703" y="466937"/>
                  </a:lnTo>
                  <a:moveTo>
                    <a:pt x="456478" y="466937"/>
                  </a:moveTo>
                  <a:lnTo>
                    <a:pt x="456478" y="166022"/>
                  </a:lnTo>
                  <a:cubicBezTo>
                    <a:pt x="456478" y="160291"/>
                    <a:pt x="451832" y="155645"/>
                    <a:pt x="446102" y="155645"/>
                  </a:cubicBezTo>
                  <a:lnTo>
                    <a:pt x="404596" y="155645"/>
                  </a:lnTo>
                  <a:cubicBezTo>
                    <a:pt x="398865" y="155645"/>
                    <a:pt x="394220" y="160291"/>
                    <a:pt x="394220" y="166022"/>
                  </a:cubicBezTo>
                  <a:lnTo>
                    <a:pt x="394220" y="466937"/>
                  </a:lnTo>
                  <a:moveTo>
                    <a:pt x="51881" y="259409"/>
                  </a:moveTo>
                  <a:lnTo>
                    <a:pt x="425432" y="10376"/>
                  </a:lnTo>
                  <a:moveTo>
                    <a:pt x="415055" y="93387"/>
                  </a:moveTo>
                  <a:lnTo>
                    <a:pt x="425432" y="10376"/>
                  </a:lnTo>
                  <a:lnTo>
                    <a:pt x="342421" y="0"/>
                  </a:lnTo>
                </a:path>
              </a:pathLst>
            </a:custGeom>
            <a:noFill/>
            <a:ln w="6225">
              <a:solidFill>
                <a:srgbClr val="FFFFFF"/>
              </a:solidFill>
            </a:ln>
          </p:spPr>
          <p:txBody>
            <a:bodyPr rtlCol="0" anchor="ctr"/>
            <a:lstStyle/>
            <a:p>
              <a:pPr algn="ctr"/>
              <a:endParaRPr sz="2400"/>
            </a:p>
          </p:txBody>
        </p:sp>
        <p:sp>
          <p:nvSpPr>
            <p:cNvPr id="44" name="Rounded Rectangle 43">
              <a:extLst>
                <a:ext uri="{FF2B5EF4-FFF2-40B4-BE49-F238E27FC236}">
                  <a16:creationId xmlns:a16="http://schemas.microsoft.com/office/drawing/2014/main" id="{EF750215-47B6-F66E-536B-5F3591349E93}"/>
                </a:ext>
              </a:extLst>
            </p:cNvPr>
            <p:cNvSpPr/>
            <p:nvPr/>
          </p:nvSpPr>
          <p:spPr>
            <a:xfrm>
              <a:off x="5930229" y="3900088"/>
              <a:ext cx="474289" cy="477314"/>
            </a:xfrm>
            <a:custGeom>
              <a:avLst/>
              <a:gdLst/>
              <a:ahLst/>
              <a:cxnLst/>
              <a:rect l="0" t="0" r="0" b="0"/>
              <a:pathLst>
                <a:path w="474289" h="477314">
                  <a:moveTo>
                    <a:pt x="245962" y="404243"/>
                  </a:moveTo>
                  <a:cubicBezTo>
                    <a:pt x="245915" y="421526"/>
                    <a:pt x="259809" y="435615"/>
                    <a:pt x="277091" y="435808"/>
                  </a:cubicBezTo>
                  <a:lnTo>
                    <a:pt x="443113" y="435808"/>
                  </a:lnTo>
                  <a:cubicBezTo>
                    <a:pt x="460395" y="435615"/>
                    <a:pt x="474289" y="421526"/>
                    <a:pt x="474242" y="404243"/>
                  </a:cubicBezTo>
                  <a:lnTo>
                    <a:pt x="474242" y="280162"/>
                  </a:lnTo>
                  <a:cubicBezTo>
                    <a:pt x="474242" y="262970"/>
                    <a:pt x="460305" y="249033"/>
                    <a:pt x="443113" y="249033"/>
                  </a:cubicBezTo>
                  <a:lnTo>
                    <a:pt x="277091" y="249033"/>
                  </a:lnTo>
                  <a:cubicBezTo>
                    <a:pt x="259899" y="249033"/>
                    <a:pt x="245962" y="262970"/>
                    <a:pt x="245962" y="280162"/>
                  </a:cubicBezTo>
                  <a:close/>
                  <a:moveTo>
                    <a:pt x="474242" y="373550"/>
                  </a:moveTo>
                  <a:lnTo>
                    <a:pt x="245962" y="373550"/>
                  </a:lnTo>
                  <a:moveTo>
                    <a:pt x="318596" y="477314"/>
                  </a:moveTo>
                  <a:lnTo>
                    <a:pt x="401608" y="477314"/>
                  </a:lnTo>
                  <a:moveTo>
                    <a:pt x="360102" y="435808"/>
                  </a:moveTo>
                  <a:lnTo>
                    <a:pt x="360102" y="477314"/>
                  </a:lnTo>
                  <a:moveTo>
                    <a:pt x="76743" y="152159"/>
                  </a:moveTo>
                  <a:cubicBezTo>
                    <a:pt x="99798" y="169515"/>
                    <a:pt x="128822" y="176964"/>
                    <a:pt x="157386" y="172854"/>
                  </a:cubicBezTo>
                  <a:cubicBezTo>
                    <a:pt x="185950" y="168745"/>
                    <a:pt x="211696" y="153417"/>
                    <a:pt x="228924" y="130265"/>
                  </a:cubicBezTo>
                  <a:lnTo>
                    <a:pt x="54849" y="0"/>
                  </a:lnTo>
                  <a:cubicBezTo>
                    <a:pt x="37499" y="23053"/>
                    <a:pt x="30055" y="52072"/>
                    <a:pt x="34164" y="80631"/>
                  </a:cubicBezTo>
                  <a:cubicBezTo>
                    <a:pt x="38273" y="109190"/>
                    <a:pt x="53597" y="134932"/>
                    <a:pt x="76743" y="152159"/>
                  </a:cubicBezTo>
                  <a:close/>
                  <a:moveTo>
                    <a:pt x="171750" y="25214"/>
                  </a:moveTo>
                  <a:lnTo>
                    <a:pt x="141866" y="65143"/>
                  </a:lnTo>
                  <a:moveTo>
                    <a:pt x="66471" y="143443"/>
                  </a:moveTo>
                  <a:lnTo>
                    <a:pt x="3610" y="220228"/>
                  </a:lnTo>
                  <a:cubicBezTo>
                    <a:pt x="0" y="224669"/>
                    <a:pt x="1701" y="228280"/>
                    <a:pt x="7304" y="228280"/>
                  </a:cubicBezTo>
                  <a:lnTo>
                    <a:pt x="125595" y="228280"/>
                  </a:lnTo>
                  <a:cubicBezTo>
                    <a:pt x="131302" y="228280"/>
                    <a:pt x="133025" y="224669"/>
                    <a:pt x="129393" y="220249"/>
                  </a:cubicBezTo>
                  <a:close/>
                  <a:moveTo>
                    <a:pt x="235585" y="62258"/>
                  </a:moveTo>
                  <a:lnTo>
                    <a:pt x="370582" y="62258"/>
                  </a:lnTo>
                  <a:lnTo>
                    <a:pt x="370582" y="196238"/>
                  </a:lnTo>
                  <a:moveTo>
                    <a:pt x="194080" y="415055"/>
                  </a:moveTo>
                  <a:lnTo>
                    <a:pt x="59290" y="415055"/>
                  </a:lnTo>
                  <a:lnTo>
                    <a:pt x="59290" y="279249"/>
                  </a:lnTo>
                </a:path>
              </a:pathLst>
            </a:custGeom>
            <a:noFill/>
            <a:ln w="6225">
              <a:solidFill>
                <a:srgbClr val="FFFFFF"/>
              </a:solidFill>
            </a:ln>
          </p:spPr>
          <p:txBody>
            <a:bodyPr rtlCol="0" anchor="ctr"/>
            <a:lstStyle/>
            <a:p>
              <a:pPr algn="ctr"/>
              <a:endParaRPr sz="2400"/>
            </a:p>
          </p:txBody>
        </p:sp>
      </p:grpSp>
    </p:spTree>
    <p:extLst>
      <p:ext uri="{BB962C8B-B14F-4D97-AF65-F5344CB8AC3E}">
        <p14:creationId xmlns:p14="http://schemas.microsoft.com/office/powerpoint/2010/main" val="114971837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3E47A4-2958-924C-E856-2D7DF3762859}"/>
              </a:ext>
            </a:extLst>
          </p:cNvPr>
          <p:cNvSpPr>
            <a:spLocks noGrp="1"/>
          </p:cNvSpPr>
          <p:nvPr>
            <p:ph type="title"/>
          </p:nvPr>
        </p:nvSpPr>
        <p:spPr/>
        <p:txBody>
          <a:bodyPr/>
          <a:lstStyle/>
          <a:p>
            <a:r>
              <a:rPr lang="en-US"/>
              <a:t>The Core Agent Cycle</a:t>
            </a:r>
          </a:p>
        </p:txBody>
      </p:sp>
      <p:grpSp>
        <p:nvGrpSpPr>
          <p:cNvPr id="32" name="Group 31">
            <a:extLst>
              <a:ext uri="{FF2B5EF4-FFF2-40B4-BE49-F238E27FC236}">
                <a16:creationId xmlns:a16="http://schemas.microsoft.com/office/drawing/2014/main" id="{CDB01080-329F-3CF5-E169-F33ABAE8D578}"/>
              </a:ext>
            </a:extLst>
          </p:cNvPr>
          <p:cNvGrpSpPr>
            <a:grpSpLocks noChangeAspect="1"/>
          </p:cNvGrpSpPr>
          <p:nvPr/>
        </p:nvGrpSpPr>
        <p:grpSpPr>
          <a:xfrm>
            <a:off x="2276915" y="1237976"/>
            <a:ext cx="8588879" cy="5110752"/>
            <a:chOff x="893753" y="1422803"/>
            <a:chExt cx="7421767" cy="4416272"/>
          </a:xfrm>
        </p:grpSpPr>
        <p:sp>
          <p:nvSpPr>
            <p:cNvPr id="19" name="TextBox 18">
              <a:extLst>
                <a:ext uri="{FF2B5EF4-FFF2-40B4-BE49-F238E27FC236}">
                  <a16:creationId xmlns:a16="http://schemas.microsoft.com/office/drawing/2014/main" id="{F468170A-BA51-A2B8-9813-C18FE0385A1E}"/>
                </a:ext>
              </a:extLst>
            </p:cNvPr>
            <p:cNvSpPr txBox="1"/>
            <p:nvPr/>
          </p:nvSpPr>
          <p:spPr>
            <a:xfrm>
              <a:off x="5306333" y="4935610"/>
              <a:ext cx="1252200" cy="239359"/>
            </a:xfrm>
            <a:prstGeom prst="rect">
              <a:avLst/>
            </a:prstGeom>
            <a:noFill/>
            <a:ln>
              <a:noFill/>
            </a:ln>
          </p:spPr>
          <p:txBody>
            <a:bodyPr wrap="none" lIns="0" tIns="0" rIns="0" bIns="0" anchor="t">
              <a:spAutoFit/>
            </a:bodyPr>
            <a:lstStyle/>
            <a:p>
              <a:pPr algn="l"/>
              <a:r>
                <a:rPr lang="en-US" b="1">
                  <a:solidFill>
                    <a:srgbClr val="1A1A1A"/>
                  </a:solidFill>
                  <a:latin typeface="Arial"/>
                </a:rPr>
                <a:t>1. </a:t>
              </a:r>
              <a:r>
                <a:rPr b="1">
                  <a:solidFill>
                    <a:srgbClr val="1A1A1A"/>
                  </a:solidFill>
                  <a:latin typeface="Arial"/>
                </a:rPr>
                <a:t>Perception</a:t>
              </a:r>
            </a:p>
          </p:txBody>
        </p:sp>
        <p:sp>
          <p:nvSpPr>
            <p:cNvPr id="20" name="TextBox 19">
              <a:extLst>
                <a:ext uri="{FF2B5EF4-FFF2-40B4-BE49-F238E27FC236}">
                  <a16:creationId xmlns:a16="http://schemas.microsoft.com/office/drawing/2014/main" id="{C864F9C9-230B-E3FD-5F37-A7B540562386}"/>
                </a:ext>
              </a:extLst>
            </p:cNvPr>
            <p:cNvSpPr txBox="1"/>
            <p:nvPr/>
          </p:nvSpPr>
          <p:spPr>
            <a:xfrm>
              <a:off x="1202195" y="4487135"/>
              <a:ext cx="1241119" cy="239359"/>
            </a:xfrm>
            <a:prstGeom prst="rect">
              <a:avLst/>
            </a:prstGeom>
            <a:noFill/>
            <a:ln>
              <a:noFill/>
            </a:ln>
          </p:spPr>
          <p:txBody>
            <a:bodyPr wrap="none" lIns="0" tIns="0" rIns="0" bIns="0" anchor="t">
              <a:spAutoFit/>
            </a:bodyPr>
            <a:lstStyle/>
            <a:p>
              <a:pPr algn="l"/>
              <a:r>
                <a:rPr lang="en-US" b="1">
                  <a:solidFill>
                    <a:srgbClr val="1A1A1A"/>
                  </a:solidFill>
                  <a:latin typeface="Arial"/>
                </a:rPr>
                <a:t>2. </a:t>
              </a:r>
              <a:r>
                <a:rPr b="1">
                  <a:solidFill>
                    <a:srgbClr val="1A1A1A"/>
                  </a:solidFill>
                  <a:latin typeface="Arial"/>
                </a:rPr>
                <a:t>Reasoning</a:t>
              </a:r>
            </a:p>
          </p:txBody>
        </p:sp>
        <p:sp>
          <p:nvSpPr>
            <p:cNvPr id="21" name="TextBox 20">
              <a:extLst>
                <a:ext uri="{FF2B5EF4-FFF2-40B4-BE49-F238E27FC236}">
                  <a16:creationId xmlns:a16="http://schemas.microsoft.com/office/drawing/2014/main" id="{07A75568-0325-3533-28EA-CA8069C2BA5B}"/>
                </a:ext>
              </a:extLst>
            </p:cNvPr>
            <p:cNvSpPr txBox="1"/>
            <p:nvPr/>
          </p:nvSpPr>
          <p:spPr>
            <a:xfrm>
              <a:off x="893753" y="1493920"/>
              <a:ext cx="834763" cy="239359"/>
            </a:xfrm>
            <a:prstGeom prst="rect">
              <a:avLst/>
            </a:prstGeom>
            <a:noFill/>
            <a:ln>
              <a:noFill/>
            </a:ln>
          </p:spPr>
          <p:txBody>
            <a:bodyPr wrap="none" lIns="0" tIns="0" rIns="0" bIns="0" anchor="t">
              <a:spAutoFit/>
            </a:bodyPr>
            <a:lstStyle/>
            <a:p>
              <a:pPr algn="l"/>
              <a:r>
                <a:rPr lang="en-US" b="1">
                  <a:solidFill>
                    <a:srgbClr val="1A1A1A"/>
                  </a:solidFill>
                  <a:latin typeface="Arial"/>
                </a:rPr>
                <a:t>3. </a:t>
              </a:r>
              <a:r>
                <a:rPr b="1">
                  <a:solidFill>
                    <a:srgbClr val="1A1A1A"/>
                  </a:solidFill>
                  <a:latin typeface="Arial"/>
                </a:rPr>
                <a:t>Action</a:t>
              </a:r>
            </a:p>
          </p:txBody>
        </p:sp>
        <p:sp>
          <p:nvSpPr>
            <p:cNvPr id="22" name="TextBox 21">
              <a:extLst>
                <a:ext uri="{FF2B5EF4-FFF2-40B4-BE49-F238E27FC236}">
                  <a16:creationId xmlns:a16="http://schemas.microsoft.com/office/drawing/2014/main" id="{496CFA83-1C2D-1920-F912-3A25BFA4E845}"/>
                </a:ext>
              </a:extLst>
            </p:cNvPr>
            <p:cNvSpPr txBox="1"/>
            <p:nvPr/>
          </p:nvSpPr>
          <p:spPr>
            <a:xfrm>
              <a:off x="6077981" y="1422803"/>
              <a:ext cx="1407339" cy="478717"/>
            </a:xfrm>
            <a:prstGeom prst="rect">
              <a:avLst/>
            </a:prstGeom>
            <a:noFill/>
            <a:ln>
              <a:noFill/>
            </a:ln>
          </p:spPr>
          <p:txBody>
            <a:bodyPr wrap="none" lIns="0" tIns="0" rIns="0" bIns="0" anchor="t">
              <a:spAutoFit/>
            </a:bodyPr>
            <a:lstStyle/>
            <a:p>
              <a:pPr algn="l"/>
              <a:r>
                <a:rPr lang="en-US" b="1">
                  <a:solidFill>
                    <a:srgbClr val="1A1A1A"/>
                  </a:solidFill>
                  <a:latin typeface="Arial"/>
                </a:rPr>
                <a:t>4. </a:t>
              </a:r>
              <a:r>
                <a:rPr b="1">
                  <a:solidFill>
                    <a:srgbClr val="1A1A1A"/>
                  </a:solidFill>
                  <a:latin typeface="Arial"/>
                </a:rPr>
                <a:t>Observing &amp;
Learning</a:t>
              </a:r>
            </a:p>
          </p:txBody>
        </p:sp>
        <p:sp>
          <p:nvSpPr>
            <p:cNvPr id="23" name="TextBox 22">
              <a:extLst>
                <a:ext uri="{FF2B5EF4-FFF2-40B4-BE49-F238E27FC236}">
                  <a16:creationId xmlns:a16="http://schemas.microsoft.com/office/drawing/2014/main" id="{9658FF2C-D4D0-4183-1487-B8AC31A39DE2}"/>
                </a:ext>
              </a:extLst>
            </p:cNvPr>
            <p:cNvSpPr txBox="1"/>
            <p:nvPr/>
          </p:nvSpPr>
          <p:spPr>
            <a:xfrm>
              <a:off x="5317854" y="5253977"/>
              <a:ext cx="2417668" cy="585098"/>
            </a:xfrm>
            <a:prstGeom prst="rect">
              <a:avLst/>
            </a:prstGeom>
            <a:noFill/>
            <a:ln>
              <a:noFill/>
            </a:ln>
          </p:spPr>
          <p:txBody>
            <a:bodyPr wrap="square" lIns="0" tIns="0" rIns="0" bIns="0" anchor="t">
              <a:spAutoFit/>
            </a:bodyPr>
            <a:lstStyle/>
            <a:p>
              <a:pPr algn="l"/>
              <a:r>
                <a:rPr lang="en-US" sz="1100" b="0">
                  <a:solidFill>
                    <a:srgbClr val="1A1A1A"/>
                  </a:solidFill>
                  <a:latin typeface="Arial"/>
                </a:rPr>
                <a:t>The agent receives and interprets incoming requests, whether they are text, voice commands, or API calls, to understand the user's intent.</a:t>
              </a:r>
              <a:endParaRPr sz="1100" b="0">
                <a:solidFill>
                  <a:srgbClr val="1A1A1A"/>
                </a:solidFill>
                <a:latin typeface="Arial"/>
              </a:endParaRPr>
            </a:p>
          </p:txBody>
        </p:sp>
        <p:sp>
          <p:nvSpPr>
            <p:cNvPr id="24" name="TextBox 23">
              <a:extLst>
                <a:ext uri="{FF2B5EF4-FFF2-40B4-BE49-F238E27FC236}">
                  <a16:creationId xmlns:a16="http://schemas.microsoft.com/office/drawing/2014/main" id="{CFF772D2-200C-1EE9-4CFE-7F628DBC35C9}"/>
                </a:ext>
              </a:extLst>
            </p:cNvPr>
            <p:cNvSpPr txBox="1"/>
            <p:nvPr/>
          </p:nvSpPr>
          <p:spPr>
            <a:xfrm>
              <a:off x="1202196" y="4808642"/>
              <a:ext cx="1612761" cy="1023923"/>
            </a:xfrm>
            <a:prstGeom prst="rect">
              <a:avLst/>
            </a:prstGeom>
            <a:noFill/>
            <a:ln>
              <a:noFill/>
            </a:ln>
          </p:spPr>
          <p:txBody>
            <a:bodyPr wrap="square" lIns="0" tIns="0" rIns="0" bIns="0" anchor="t">
              <a:spAutoFit/>
            </a:bodyPr>
            <a:lstStyle/>
            <a:p>
              <a:pPr algn="l"/>
              <a:r>
                <a:rPr lang="en-US" sz="1100" b="0">
                  <a:solidFill>
                    <a:srgbClr val="1A1A1A"/>
                  </a:solidFill>
                  <a:latin typeface="Arial"/>
                </a:rPr>
                <a:t>It analyzes the collected information, identifies patterns, and formulates a plan. This includes evaluating different options and seeking clarification if needed.</a:t>
              </a:r>
            </a:p>
            <a:p>
              <a:pPr algn="l"/>
              <a:endParaRPr lang="en-US" sz="1100" b="0">
                <a:solidFill>
                  <a:srgbClr val="1A1A1A"/>
                </a:solidFill>
                <a:latin typeface="Arial"/>
              </a:endParaRPr>
            </a:p>
          </p:txBody>
        </p:sp>
        <p:sp>
          <p:nvSpPr>
            <p:cNvPr id="25" name="TextBox 24">
              <a:extLst>
                <a:ext uri="{FF2B5EF4-FFF2-40B4-BE49-F238E27FC236}">
                  <a16:creationId xmlns:a16="http://schemas.microsoft.com/office/drawing/2014/main" id="{BE9910F1-D6C4-25C4-A670-B5F783B4B171}"/>
                </a:ext>
              </a:extLst>
            </p:cNvPr>
            <p:cNvSpPr txBox="1"/>
            <p:nvPr/>
          </p:nvSpPr>
          <p:spPr>
            <a:xfrm>
              <a:off x="893754" y="1815426"/>
              <a:ext cx="1354484" cy="1023923"/>
            </a:xfrm>
            <a:prstGeom prst="rect">
              <a:avLst/>
            </a:prstGeom>
            <a:noFill/>
            <a:ln>
              <a:noFill/>
            </a:ln>
          </p:spPr>
          <p:txBody>
            <a:bodyPr wrap="square" lIns="0" tIns="0" rIns="0" bIns="0" anchor="t">
              <a:spAutoFit/>
            </a:bodyPr>
            <a:lstStyle/>
            <a:p>
              <a:pPr algn="l"/>
              <a:r>
                <a:rPr lang="en-US" sz="1100" b="0">
                  <a:solidFill>
                    <a:srgbClr val="1A1A1A"/>
                  </a:solidFill>
                  <a:latin typeface="Arial"/>
                </a:rPr>
                <a:t>The agent executes the plan by performing necessary steps, such as retrieving data from a database, generating a response, or triggering external scripts.</a:t>
              </a:r>
              <a:endParaRPr sz="1100" b="0">
                <a:solidFill>
                  <a:srgbClr val="1A1A1A"/>
                </a:solidFill>
                <a:latin typeface="Arial"/>
              </a:endParaRPr>
            </a:p>
          </p:txBody>
        </p:sp>
        <p:sp>
          <p:nvSpPr>
            <p:cNvPr id="26" name="TextBox 25">
              <a:extLst>
                <a:ext uri="{FF2B5EF4-FFF2-40B4-BE49-F238E27FC236}">
                  <a16:creationId xmlns:a16="http://schemas.microsoft.com/office/drawing/2014/main" id="{2F73AE1F-918C-F1F0-CFF9-133D9407F349}"/>
                </a:ext>
              </a:extLst>
            </p:cNvPr>
            <p:cNvSpPr txBox="1"/>
            <p:nvPr/>
          </p:nvSpPr>
          <p:spPr>
            <a:xfrm>
              <a:off x="6077980" y="1935846"/>
              <a:ext cx="2237540" cy="877649"/>
            </a:xfrm>
            <a:prstGeom prst="rect">
              <a:avLst/>
            </a:prstGeom>
            <a:noFill/>
            <a:ln>
              <a:noFill/>
            </a:ln>
          </p:spPr>
          <p:txBody>
            <a:bodyPr wrap="square" lIns="0" tIns="0" rIns="0" bIns="0" anchor="t">
              <a:spAutoFit/>
            </a:bodyPr>
            <a:lstStyle/>
            <a:p>
              <a:pPr algn="l"/>
              <a:r>
                <a:rPr lang="en-US" sz="1100" b="0">
                  <a:solidFill>
                    <a:srgbClr val="1A1A1A"/>
                  </a:solidFill>
                  <a:latin typeface="Arial"/>
                </a:rPr>
                <a:t>Finally, it assesses the results of its actions, refines its approach for future tasks, and logs new knowledge or mistakes for continuous improvement through supervised, unsupervised, or reinforced learning.</a:t>
              </a:r>
              <a:endParaRPr sz="1100" b="0">
                <a:solidFill>
                  <a:srgbClr val="1A1A1A"/>
                </a:solidFill>
                <a:latin typeface="Arial"/>
              </a:endParaRPr>
            </a:p>
          </p:txBody>
        </p:sp>
        <p:grpSp>
          <p:nvGrpSpPr>
            <p:cNvPr id="31" name="Group 30">
              <a:extLst>
                <a:ext uri="{FF2B5EF4-FFF2-40B4-BE49-F238E27FC236}">
                  <a16:creationId xmlns:a16="http://schemas.microsoft.com/office/drawing/2014/main" id="{13DE1589-1E81-902B-4458-F3B0545F86BB}"/>
                </a:ext>
              </a:extLst>
            </p:cNvPr>
            <p:cNvGrpSpPr>
              <a:grpSpLocks noChangeAspect="1"/>
            </p:cNvGrpSpPr>
            <p:nvPr/>
          </p:nvGrpSpPr>
          <p:grpSpPr>
            <a:xfrm>
              <a:off x="2248240" y="1422803"/>
              <a:ext cx="5055944" cy="3749040"/>
              <a:chOff x="4407017" y="1425813"/>
              <a:chExt cx="3766855" cy="2793168"/>
            </a:xfrm>
          </p:grpSpPr>
          <p:grpSp>
            <p:nvGrpSpPr>
              <p:cNvPr id="3" name="Group 2">
                <a:extLst>
                  <a:ext uri="{FF2B5EF4-FFF2-40B4-BE49-F238E27FC236}">
                    <a16:creationId xmlns:a16="http://schemas.microsoft.com/office/drawing/2014/main" id="{6233B062-3A05-EECF-E252-8AC94CBCD6C6}"/>
                  </a:ext>
                </a:extLst>
              </p:cNvPr>
              <p:cNvGrpSpPr/>
              <p:nvPr/>
            </p:nvGrpSpPr>
            <p:grpSpPr>
              <a:xfrm>
                <a:off x="5803601" y="1425813"/>
                <a:ext cx="2370271" cy="2372202"/>
                <a:chOff x="2914962" y="974360"/>
                <a:chExt cx="2370271" cy="2372202"/>
              </a:xfrm>
            </p:grpSpPr>
            <p:sp>
              <p:nvSpPr>
                <p:cNvPr id="4" name="Rounded Rectangle 1">
                  <a:extLst>
                    <a:ext uri="{FF2B5EF4-FFF2-40B4-BE49-F238E27FC236}">
                      <a16:creationId xmlns:a16="http://schemas.microsoft.com/office/drawing/2014/main" id="{CFAF4E27-E228-4678-5EAB-F11AF50E898A}"/>
                    </a:ext>
                  </a:extLst>
                </p:cNvPr>
                <p:cNvSpPr/>
                <p:nvPr/>
              </p:nvSpPr>
              <p:spPr>
                <a:xfrm>
                  <a:off x="2914962" y="974360"/>
                  <a:ext cx="2370270" cy="2372202"/>
                </a:xfrm>
                <a:custGeom>
                  <a:avLst/>
                  <a:gdLst/>
                  <a:ahLst/>
                  <a:cxnLst/>
                  <a:rect l="0" t="0" r="0" b="0"/>
                  <a:pathLst>
                    <a:path w="2370270" h="2372202">
                      <a:moveTo>
                        <a:pt x="0" y="0"/>
                      </a:moveTo>
                      <a:cubicBezTo>
                        <a:pt x="309118" y="0"/>
                        <a:pt x="609501" y="102556"/>
                        <a:pt x="854075" y="291596"/>
                      </a:cubicBezTo>
                      <a:cubicBezTo>
                        <a:pt x="1095863" y="478480"/>
                        <a:pt x="1269600" y="739445"/>
                        <a:pt x="1348799" y="1034389"/>
                      </a:cubicBezTo>
                      <a:lnTo>
                        <a:pt x="1349107" y="1034308"/>
                      </a:lnTo>
                      <a:cubicBezTo>
                        <a:pt x="1394107" y="1195337"/>
                        <a:pt x="1490560" y="1337228"/>
                        <a:pt x="1623755" y="1438310"/>
                      </a:cubicBezTo>
                      <a:cubicBezTo>
                        <a:pt x="1754782" y="1537744"/>
                        <a:pt x="1914293" y="1592316"/>
                        <a:pt x="2078636" y="1594054"/>
                      </a:cubicBezTo>
                      <a:lnTo>
                        <a:pt x="2078636" y="1455337"/>
                      </a:lnTo>
                      <a:cubicBezTo>
                        <a:pt x="2078636" y="1446771"/>
                        <a:pt x="2090190" y="1444043"/>
                        <a:pt x="2094014" y="1451708"/>
                      </a:cubicBezTo>
                      <a:lnTo>
                        <a:pt x="2369125" y="1904493"/>
                      </a:lnTo>
                      <a:cubicBezTo>
                        <a:pt x="2370270" y="1906775"/>
                        <a:pt x="2370270" y="1909470"/>
                        <a:pt x="2369125" y="1911752"/>
                      </a:cubicBezTo>
                      <a:lnTo>
                        <a:pt x="2094014" y="2364537"/>
                      </a:lnTo>
                      <a:cubicBezTo>
                        <a:pt x="2090190" y="2372202"/>
                        <a:pt x="2078636" y="2369474"/>
                        <a:pt x="2078636" y="2360908"/>
                      </a:cubicBezTo>
                      <a:lnTo>
                        <a:pt x="2078636" y="2224765"/>
                      </a:lnTo>
                      <a:cubicBezTo>
                        <a:pt x="1776608" y="2223003"/>
                        <a:pt x="1483196" y="2123375"/>
                        <a:pt x="1242488" y="1940699"/>
                      </a:cubicBezTo>
                      <a:cubicBezTo>
                        <a:pt x="999620" y="1756390"/>
                        <a:pt x="823732" y="1497665"/>
                        <a:pt x="741689" y="1204025"/>
                      </a:cubicBezTo>
                      <a:cubicBezTo>
                        <a:pt x="698966" y="1039975"/>
                        <a:pt x="602511" y="894268"/>
                        <a:pt x="468383" y="790600"/>
                      </a:cubicBezTo>
                      <a:cubicBezTo>
                        <a:pt x="334256" y="686928"/>
                        <a:pt x="169523" y="630685"/>
                        <a:pt x="0" y="630685"/>
                      </a:cubicBezTo>
                      <a:lnTo>
                        <a:pt x="0" y="0"/>
                      </a:lnTo>
                      <a:close/>
                    </a:path>
                  </a:pathLst>
                </a:custGeom>
                <a:solidFill>
                  <a:srgbClr val="8AC6FF"/>
                </a:solidFill>
                <a:ln>
                  <a:noFill/>
                </a:ln>
              </p:spPr>
              <p:txBody>
                <a:bodyPr rtlCol="0" anchor="ctr"/>
                <a:lstStyle/>
                <a:p>
                  <a:pPr algn="ctr"/>
                  <a:endParaRPr sz="2800"/>
                </a:p>
              </p:txBody>
            </p:sp>
            <p:sp>
              <p:nvSpPr>
                <p:cNvPr id="5" name="Rounded Rectangle 2">
                  <a:extLst>
                    <a:ext uri="{FF2B5EF4-FFF2-40B4-BE49-F238E27FC236}">
                      <a16:creationId xmlns:a16="http://schemas.microsoft.com/office/drawing/2014/main" id="{84A1B28A-FBD1-8D0A-05F3-F8A6A518D681}"/>
                    </a:ext>
                  </a:extLst>
                </p:cNvPr>
                <p:cNvSpPr/>
                <p:nvPr/>
              </p:nvSpPr>
              <p:spPr>
                <a:xfrm>
                  <a:off x="2914962" y="974360"/>
                  <a:ext cx="2370271" cy="2372202"/>
                </a:xfrm>
                <a:custGeom>
                  <a:avLst/>
                  <a:gdLst/>
                  <a:ahLst/>
                  <a:cxnLst/>
                  <a:rect l="0" t="0" r="0" b="0"/>
                  <a:pathLst>
                    <a:path w="2370271" h="2372202">
                      <a:moveTo>
                        <a:pt x="0" y="0"/>
                      </a:moveTo>
                      <a:cubicBezTo>
                        <a:pt x="309118" y="0"/>
                        <a:pt x="609501" y="102556"/>
                        <a:pt x="854078" y="291596"/>
                      </a:cubicBezTo>
                      <a:cubicBezTo>
                        <a:pt x="1095864" y="478480"/>
                        <a:pt x="1269600" y="739445"/>
                        <a:pt x="1348800" y="1034393"/>
                      </a:cubicBezTo>
                      <a:lnTo>
                        <a:pt x="1349110" y="1034306"/>
                      </a:lnTo>
                      <a:cubicBezTo>
                        <a:pt x="1394104" y="1195341"/>
                        <a:pt x="1490559" y="1337228"/>
                        <a:pt x="1623751" y="1438306"/>
                      </a:cubicBezTo>
                      <a:cubicBezTo>
                        <a:pt x="1754786" y="1537748"/>
                        <a:pt x="1914293" y="1592316"/>
                        <a:pt x="2078636" y="1594057"/>
                      </a:cubicBezTo>
                      <a:lnTo>
                        <a:pt x="2078636" y="1455338"/>
                      </a:lnTo>
                      <a:cubicBezTo>
                        <a:pt x="2078636" y="1446769"/>
                        <a:pt x="2090186" y="1444043"/>
                        <a:pt x="2094017" y="1451706"/>
                      </a:cubicBezTo>
                      <a:lnTo>
                        <a:pt x="2369128" y="1904491"/>
                      </a:lnTo>
                      <a:cubicBezTo>
                        <a:pt x="2370271" y="1906777"/>
                        <a:pt x="2370271" y="1909468"/>
                        <a:pt x="2369128" y="1911754"/>
                      </a:cubicBezTo>
                      <a:lnTo>
                        <a:pt x="2094017" y="2364539"/>
                      </a:lnTo>
                      <a:cubicBezTo>
                        <a:pt x="2090186" y="2372202"/>
                        <a:pt x="2078636" y="2369476"/>
                        <a:pt x="2078636" y="2360907"/>
                      </a:cubicBezTo>
                      <a:lnTo>
                        <a:pt x="2078636" y="2224762"/>
                      </a:lnTo>
                      <a:cubicBezTo>
                        <a:pt x="1776606" y="2223007"/>
                        <a:pt x="1483200" y="2123377"/>
                        <a:pt x="1242486" y="1940703"/>
                      </a:cubicBezTo>
                      <a:cubicBezTo>
                        <a:pt x="999617" y="1756390"/>
                        <a:pt x="823735" y="1497665"/>
                        <a:pt x="741689" y="1204024"/>
                      </a:cubicBezTo>
                      <a:cubicBezTo>
                        <a:pt x="698966" y="1039974"/>
                        <a:pt x="602511" y="894271"/>
                        <a:pt x="468383" y="790600"/>
                      </a:cubicBezTo>
                      <a:cubicBezTo>
                        <a:pt x="334256" y="686928"/>
                        <a:pt x="169523" y="630685"/>
                        <a:pt x="0" y="630685"/>
                      </a:cubicBezTo>
                      <a:lnTo>
                        <a:pt x="0" y="0"/>
                      </a:lnTo>
                      <a:close/>
                    </a:path>
                  </a:pathLst>
                </a:custGeom>
                <a:noFill/>
                <a:ln w="6089">
                  <a:solidFill>
                    <a:srgbClr val="FFFFFF"/>
                  </a:solidFill>
                </a:ln>
              </p:spPr>
              <p:txBody>
                <a:bodyPr rtlCol="0" anchor="ctr"/>
                <a:lstStyle/>
                <a:p>
                  <a:pPr algn="ctr"/>
                  <a:endParaRPr sz="2800"/>
                </a:p>
              </p:txBody>
            </p:sp>
          </p:grpSp>
          <p:grpSp>
            <p:nvGrpSpPr>
              <p:cNvPr id="6" name="Group 5">
                <a:extLst>
                  <a:ext uri="{FF2B5EF4-FFF2-40B4-BE49-F238E27FC236}">
                    <a16:creationId xmlns:a16="http://schemas.microsoft.com/office/drawing/2014/main" id="{44C45E91-A7FD-C148-0FA5-778CDBE948F3}"/>
                  </a:ext>
                </a:extLst>
              </p:cNvPr>
              <p:cNvGrpSpPr/>
              <p:nvPr/>
            </p:nvGrpSpPr>
            <p:grpSpPr>
              <a:xfrm>
                <a:off x="4407017" y="1425813"/>
                <a:ext cx="1396583" cy="1396583"/>
                <a:chOff x="1518378" y="974360"/>
                <a:chExt cx="1396583" cy="1396583"/>
              </a:xfrm>
            </p:grpSpPr>
            <p:sp>
              <p:nvSpPr>
                <p:cNvPr id="7" name="Rounded Rectangle 4">
                  <a:extLst>
                    <a:ext uri="{FF2B5EF4-FFF2-40B4-BE49-F238E27FC236}">
                      <a16:creationId xmlns:a16="http://schemas.microsoft.com/office/drawing/2014/main" id="{E45137F0-273B-58CA-F0D1-0D4BB88A8671}"/>
                    </a:ext>
                  </a:extLst>
                </p:cNvPr>
                <p:cNvSpPr/>
                <p:nvPr/>
              </p:nvSpPr>
              <p:spPr>
                <a:xfrm>
                  <a:off x="1518378" y="974360"/>
                  <a:ext cx="1396583" cy="1396583"/>
                </a:xfrm>
                <a:custGeom>
                  <a:avLst/>
                  <a:gdLst/>
                  <a:ahLst/>
                  <a:cxnLst/>
                  <a:rect l="0" t="0" r="0" b="0"/>
                  <a:pathLst>
                    <a:path w="1396583" h="1396583">
                      <a:moveTo>
                        <a:pt x="0" y="1396583"/>
                      </a:moveTo>
                      <a:cubicBezTo>
                        <a:pt x="0" y="1026188"/>
                        <a:pt x="147139" y="670960"/>
                        <a:pt x="409049" y="409049"/>
                      </a:cubicBezTo>
                      <a:cubicBezTo>
                        <a:pt x="670960" y="147139"/>
                        <a:pt x="1026188" y="0"/>
                        <a:pt x="1396583" y="0"/>
                      </a:cubicBezTo>
                      <a:lnTo>
                        <a:pt x="1396583" y="630685"/>
                      </a:lnTo>
                      <a:cubicBezTo>
                        <a:pt x="1193453" y="630685"/>
                        <a:pt x="998646" y="711378"/>
                        <a:pt x="855009" y="855009"/>
                      </a:cubicBezTo>
                      <a:cubicBezTo>
                        <a:pt x="711378" y="998646"/>
                        <a:pt x="630685" y="1193453"/>
                        <a:pt x="630685" y="1396583"/>
                      </a:cubicBezTo>
                      <a:lnTo>
                        <a:pt x="0" y="1396583"/>
                      </a:lnTo>
                      <a:close/>
                    </a:path>
                  </a:pathLst>
                </a:custGeom>
                <a:solidFill>
                  <a:srgbClr val="3CA1FF"/>
                </a:solidFill>
                <a:ln>
                  <a:noFill/>
                </a:ln>
              </p:spPr>
              <p:txBody>
                <a:bodyPr rtlCol="0" anchor="ctr"/>
                <a:lstStyle/>
                <a:p>
                  <a:pPr algn="ctr"/>
                  <a:endParaRPr sz="2800"/>
                </a:p>
              </p:txBody>
            </p:sp>
            <p:sp>
              <p:nvSpPr>
                <p:cNvPr id="8" name="Rounded Rectangle 5">
                  <a:extLst>
                    <a:ext uri="{FF2B5EF4-FFF2-40B4-BE49-F238E27FC236}">
                      <a16:creationId xmlns:a16="http://schemas.microsoft.com/office/drawing/2014/main" id="{F44C243C-421E-D94D-4A72-25AD13C41DC5}"/>
                    </a:ext>
                  </a:extLst>
                </p:cNvPr>
                <p:cNvSpPr/>
                <p:nvPr/>
              </p:nvSpPr>
              <p:spPr>
                <a:xfrm>
                  <a:off x="1518378" y="974360"/>
                  <a:ext cx="1396583" cy="1396583"/>
                </a:xfrm>
                <a:custGeom>
                  <a:avLst/>
                  <a:gdLst/>
                  <a:ahLst/>
                  <a:cxnLst/>
                  <a:rect l="0" t="0" r="0" b="0"/>
                  <a:pathLst>
                    <a:path w="1396583" h="1396583">
                      <a:moveTo>
                        <a:pt x="0" y="1396583"/>
                      </a:moveTo>
                      <a:cubicBezTo>
                        <a:pt x="0" y="1026186"/>
                        <a:pt x="147139" y="670960"/>
                        <a:pt x="409049" y="409049"/>
                      </a:cubicBezTo>
                      <a:cubicBezTo>
                        <a:pt x="670960" y="147139"/>
                        <a:pt x="1026186" y="0"/>
                        <a:pt x="1396583" y="0"/>
                      </a:cubicBezTo>
                      <a:lnTo>
                        <a:pt x="1396583" y="630685"/>
                      </a:lnTo>
                      <a:cubicBezTo>
                        <a:pt x="1193454" y="630685"/>
                        <a:pt x="998645" y="711378"/>
                        <a:pt x="855012" y="855012"/>
                      </a:cubicBezTo>
                      <a:cubicBezTo>
                        <a:pt x="711378" y="998645"/>
                        <a:pt x="630685" y="1193454"/>
                        <a:pt x="630685" y="1396583"/>
                      </a:cubicBezTo>
                      <a:lnTo>
                        <a:pt x="0" y="1396583"/>
                      </a:lnTo>
                      <a:close/>
                    </a:path>
                  </a:pathLst>
                </a:custGeom>
                <a:noFill/>
                <a:ln w="6089">
                  <a:solidFill>
                    <a:srgbClr val="FFFFFF"/>
                  </a:solidFill>
                </a:ln>
              </p:spPr>
              <p:txBody>
                <a:bodyPr rtlCol="0" anchor="ctr"/>
                <a:lstStyle/>
                <a:p>
                  <a:pPr algn="ctr"/>
                  <a:endParaRPr sz="2800"/>
                </a:p>
              </p:txBody>
            </p:sp>
          </p:grpSp>
          <p:grpSp>
            <p:nvGrpSpPr>
              <p:cNvPr id="9" name="Group 8">
                <a:extLst>
                  <a:ext uri="{FF2B5EF4-FFF2-40B4-BE49-F238E27FC236}">
                    <a16:creationId xmlns:a16="http://schemas.microsoft.com/office/drawing/2014/main" id="{AA084138-025E-3D90-6845-766D7730EA77}"/>
                  </a:ext>
                </a:extLst>
              </p:cNvPr>
              <p:cNvGrpSpPr/>
              <p:nvPr/>
            </p:nvGrpSpPr>
            <p:grpSpPr>
              <a:xfrm>
                <a:off x="4407017" y="2822397"/>
                <a:ext cx="1396583" cy="1396583"/>
                <a:chOff x="1518378" y="2370944"/>
                <a:chExt cx="1396583" cy="1396583"/>
              </a:xfrm>
            </p:grpSpPr>
            <p:sp>
              <p:nvSpPr>
                <p:cNvPr id="10" name="Rounded Rectangle 7">
                  <a:extLst>
                    <a:ext uri="{FF2B5EF4-FFF2-40B4-BE49-F238E27FC236}">
                      <a16:creationId xmlns:a16="http://schemas.microsoft.com/office/drawing/2014/main" id="{61F35886-976D-4E5A-818E-2B29C1437C88}"/>
                    </a:ext>
                  </a:extLst>
                </p:cNvPr>
                <p:cNvSpPr/>
                <p:nvPr/>
              </p:nvSpPr>
              <p:spPr>
                <a:xfrm>
                  <a:off x="1518378" y="2370944"/>
                  <a:ext cx="1396583" cy="1396583"/>
                </a:xfrm>
                <a:custGeom>
                  <a:avLst/>
                  <a:gdLst/>
                  <a:ahLst/>
                  <a:cxnLst/>
                  <a:rect l="0" t="0" r="0" b="0"/>
                  <a:pathLst>
                    <a:path w="1396583" h="1396583">
                      <a:moveTo>
                        <a:pt x="1396583" y="1396583"/>
                      </a:moveTo>
                      <a:cubicBezTo>
                        <a:pt x="1213184" y="1396583"/>
                        <a:pt x="1031571" y="1360459"/>
                        <a:pt x="862130" y="1290272"/>
                      </a:cubicBezTo>
                      <a:cubicBezTo>
                        <a:pt x="692692" y="1220086"/>
                        <a:pt x="538734" y="1117218"/>
                        <a:pt x="409049" y="987530"/>
                      </a:cubicBezTo>
                      <a:cubicBezTo>
                        <a:pt x="279364" y="857851"/>
                        <a:pt x="176493" y="703891"/>
                        <a:pt x="106308" y="534449"/>
                      </a:cubicBezTo>
                      <a:cubicBezTo>
                        <a:pt x="36123" y="365008"/>
                        <a:pt x="0" y="183402"/>
                        <a:pt x="0" y="0"/>
                      </a:cubicBezTo>
                      <a:lnTo>
                        <a:pt x="630685" y="0"/>
                      </a:lnTo>
                      <a:cubicBezTo>
                        <a:pt x="630685" y="100579"/>
                        <a:pt x="650496" y="200173"/>
                        <a:pt x="688986" y="293096"/>
                      </a:cubicBezTo>
                      <a:cubicBezTo>
                        <a:pt x="727476" y="386019"/>
                        <a:pt x="783891" y="470451"/>
                        <a:pt x="855009" y="541571"/>
                      </a:cubicBezTo>
                      <a:cubicBezTo>
                        <a:pt x="926129" y="612691"/>
                        <a:pt x="1010566" y="669107"/>
                        <a:pt x="1103487" y="707597"/>
                      </a:cubicBezTo>
                      <a:cubicBezTo>
                        <a:pt x="1196409" y="746087"/>
                        <a:pt x="1296005" y="765897"/>
                        <a:pt x="1396583" y="765897"/>
                      </a:cubicBezTo>
                      <a:lnTo>
                        <a:pt x="1396583" y="1396583"/>
                      </a:lnTo>
                      <a:close/>
                    </a:path>
                  </a:pathLst>
                </a:custGeom>
                <a:solidFill>
                  <a:srgbClr val="2093FF"/>
                </a:solidFill>
                <a:ln>
                  <a:noFill/>
                </a:ln>
              </p:spPr>
              <p:txBody>
                <a:bodyPr rtlCol="0" anchor="ctr"/>
                <a:lstStyle/>
                <a:p>
                  <a:pPr algn="ctr"/>
                  <a:endParaRPr sz="2800"/>
                </a:p>
              </p:txBody>
            </p:sp>
            <p:sp>
              <p:nvSpPr>
                <p:cNvPr id="11" name="Rounded Rectangle 8">
                  <a:extLst>
                    <a:ext uri="{FF2B5EF4-FFF2-40B4-BE49-F238E27FC236}">
                      <a16:creationId xmlns:a16="http://schemas.microsoft.com/office/drawing/2014/main" id="{FA24B73E-A51E-2164-6739-62CC788A9390}"/>
                    </a:ext>
                  </a:extLst>
                </p:cNvPr>
                <p:cNvSpPr/>
                <p:nvPr/>
              </p:nvSpPr>
              <p:spPr>
                <a:xfrm>
                  <a:off x="1518378" y="2370944"/>
                  <a:ext cx="1396583" cy="1396583"/>
                </a:xfrm>
                <a:custGeom>
                  <a:avLst/>
                  <a:gdLst/>
                  <a:ahLst/>
                  <a:cxnLst/>
                  <a:rect l="0" t="0" r="0" b="0"/>
                  <a:pathLst>
                    <a:path w="1396583" h="1396583">
                      <a:moveTo>
                        <a:pt x="1396583" y="1396583"/>
                      </a:moveTo>
                      <a:cubicBezTo>
                        <a:pt x="1213181" y="1396583"/>
                        <a:pt x="1031575" y="1360459"/>
                        <a:pt x="862133" y="1290275"/>
                      </a:cubicBezTo>
                      <a:cubicBezTo>
                        <a:pt x="692692" y="1220090"/>
                        <a:pt x="538734" y="1117218"/>
                        <a:pt x="409049" y="987534"/>
                      </a:cubicBezTo>
                      <a:cubicBezTo>
                        <a:pt x="279364" y="857849"/>
                        <a:pt x="176493" y="703891"/>
                        <a:pt x="106308" y="534449"/>
                      </a:cubicBezTo>
                      <a:cubicBezTo>
                        <a:pt x="36123" y="365008"/>
                        <a:pt x="0" y="183402"/>
                        <a:pt x="0" y="0"/>
                      </a:cubicBezTo>
                      <a:lnTo>
                        <a:pt x="630685" y="0"/>
                      </a:lnTo>
                      <a:cubicBezTo>
                        <a:pt x="630685" y="100579"/>
                        <a:pt x="650496" y="200173"/>
                        <a:pt x="688986" y="293096"/>
                      </a:cubicBezTo>
                      <a:cubicBezTo>
                        <a:pt x="727476" y="386019"/>
                        <a:pt x="783891" y="470451"/>
                        <a:pt x="855012" y="541571"/>
                      </a:cubicBezTo>
                      <a:cubicBezTo>
                        <a:pt x="926132" y="612691"/>
                        <a:pt x="1010563" y="669107"/>
                        <a:pt x="1103486" y="707597"/>
                      </a:cubicBezTo>
                      <a:cubicBezTo>
                        <a:pt x="1196410" y="746087"/>
                        <a:pt x="1296004" y="765897"/>
                        <a:pt x="1396583" y="765897"/>
                      </a:cubicBezTo>
                      <a:lnTo>
                        <a:pt x="1396583" y="1396583"/>
                      </a:lnTo>
                      <a:close/>
                    </a:path>
                  </a:pathLst>
                </a:custGeom>
                <a:noFill/>
                <a:ln w="6089">
                  <a:solidFill>
                    <a:srgbClr val="FFFFFF"/>
                  </a:solidFill>
                </a:ln>
              </p:spPr>
              <p:txBody>
                <a:bodyPr rtlCol="0" anchor="ctr"/>
                <a:lstStyle/>
                <a:p>
                  <a:pPr algn="ctr"/>
                  <a:endParaRPr sz="2800"/>
                </a:p>
              </p:txBody>
            </p:sp>
          </p:grpSp>
          <p:grpSp>
            <p:nvGrpSpPr>
              <p:cNvPr id="12" name="Group 11">
                <a:extLst>
                  <a:ext uri="{FF2B5EF4-FFF2-40B4-BE49-F238E27FC236}">
                    <a16:creationId xmlns:a16="http://schemas.microsoft.com/office/drawing/2014/main" id="{8491CC05-5EDD-EE9F-BB0D-BD64ED77AAC7}"/>
                  </a:ext>
                </a:extLst>
              </p:cNvPr>
              <p:cNvGrpSpPr/>
              <p:nvPr/>
            </p:nvGrpSpPr>
            <p:grpSpPr>
              <a:xfrm>
                <a:off x="5803617" y="2629840"/>
                <a:ext cx="1275617" cy="1589141"/>
                <a:chOff x="2914978" y="2178387"/>
                <a:chExt cx="1275617" cy="1589141"/>
              </a:xfrm>
            </p:grpSpPr>
            <p:sp>
              <p:nvSpPr>
                <p:cNvPr id="13" name="Rounded Rectangle 10">
                  <a:extLst>
                    <a:ext uri="{FF2B5EF4-FFF2-40B4-BE49-F238E27FC236}">
                      <a16:creationId xmlns:a16="http://schemas.microsoft.com/office/drawing/2014/main" id="{A095FA99-025E-E7E1-FAF0-5FA7F1552FA1}"/>
                    </a:ext>
                  </a:extLst>
                </p:cNvPr>
                <p:cNvSpPr/>
                <p:nvPr/>
              </p:nvSpPr>
              <p:spPr>
                <a:xfrm>
                  <a:off x="2914978" y="2178387"/>
                  <a:ext cx="1275616" cy="1589141"/>
                </a:xfrm>
                <a:custGeom>
                  <a:avLst/>
                  <a:gdLst/>
                  <a:ahLst/>
                  <a:cxnLst/>
                  <a:rect l="0" t="0" r="0" b="0"/>
                  <a:pathLst>
                    <a:path w="1275616" h="1589141">
                      <a:moveTo>
                        <a:pt x="741673" y="0"/>
                      </a:moveTo>
                      <a:cubicBezTo>
                        <a:pt x="771211" y="113257"/>
                        <a:pt x="773816" y="231049"/>
                        <a:pt x="750408" y="345731"/>
                      </a:cubicBezTo>
                      <a:cubicBezTo>
                        <a:pt x="726999" y="460412"/>
                        <a:pt x="677618" y="568202"/>
                        <a:pt x="606056" y="660823"/>
                      </a:cubicBezTo>
                      <a:cubicBezTo>
                        <a:pt x="534494" y="753444"/>
                        <a:pt x="442656" y="828434"/>
                        <a:pt x="337595" y="880026"/>
                      </a:cubicBezTo>
                      <a:cubicBezTo>
                        <a:pt x="232534" y="931619"/>
                        <a:pt x="117045" y="958446"/>
                        <a:pt x="0" y="958454"/>
                      </a:cubicBezTo>
                      <a:lnTo>
                        <a:pt x="12" y="1589141"/>
                      </a:lnTo>
                      <a:cubicBezTo>
                        <a:pt x="213441" y="1589133"/>
                        <a:pt x="424030" y="1540212"/>
                        <a:pt x="615604" y="1446130"/>
                      </a:cubicBezTo>
                      <a:cubicBezTo>
                        <a:pt x="807179" y="1352055"/>
                        <a:pt x="974644" y="1215312"/>
                        <a:pt x="1105127" y="1046423"/>
                      </a:cubicBezTo>
                      <a:cubicBezTo>
                        <a:pt x="1173341" y="958145"/>
                        <a:pt x="1230495" y="862309"/>
                        <a:pt x="1275616" y="761066"/>
                      </a:cubicBezTo>
                      <a:cubicBezTo>
                        <a:pt x="1264460" y="753108"/>
                        <a:pt x="1253409" y="744976"/>
                        <a:pt x="1242472" y="736673"/>
                      </a:cubicBezTo>
                      <a:cubicBezTo>
                        <a:pt x="999604" y="552361"/>
                        <a:pt x="823716" y="293640"/>
                        <a:pt x="741673" y="0"/>
                      </a:cubicBezTo>
                      <a:close/>
                    </a:path>
                  </a:pathLst>
                </a:custGeom>
                <a:solidFill>
                  <a:srgbClr val="0486FF"/>
                </a:solidFill>
                <a:ln>
                  <a:noFill/>
                </a:ln>
              </p:spPr>
              <p:txBody>
                <a:bodyPr rtlCol="0" anchor="ctr"/>
                <a:lstStyle/>
                <a:p>
                  <a:pPr algn="ctr"/>
                  <a:endParaRPr sz="2800"/>
                </a:p>
              </p:txBody>
            </p:sp>
            <p:sp>
              <p:nvSpPr>
                <p:cNvPr id="14" name="Rounded Rectangle 11">
                  <a:extLst>
                    <a:ext uri="{FF2B5EF4-FFF2-40B4-BE49-F238E27FC236}">
                      <a16:creationId xmlns:a16="http://schemas.microsoft.com/office/drawing/2014/main" id="{DE489FD8-1879-3FDC-D7F1-DD3737CAD738}"/>
                    </a:ext>
                  </a:extLst>
                </p:cNvPr>
                <p:cNvSpPr/>
                <p:nvPr/>
              </p:nvSpPr>
              <p:spPr>
                <a:xfrm>
                  <a:off x="2914978" y="2178387"/>
                  <a:ext cx="1275617" cy="1589138"/>
                </a:xfrm>
                <a:custGeom>
                  <a:avLst/>
                  <a:gdLst/>
                  <a:ahLst/>
                  <a:cxnLst/>
                  <a:rect l="0" t="0" r="0" b="0"/>
                  <a:pathLst>
                    <a:path w="1275617" h="1589138">
                      <a:moveTo>
                        <a:pt x="741673" y="0"/>
                      </a:moveTo>
                      <a:cubicBezTo>
                        <a:pt x="771211" y="113257"/>
                        <a:pt x="773816" y="231049"/>
                        <a:pt x="750408" y="345730"/>
                      </a:cubicBezTo>
                      <a:cubicBezTo>
                        <a:pt x="726999" y="460412"/>
                        <a:pt x="677618" y="568202"/>
                        <a:pt x="606056" y="660823"/>
                      </a:cubicBezTo>
                      <a:cubicBezTo>
                        <a:pt x="534494" y="753444"/>
                        <a:pt x="442656" y="828432"/>
                        <a:pt x="337595" y="880027"/>
                      </a:cubicBezTo>
                      <a:cubicBezTo>
                        <a:pt x="232534" y="931621"/>
                        <a:pt x="117045" y="958450"/>
                        <a:pt x="0" y="958452"/>
                      </a:cubicBezTo>
                      <a:lnTo>
                        <a:pt x="12" y="1589138"/>
                      </a:lnTo>
                      <a:cubicBezTo>
                        <a:pt x="213441" y="1589134"/>
                        <a:pt x="424030" y="1540213"/>
                        <a:pt x="615604" y="1446132"/>
                      </a:cubicBezTo>
                      <a:cubicBezTo>
                        <a:pt x="807179" y="1352052"/>
                        <a:pt x="974641" y="1215315"/>
                        <a:pt x="1105132" y="1046425"/>
                      </a:cubicBezTo>
                      <a:cubicBezTo>
                        <a:pt x="1173339" y="958144"/>
                        <a:pt x="1230497" y="862306"/>
                        <a:pt x="1275617" y="761066"/>
                      </a:cubicBezTo>
                      <a:cubicBezTo>
                        <a:pt x="1264462" y="753108"/>
                        <a:pt x="1253412" y="744976"/>
                        <a:pt x="1242471" y="736673"/>
                      </a:cubicBezTo>
                      <a:cubicBezTo>
                        <a:pt x="999602" y="552361"/>
                        <a:pt x="823718" y="293640"/>
                        <a:pt x="741673" y="0"/>
                      </a:cubicBezTo>
                      <a:close/>
                    </a:path>
                  </a:pathLst>
                </a:custGeom>
                <a:noFill/>
                <a:ln w="6089">
                  <a:solidFill>
                    <a:srgbClr val="FFFFFF"/>
                  </a:solidFill>
                </a:ln>
              </p:spPr>
              <p:txBody>
                <a:bodyPr rtlCol="0" anchor="ctr"/>
                <a:lstStyle/>
                <a:p>
                  <a:pPr algn="ctr"/>
                  <a:endParaRPr sz="2800"/>
                </a:p>
              </p:txBody>
            </p:sp>
          </p:grpSp>
          <p:sp>
            <p:nvSpPr>
              <p:cNvPr id="27" name="Rounded Rectangle 26">
                <a:extLst>
                  <a:ext uri="{FF2B5EF4-FFF2-40B4-BE49-F238E27FC236}">
                    <a16:creationId xmlns:a16="http://schemas.microsoft.com/office/drawing/2014/main" id="{FE803378-5F42-1636-7311-8C11351F589E}"/>
                  </a:ext>
                </a:extLst>
              </p:cNvPr>
              <p:cNvSpPr/>
              <p:nvPr/>
            </p:nvSpPr>
            <p:spPr>
              <a:xfrm>
                <a:off x="4829240" y="1872395"/>
                <a:ext cx="354245" cy="369786"/>
              </a:xfrm>
              <a:custGeom>
                <a:avLst/>
                <a:gdLst/>
                <a:ahLst/>
                <a:cxnLst/>
                <a:rect l="0" t="0" r="0" b="0"/>
                <a:pathLst>
                  <a:path w="354245" h="369786">
                    <a:moveTo>
                      <a:pt x="0" y="0"/>
                    </a:moveTo>
                    <a:moveTo>
                      <a:pt x="183017" y="59760"/>
                    </a:moveTo>
                    <a:lnTo>
                      <a:pt x="191104" y="29555"/>
                    </a:lnTo>
                    <a:cubicBezTo>
                      <a:pt x="194773" y="17430"/>
                      <a:pt x="207404" y="10406"/>
                      <a:pt x="219641" y="13686"/>
                    </a:cubicBezTo>
                    <a:cubicBezTo>
                      <a:pt x="231877" y="16967"/>
                      <a:pt x="239300" y="29367"/>
                      <a:pt x="236412" y="41702"/>
                    </a:cubicBezTo>
                    <a:lnTo>
                      <a:pt x="228325" y="71907"/>
                    </a:lnTo>
                    <a:moveTo>
                      <a:pt x="0" y="0"/>
                    </a:moveTo>
                    <a:moveTo>
                      <a:pt x="204047" y="162523"/>
                    </a:moveTo>
                    <a:lnTo>
                      <a:pt x="228325" y="71907"/>
                    </a:lnTo>
                    <a:cubicBezTo>
                      <a:pt x="231679" y="59396"/>
                      <a:pt x="244541" y="51973"/>
                      <a:pt x="257052" y="55327"/>
                    </a:cubicBezTo>
                    <a:cubicBezTo>
                      <a:pt x="269563" y="58681"/>
                      <a:pt x="276987" y="71543"/>
                      <a:pt x="273632" y="84054"/>
                    </a:cubicBezTo>
                    <a:lnTo>
                      <a:pt x="261485" y="129362"/>
                    </a:lnTo>
                    <a:moveTo>
                      <a:pt x="0" y="0"/>
                    </a:moveTo>
                    <a:moveTo>
                      <a:pt x="243281" y="197324"/>
                    </a:moveTo>
                    <a:lnTo>
                      <a:pt x="261485" y="129362"/>
                    </a:lnTo>
                    <a:cubicBezTo>
                      <a:pt x="264835" y="116851"/>
                      <a:pt x="277693" y="109424"/>
                      <a:pt x="290205" y="112774"/>
                    </a:cubicBezTo>
                    <a:cubicBezTo>
                      <a:pt x="302716" y="116123"/>
                      <a:pt x="310143" y="128981"/>
                      <a:pt x="306793" y="141493"/>
                    </a:cubicBezTo>
                    <a:lnTo>
                      <a:pt x="287777" y="212508"/>
                    </a:lnTo>
                    <a:moveTo>
                      <a:pt x="158739" y="150376"/>
                    </a:moveTo>
                    <a:lnTo>
                      <a:pt x="183017" y="59760"/>
                    </a:lnTo>
                    <a:cubicBezTo>
                      <a:pt x="186371" y="47249"/>
                      <a:pt x="178948" y="34387"/>
                      <a:pt x="166437" y="31033"/>
                    </a:cubicBezTo>
                    <a:cubicBezTo>
                      <a:pt x="153925" y="27679"/>
                      <a:pt x="141063" y="35102"/>
                      <a:pt x="137709" y="47613"/>
                    </a:cubicBezTo>
                    <a:lnTo>
                      <a:pt x="97241" y="198639"/>
                    </a:lnTo>
                    <a:lnTo>
                      <a:pt x="69666" y="141087"/>
                    </a:lnTo>
                    <a:cubicBezTo>
                      <a:pt x="64304" y="133335"/>
                      <a:pt x="54021" y="130766"/>
                      <a:pt x="45643" y="135087"/>
                    </a:cubicBezTo>
                    <a:cubicBezTo>
                      <a:pt x="37266" y="139407"/>
                      <a:pt x="33396" y="149274"/>
                      <a:pt x="36603" y="158138"/>
                    </a:cubicBezTo>
                    <a:cubicBezTo>
                      <a:pt x="36603" y="158138"/>
                      <a:pt x="50796" y="234252"/>
                      <a:pt x="65834" y="282174"/>
                    </a:cubicBezTo>
                    <a:cubicBezTo>
                      <a:pt x="73859" y="307705"/>
                      <a:pt x="94371" y="327367"/>
                      <a:pt x="120219" y="334303"/>
                    </a:cubicBezTo>
                    <a:lnTo>
                      <a:pt x="170578" y="347814"/>
                    </a:lnTo>
                    <a:cubicBezTo>
                      <a:pt x="212289" y="359009"/>
                      <a:pt x="255174" y="334254"/>
                      <a:pt x="266341" y="292535"/>
                    </a:cubicBezTo>
                    <a:lnTo>
                      <a:pt x="269962" y="278975"/>
                    </a:lnTo>
                    <a:moveTo>
                      <a:pt x="354245" y="338704"/>
                    </a:moveTo>
                    <a:lnTo>
                      <a:pt x="323162" y="369769"/>
                    </a:lnTo>
                    <a:lnTo>
                      <a:pt x="292064" y="338687"/>
                    </a:lnTo>
                    <a:moveTo>
                      <a:pt x="211484" y="230192"/>
                    </a:moveTo>
                    <a:cubicBezTo>
                      <a:pt x="249030" y="224476"/>
                      <a:pt x="324754" y="246399"/>
                      <a:pt x="323130" y="369786"/>
                    </a:cubicBezTo>
                  </a:path>
                </a:pathLst>
              </a:custGeom>
              <a:noFill/>
              <a:ln w="6089">
                <a:solidFill>
                  <a:srgbClr val="FFFFFF"/>
                </a:solidFill>
              </a:ln>
            </p:spPr>
            <p:txBody>
              <a:bodyPr rtlCol="0" anchor="ctr"/>
              <a:lstStyle/>
              <a:p>
                <a:pPr algn="ctr"/>
                <a:endParaRPr sz="2800"/>
              </a:p>
            </p:txBody>
          </p:sp>
          <p:sp>
            <p:nvSpPr>
              <p:cNvPr id="28" name="Rounded Rectangle 27">
                <a:extLst>
                  <a:ext uri="{FF2B5EF4-FFF2-40B4-BE49-F238E27FC236}">
                    <a16:creationId xmlns:a16="http://schemas.microsoft.com/office/drawing/2014/main" id="{DCE778DD-484F-7B68-F424-0A76624CB88A}"/>
                  </a:ext>
                </a:extLst>
              </p:cNvPr>
              <p:cNvSpPr/>
              <p:nvPr/>
            </p:nvSpPr>
            <p:spPr>
              <a:xfrm>
                <a:off x="6672406" y="2400174"/>
                <a:ext cx="366353" cy="368428"/>
              </a:xfrm>
              <a:custGeom>
                <a:avLst/>
                <a:gdLst/>
                <a:ahLst/>
                <a:cxnLst/>
                <a:rect l="0" t="0" r="0" b="0"/>
                <a:pathLst>
                  <a:path w="366353" h="368428">
                    <a:moveTo>
                      <a:pt x="174080" y="322726"/>
                    </a:moveTo>
                    <a:cubicBezTo>
                      <a:pt x="90848" y="322726"/>
                      <a:pt x="23374" y="255253"/>
                      <a:pt x="23374" y="172020"/>
                    </a:cubicBezTo>
                    <a:cubicBezTo>
                      <a:pt x="23374" y="88787"/>
                      <a:pt x="90848" y="21314"/>
                      <a:pt x="174080" y="21314"/>
                    </a:cubicBezTo>
                    <a:cubicBezTo>
                      <a:pt x="257314" y="21314"/>
                      <a:pt x="324786" y="88787"/>
                      <a:pt x="324786" y="172020"/>
                    </a:cubicBezTo>
                    <a:cubicBezTo>
                      <a:pt x="324786" y="255253"/>
                      <a:pt x="257314" y="322726"/>
                      <a:pt x="174080" y="322726"/>
                    </a:cubicBezTo>
                    <a:close/>
                    <a:moveTo>
                      <a:pt x="0" y="0"/>
                    </a:moveTo>
                    <a:moveTo>
                      <a:pt x="278352" y="280445"/>
                    </a:moveTo>
                    <a:lnTo>
                      <a:pt x="366353" y="368428"/>
                    </a:lnTo>
                    <a:moveTo>
                      <a:pt x="83575" y="171977"/>
                    </a:moveTo>
                    <a:cubicBezTo>
                      <a:pt x="128689" y="162908"/>
                      <a:pt x="165011" y="126144"/>
                      <a:pt x="174093" y="79864"/>
                    </a:cubicBezTo>
                    <a:cubicBezTo>
                      <a:pt x="183176" y="126144"/>
                      <a:pt x="219490" y="162908"/>
                      <a:pt x="264603" y="171977"/>
                    </a:cubicBezTo>
                    <a:moveTo>
                      <a:pt x="83575" y="172029"/>
                    </a:moveTo>
                    <a:cubicBezTo>
                      <a:pt x="128689" y="181099"/>
                      <a:pt x="165001" y="217862"/>
                      <a:pt x="174085" y="264142"/>
                    </a:cubicBezTo>
                    <a:cubicBezTo>
                      <a:pt x="183168" y="217862"/>
                      <a:pt x="219490" y="181099"/>
                      <a:pt x="264603" y="172029"/>
                    </a:cubicBezTo>
                  </a:path>
                </a:pathLst>
              </a:custGeom>
              <a:noFill/>
              <a:ln w="6089">
                <a:solidFill>
                  <a:srgbClr val="FFFFFF"/>
                </a:solidFill>
              </a:ln>
            </p:spPr>
            <p:txBody>
              <a:bodyPr rtlCol="0" anchor="ctr"/>
              <a:lstStyle/>
              <a:p>
                <a:pPr algn="ctr"/>
                <a:endParaRPr sz="2800"/>
              </a:p>
            </p:txBody>
          </p:sp>
          <p:sp>
            <p:nvSpPr>
              <p:cNvPr id="29" name="Rounded Rectangle 28">
                <a:extLst>
                  <a:ext uri="{FF2B5EF4-FFF2-40B4-BE49-F238E27FC236}">
                    <a16:creationId xmlns:a16="http://schemas.microsoft.com/office/drawing/2014/main" id="{89924F1A-AB65-D553-37D5-C3BE65B776B1}"/>
                  </a:ext>
                </a:extLst>
              </p:cNvPr>
              <p:cNvSpPr/>
              <p:nvPr/>
            </p:nvSpPr>
            <p:spPr>
              <a:xfrm>
                <a:off x="4829240" y="3374534"/>
                <a:ext cx="362694" cy="377564"/>
              </a:xfrm>
              <a:custGeom>
                <a:avLst/>
                <a:gdLst/>
                <a:ahLst/>
                <a:cxnLst/>
                <a:rect l="0" t="0" r="0" b="0"/>
                <a:pathLst>
                  <a:path w="362694" h="377564">
                    <a:moveTo>
                      <a:pt x="75924" y="377564"/>
                    </a:moveTo>
                    <a:lnTo>
                      <a:pt x="75924" y="275825"/>
                    </a:lnTo>
                    <a:cubicBezTo>
                      <a:pt x="53485" y="255037"/>
                      <a:pt x="37836" y="227966"/>
                      <a:pt x="31021" y="198147"/>
                    </a:cubicBezTo>
                    <a:cubicBezTo>
                      <a:pt x="24205" y="168328"/>
                      <a:pt x="26540" y="137146"/>
                      <a:pt x="37720" y="108674"/>
                    </a:cubicBezTo>
                    <a:cubicBezTo>
                      <a:pt x="48900" y="80203"/>
                      <a:pt x="68405" y="55764"/>
                      <a:pt x="93690" y="38549"/>
                    </a:cubicBezTo>
                    <a:cubicBezTo>
                      <a:pt x="118974" y="21335"/>
                      <a:pt x="148862" y="12145"/>
                      <a:pt x="179451" y="12179"/>
                    </a:cubicBezTo>
                    <a:cubicBezTo>
                      <a:pt x="295383" y="12179"/>
                      <a:pt x="320408" y="107634"/>
                      <a:pt x="361737" y="214846"/>
                    </a:cubicBezTo>
                    <a:cubicBezTo>
                      <a:pt x="362445" y="216692"/>
                      <a:pt x="362694" y="218682"/>
                      <a:pt x="362462" y="220645"/>
                    </a:cubicBezTo>
                    <a:cubicBezTo>
                      <a:pt x="362229" y="222608"/>
                      <a:pt x="361525" y="224486"/>
                      <a:pt x="360406" y="226116"/>
                    </a:cubicBezTo>
                    <a:cubicBezTo>
                      <a:pt x="359287" y="227745"/>
                      <a:pt x="357790" y="229078"/>
                      <a:pt x="356041" y="230001"/>
                    </a:cubicBezTo>
                    <a:cubicBezTo>
                      <a:pt x="354292" y="230923"/>
                      <a:pt x="352346" y="231407"/>
                      <a:pt x="350370" y="231410"/>
                    </a:cubicBezTo>
                    <a:lnTo>
                      <a:pt x="319515" y="231410"/>
                    </a:lnTo>
                    <a:lnTo>
                      <a:pt x="319515" y="280128"/>
                    </a:lnTo>
                    <a:cubicBezTo>
                      <a:pt x="319515" y="293050"/>
                      <a:pt x="314382" y="305440"/>
                      <a:pt x="305246" y="314577"/>
                    </a:cubicBezTo>
                    <a:cubicBezTo>
                      <a:pt x="296109" y="323713"/>
                      <a:pt x="283717" y="328846"/>
                      <a:pt x="270797" y="328846"/>
                    </a:cubicBezTo>
                    <a:lnTo>
                      <a:pt x="246438" y="328846"/>
                    </a:lnTo>
                    <a:lnTo>
                      <a:pt x="246438" y="377564"/>
                    </a:lnTo>
                    <a:moveTo>
                      <a:pt x="84233" y="159259"/>
                    </a:moveTo>
                    <a:cubicBezTo>
                      <a:pt x="84221" y="211035"/>
                      <a:pt x="126190" y="253014"/>
                      <a:pt x="177966" y="253014"/>
                    </a:cubicBezTo>
                    <a:cubicBezTo>
                      <a:pt x="229743" y="253014"/>
                      <a:pt x="271712" y="211035"/>
                      <a:pt x="271700" y="159259"/>
                    </a:cubicBezTo>
                    <a:cubicBezTo>
                      <a:pt x="271712" y="107483"/>
                      <a:pt x="229743" y="65503"/>
                      <a:pt x="177966" y="65503"/>
                    </a:cubicBezTo>
                    <a:cubicBezTo>
                      <a:pt x="126190" y="65503"/>
                      <a:pt x="84221" y="107483"/>
                      <a:pt x="84233" y="159259"/>
                    </a:cubicBezTo>
                    <a:moveTo>
                      <a:pt x="177963" y="206900"/>
                    </a:moveTo>
                    <a:cubicBezTo>
                      <a:pt x="165519" y="207098"/>
                      <a:pt x="153010" y="202449"/>
                      <a:pt x="143513" y="192952"/>
                    </a:cubicBezTo>
                    <a:moveTo>
                      <a:pt x="210892" y="201846"/>
                    </a:moveTo>
                    <a:cubicBezTo>
                      <a:pt x="201783" y="192738"/>
                      <a:pt x="189904" y="188088"/>
                      <a:pt x="177966" y="187898"/>
                    </a:cubicBezTo>
                    <a:moveTo>
                      <a:pt x="137839" y="142282"/>
                    </a:moveTo>
                    <a:cubicBezTo>
                      <a:pt x="135231" y="142282"/>
                      <a:pt x="133118" y="140168"/>
                      <a:pt x="133118" y="137561"/>
                    </a:cubicBezTo>
                    <a:cubicBezTo>
                      <a:pt x="133118" y="134954"/>
                      <a:pt x="135231" y="132840"/>
                      <a:pt x="137839" y="132840"/>
                    </a:cubicBezTo>
                    <a:moveTo>
                      <a:pt x="137841" y="132840"/>
                    </a:moveTo>
                    <a:cubicBezTo>
                      <a:pt x="140448" y="132840"/>
                      <a:pt x="142562" y="134954"/>
                      <a:pt x="142562" y="137561"/>
                    </a:cubicBezTo>
                    <a:cubicBezTo>
                      <a:pt x="142562" y="140168"/>
                      <a:pt x="140448" y="142282"/>
                      <a:pt x="137841" y="142282"/>
                    </a:cubicBezTo>
                    <a:moveTo>
                      <a:pt x="218100" y="142282"/>
                    </a:moveTo>
                    <a:cubicBezTo>
                      <a:pt x="215492" y="142282"/>
                      <a:pt x="213378" y="140168"/>
                      <a:pt x="213378" y="137561"/>
                    </a:cubicBezTo>
                    <a:cubicBezTo>
                      <a:pt x="213378" y="134954"/>
                      <a:pt x="215492" y="132840"/>
                      <a:pt x="218100" y="132840"/>
                    </a:cubicBezTo>
                    <a:moveTo>
                      <a:pt x="218102" y="132840"/>
                    </a:moveTo>
                    <a:cubicBezTo>
                      <a:pt x="220708" y="132840"/>
                      <a:pt x="222823" y="134954"/>
                      <a:pt x="222823" y="137561"/>
                    </a:cubicBezTo>
                    <a:cubicBezTo>
                      <a:pt x="222823" y="140168"/>
                      <a:pt x="220708" y="142282"/>
                      <a:pt x="218102" y="142282"/>
                    </a:cubicBezTo>
                    <a:moveTo>
                      <a:pt x="0" y="0"/>
                    </a:moveTo>
                    <a:moveTo>
                      <a:pt x="177966" y="253004"/>
                    </a:moveTo>
                    <a:lnTo>
                      <a:pt x="177966" y="65523"/>
                    </a:lnTo>
                  </a:path>
                </a:pathLst>
              </a:custGeom>
              <a:noFill/>
              <a:ln w="6089">
                <a:solidFill>
                  <a:srgbClr val="FFFFFF"/>
                </a:solidFill>
              </a:ln>
            </p:spPr>
            <p:txBody>
              <a:bodyPr rtlCol="0" anchor="ctr"/>
              <a:lstStyle/>
              <a:p>
                <a:pPr algn="ctr"/>
                <a:endParaRPr sz="2800"/>
              </a:p>
            </p:txBody>
          </p:sp>
          <p:sp>
            <p:nvSpPr>
              <p:cNvPr id="30" name="Rounded Rectangle 29">
                <a:extLst>
                  <a:ext uri="{FF2B5EF4-FFF2-40B4-BE49-F238E27FC236}">
                    <a16:creationId xmlns:a16="http://schemas.microsoft.com/office/drawing/2014/main" id="{1444B606-91FB-EC77-8D17-B407E9D2DFC0}"/>
                  </a:ext>
                </a:extLst>
              </p:cNvPr>
              <p:cNvSpPr/>
              <p:nvPr/>
            </p:nvSpPr>
            <p:spPr>
              <a:xfrm>
                <a:off x="6387706" y="3390774"/>
                <a:ext cx="374526" cy="357265"/>
              </a:xfrm>
              <a:custGeom>
                <a:avLst/>
                <a:gdLst/>
                <a:ahLst/>
                <a:cxnLst/>
                <a:rect l="0" t="0" r="0" b="0"/>
                <a:pathLst>
                  <a:path w="374526" h="357265">
                    <a:moveTo>
                      <a:pt x="276579" y="0"/>
                    </a:moveTo>
                    <a:lnTo>
                      <a:pt x="262061" y="63236"/>
                    </a:lnTo>
                    <a:moveTo>
                      <a:pt x="97947" y="0"/>
                    </a:moveTo>
                    <a:lnTo>
                      <a:pt x="112465" y="63236"/>
                    </a:lnTo>
                    <a:moveTo>
                      <a:pt x="276108" y="357265"/>
                    </a:moveTo>
                    <a:lnTo>
                      <a:pt x="262110" y="294289"/>
                    </a:lnTo>
                    <a:moveTo>
                      <a:pt x="98417" y="357265"/>
                    </a:moveTo>
                    <a:lnTo>
                      <a:pt x="112416" y="294289"/>
                    </a:lnTo>
                    <a:moveTo>
                      <a:pt x="187263" y="16239"/>
                    </a:moveTo>
                    <a:lnTo>
                      <a:pt x="187263" y="32478"/>
                    </a:lnTo>
                    <a:moveTo>
                      <a:pt x="187263" y="81196"/>
                    </a:moveTo>
                    <a:lnTo>
                      <a:pt x="187263" y="64957"/>
                    </a:lnTo>
                    <a:moveTo>
                      <a:pt x="187263" y="129914"/>
                    </a:moveTo>
                    <a:lnTo>
                      <a:pt x="187263" y="113675"/>
                    </a:lnTo>
                    <a:moveTo>
                      <a:pt x="183203" y="178632"/>
                    </a:moveTo>
                    <a:cubicBezTo>
                      <a:pt x="183203" y="176390"/>
                      <a:pt x="185021" y="174572"/>
                      <a:pt x="187263" y="174572"/>
                    </a:cubicBezTo>
                    <a:cubicBezTo>
                      <a:pt x="189505" y="174572"/>
                      <a:pt x="191323" y="176390"/>
                      <a:pt x="191323" y="178632"/>
                    </a:cubicBezTo>
                    <a:cubicBezTo>
                      <a:pt x="191323" y="180874"/>
                      <a:pt x="189505" y="182692"/>
                      <a:pt x="187263" y="182692"/>
                    </a:cubicBezTo>
                    <a:cubicBezTo>
                      <a:pt x="185021" y="182692"/>
                      <a:pt x="183203" y="180874"/>
                      <a:pt x="183203" y="178632"/>
                    </a:cubicBezTo>
                    <a:close/>
                    <a:moveTo>
                      <a:pt x="138545" y="54710"/>
                    </a:moveTo>
                    <a:cubicBezTo>
                      <a:pt x="78026" y="71785"/>
                      <a:pt x="28087" y="114627"/>
                      <a:pt x="2004" y="171844"/>
                    </a:cubicBezTo>
                    <a:cubicBezTo>
                      <a:pt x="0" y="176153"/>
                      <a:pt x="0" y="181128"/>
                      <a:pt x="2004" y="185437"/>
                    </a:cubicBezTo>
                    <a:cubicBezTo>
                      <a:pt x="14411" y="212150"/>
                      <a:pt x="67449" y="308547"/>
                      <a:pt x="187263" y="308547"/>
                    </a:cubicBezTo>
                    <a:cubicBezTo>
                      <a:pt x="307077" y="308547"/>
                      <a:pt x="360115" y="212134"/>
                      <a:pt x="372521" y="185420"/>
                    </a:cubicBezTo>
                    <a:cubicBezTo>
                      <a:pt x="374526" y="181111"/>
                      <a:pt x="374526" y="176137"/>
                      <a:pt x="372521" y="171828"/>
                    </a:cubicBezTo>
                    <a:cubicBezTo>
                      <a:pt x="346441" y="114613"/>
                      <a:pt x="296500" y="71776"/>
                      <a:pt x="235981" y="54710"/>
                    </a:cubicBezTo>
                    <a:moveTo>
                      <a:pt x="252220" y="106156"/>
                    </a:moveTo>
                    <a:cubicBezTo>
                      <a:pt x="282332" y="133088"/>
                      <a:pt x="292700" y="175809"/>
                      <a:pt x="278285" y="213548"/>
                    </a:cubicBezTo>
                    <a:cubicBezTo>
                      <a:pt x="263870" y="251287"/>
                      <a:pt x="227662" y="276217"/>
                      <a:pt x="187263" y="276217"/>
                    </a:cubicBezTo>
                    <a:cubicBezTo>
                      <a:pt x="146864" y="276217"/>
                      <a:pt x="110656" y="251287"/>
                      <a:pt x="96241" y="213548"/>
                    </a:cubicBezTo>
                    <a:cubicBezTo>
                      <a:pt x="81826" y="175809"/>
                      <a:pt x="92194" y="133088"/>
                      <a:pt x="122306" y="106156"/>
                    </a:cubicBezTo>
                    <a:moveTo>
                      <a:pt x="224435" y="162393"/>
                    </a:moveTo>
                    <a:cubicBezTo>
                      <a:pt x="231909" y="179412"/>
                      <a:pt x="226870" y="199333"/>
                      <a:pt x="212204" y="210751"/>
                    </a:cubicBezTo>
                    <a:cubicBezTo>
                      <a:pt x="197537" y="222170"/>
                      <a:pt x="176989" y="222170"/>
                      <a:pt x="162322" y="210751"/>
                    </a:cubicBezTo>
                    <a:cubicBezTo>
                      <a:pt x="147656" y="199333"/>
                      <a:pt x="142617" y="179412"/>
                      <a:pt x="150091" y="162393"/>
                    </a:cubicBezTo>
                  </a:path>
                </a:pathLst>
              </a:custGeom>
              <a:noFill/>
              <a:ln w="6089">
                <a:solidFill>
                  <a:srgbClr val="FFFFFF"/>
                </a:solidFill>
              </a:ln>
            </p:spPr>
            <p:txBody>
              <a:bodyPr rtlCol="0" anchor="ctr"/>
              <a:lstStyle/>
              <a:p>
                <a:pPr algn="ctr"/>
                <a:endParaRPr sz="2800"/>
              </a:p>
            </p:txBody>
          </p:sp>
        </p:grpSp>
      </p:grpSp>
    </p:spTree>
    <p:extLst>
      <p:ext uri="{BB962C8B-B14F-4D97-AF65-F5344CB8AC3E}">
        <p14:creationId xmlns:p14="http://schemas.microsoft.com/office/powerpoint/2010/main" val="117688825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3C86D6-E4FF-2004-EED1-E0B582117D79}"/>
              </a:ext>
            </a:extLst>
          </p:cNvPr>
          <p:cNvSpPr>
            <a:spLocks noGrp="1"/>
          </p:cNvSpPr>
          <p:nvPr>
            <p:ph type="title"/>
          </p:nvPr>
        </p:nvSpPr>
        <p:spPr/>
        <p:txBody>
          <a:bodyPr/>
          <a:lstStyle/>
          <a:p>
            <a:r>
              <a:rPr lang="en-US"/>
              <a:t>The Role of Orchestration</a:t>
            </a:r>
          </a:p>
        </p:txBody>
      </p:sp>
      <p:grpSp>
        <p:nvGrpSpPr>
          <p:cNvPr id="26" name="Group 25">
            <a:extLst>
              <a:ext uri="{FF2B5EF4-FFF2-40B4-BE49-F238E27FC236}">
                <a16:creationId xmlns:a16="http://schemas.microsoft.com/office/drawing/2014/main" id="{624807CA-E942-8689-C34C-4A6D3B31DE79}"/>
              </a:ext>
            </a:extLst>
          </p:cNvPr>
          <p:cNvGrpSpPr>
            <a:grpSpLocks noChangeAspect="1"/>
          </p:cNvGrpSpPr>
          <p:nvPr/>
        </p:nvGrpSpPr>
        <p:grpSpPr>
          <a:xfrm>
            <a:off x="1559026" y="1559903"/>
            <a:ext cx="8757914" cy="4199248"/>
            <a:chOff x="936465" y="1540448"/>
            <a:chExt cx="4800786" cy="2301884"/>
          </a:xfrm>
        </p:grpSpPr>
        <p:grpSp>
          <p:nvGrpSpPr>
            <p:cNvPr id="3" name="Group 2">
              <a:extLst>
                <a:ext uri="{FF2B5EF4-FFF2-40B4-BE49-F238E27FC236}">
                  <a16:creationId xmlns:a16="http://schemas.microsoft.com/office/drawing/2014/main" id="{3C3BA7D4-59D5-5D58-8CAD-39E6EB4AA274}"/>
                </a:ext>
              </a:extLst>
            </p:cNvPr>
            <p:cNvGrpSpPr/>
            <p:nvPr/>
          </p:nvGrpSpPr>
          <p:grpSpPr>
            <a:xfrm>
              <a:off x="936465" y="2348835"/>
              <a:ext cx="1257300" cy="571500"/>
              <a:chOff x="1028700" y="2171700"/>
              <a:chExt cx="1257300" cy="571500"/>
            </a:xfrm>
          </p:grpSpPr>
          <p:sp>
            <p:nvSpPr>
              <p:cNvPr id="4" name="Rounded Rectangle 1">
                <a:extLst>
                  <a:ext uri="{FF2B5EF4-FFF2-40B4-BE49-F238E27FC236}">
                    <a16:creationId xmlns:a16="http://schemas.microsoft.com/office/drawing/2014/main" id="{4903E97A-D2B6-C1E2-1230-E06CF27AD2C2}"/>
                  </a:ext>
                </a:extLst>
              </p:cNvPr>
              <p:cNvSpPr/>
              <p:nvPr/>
            </p:nvSpPr>
            <p:spPr>
              <a:xfrm>
                <a:off x="1028700" y="2171700"/>
                <a:ext cx="571500" cy="571500"/>
              </a:xfrm>
              <a:custGeom>
                <a:avLst/>
                <a:gdLst/>
                <a:ahLst/>
                <a:cxnLst/>
                <a:rect l="0" t="0" r="0" b="0"/>
                <a:pathLst>
                  <a:path w="571500" h="571500">
                    <a:moveTo>
                      <a:pt x="571500" y="285750"/>
                    </a:moveTo>
                    <a:cubicBezTo>
                      <a:pt x="571500" y="443564"/>
                      <a:pt x="443564" y="571500"/>
                      <a:pt x="285750" y="571500"/>
                    </a:cubicBezTo>
                    <a:cubicBezTo>
                      <a:pt x="127935" y="571500"/>
                      <a:pt x="0" y="443564"/>
                      <a:pt x="0" y="285750"/>
                    </a:cubicBezTo>
                    <a:cubicBezTo>
                      <a:pt x="0" y="127935"/>
                      <a:pt x="127935" y="0"/>
                      <a:pt x="285750" y="0"/>
                    </a:cubicBezTo>
                    <a:cubicBezTo>
                      <a:pt x="443564" y="0"/>
                      <a:pt x="571500" y="127935"/>
                      <a:pt x="571500" y="285750"/>
                    </a:cubicBezTo>
                    <a:close/>
                  </a:path>
                </a:pathLst>
              </a:custGeom>
              <a:solidFill>
                <a:srgbClr val="1D5F9C"/>
              </a:solidFill>
              <a:ln>
                <a:noFill/>
              </a:ln>
            </p:spPr>
            <p:txBody>
              <a:bodyPr rtlCol="0" anchor="ctr"/>
              <a:lstStyle/>
              <a:p>
                <a:pPr algn="ctr"/>
                <a:endParaRPr sz="4400"/>
              </a:p>
            </p:txBody>
          </p:sp>
          <p:sp>
            <p:nvSpPr>
              <p:cNvPr id="5" name="Rounded Rectangle 2">
                <a:extLst>
                  <a:ext uri="{FF2B5EF4-FFF2-40B4-BE49-F238E27FC236}">
                    <a16:creationId xmlns:a16="http://schemas.microsoft.com/office/drawing/2014/main" id="{F0957923-5D8D-96FF-3488-F777A0BEF770}"/>
                  </a:ext>
                </a:extLst>
              </p:cNvPr>
              <p:cNvSpPr/>
              <p:nvPr/>
            </p:nvSpPr>
            <p:spPr>
              <a:xfrm>
                <a:off x="1600200" y="2457450"/>
                <a:ext cx="685800" cy="9525"/>
              </a:xfrm>
              <a:custGeom>
                <a:avLst/>
                <a:gdLst/>
                <a:ahLst/>
                <a:cxnLst/>
                <a:rect l="0" t="0" r="0" b="0"/>
                <a:pathLst>
                  <a:path w="685800" h="9525">
                    <a:moveTo>
                      <a:pt x="685800" y="0"/>
                    </a:moveTo>
                    <a:lnTo>
                      <a:pt x="0" y="0"/>
                    </a:lnTo>
                  </a:path>
                </a:pathLst>
              </a:custGeom>
              <a:noFill/>
              <a:ln w="7143">
                <a:solidFill>
                  <a:srgbClr val="1D5F9C"/>
                </a:solidFill>
              </a:ln>
            </p:spPr>
            <p:txBody>
              <a:bodyPr rtlCol="0" anchor="ctr"/>
              <a:lstStyle/>
              <a:p>
                <a:pPr algn="ctr"/>
                <a:endParaRPr sz="4400"/>
              </a:p>
            </p:txBody>
          </p:sp>
          <p:sp>
            <p:nvSpPr>
              <p:cNvPr id="6" name="Rounded Rectangle 3">
                <a:extLst>
                  <a:ext uri="{FF2B5EF4-FFF2-40B4-BE49-F238E27FC236}">
                    <a16:creationId xmlns:a16="http://schemas.microsoft.com/office/drawing/2014/main" id="{17B28B74-E7FD-B65D-3A92-15184AEA0D1D}"/>
                  </a:ext>
                </a:extLst>
              </p:cNvPr>
              <p:cNvSpPr/>
              <p:nvPr/>
            </p:nvSpPr>
            <p:spPr>
              <a:xfrm>
                <a:off x="1028700" y="2171700"/>
                <a:ext cx="571500" cy="571500"/>
              </a:xfrm>
              <a:custGeom>
                <a:avLst/>
                <a:gdLst/>
                <a:ahLst/>
                <a:cxnLst/>
                <a:rect l="0" t="0" r="0" b="0"/>
                <a:pathLst>
                  <a:path w="571500" h="571500">
                    <a:moveTo>
                      <a:pt x="571500" y="285750"/>
                    </a:moveTo>
                    <a:cubicBezTo>
                      <a:pt x="571500" y="443564"/>
                      <a:pt x="443564" y="571500"/>
                      <a:pt x="285750" y="571500"/>
                    </a:cubicBezTo>
                    <a:cubicBezTo>
                      <a:pt x="127935" y="571500"/>
                      <a:pt x="0" y="443564"/>
                      <a:pt x="0" y="285750"/>
                    </a:cubicBezTo>
                    <a:cubicBezTo>
                      <a:pt x="0" y="127935"/>
                      <a:pt x="127935" y="0"/>
                      <a:pt x="285750" y="0"/>
                    </a:cubicBezTo>
                    <a:cubicBezTo>
                      <a:pt x="443564" y="0"/>
                      <a:pt x="571500" y="127935"/>
                      <a:pt x="571500" y="285750"/>
                    </a:cubicBezTo>
                    <a:close/>
                  </a:path>
                </a:pathLst>
              </a:custGeom>
              <a:noFill/>
              <a:ln w="7143">
                <a:solidFill>
                  <a:srgbClr val="1D5F9C"/>
                </a:solidFill>
              </a:ln>
            </p:spPr>
            <p:txBody>
              <a:bodyPr rtlCol="0" anchor="ctr"/>
              <a:lstStyle/>
              <a:p>
                <a:pPr algn="ctr"/>
                <a:endParaRPr sz="4400"/>
              </a:p>
            </p:txBody>
          </p:sp>
        </p:grpSp>
        <p:grpSp>
          <p:nvGrpSpPr>
            <p:cNvPr id="7" name="Group 6">
              <a:extLst>
                <a:ext uri="{FF2B5EF4-FFF2-40B4-BE49-F238E27FC236}">
                  <a16:creationId xmlns:a16="http://schemas.microsoft.com/office/drawing/2014/main" id="{689E21D0-921C-CFDB-8FD0-DD3A37A1AC0A}"/>
                </a:ext>
              </a:extLst>
            </p:cNvPr>
            <p:cNvGrpSpPr/>
            <p:nvPr/>
          </p:nvGrpSpPr>
          <p:grpSpPr>
            <a:xfrm>
              <a:off x="2193765" y="1693515"/>
              <a:ext cx="1015365" cy="941070"/>
              <a:chOff x="2286000" y="1516380"/>
              <a:chExt cx="1015365" cy="941070"/>
            </a:xfrm>
          </p:grpSpPr>
          <p:sp>
            <p:nvSpPr>
              <p:cNvPr id="8" name="Rounded Rectangle 5">
                <a:extLst>
                  <a:ext uri="{FF2B5EF4-FFF2-40B4-BE49-F238E27FC236}">
                    <a16:creationId xmlns:a16="http://schemas.microsoft.com/office/drawing/2014/main" id="{EBD83566-4C07-0AEB-2A4E-820DDC3BF6A9}"/>
                  </a:ext>
                </a:extLst>
              </p:cNvPr>
              <p:cNvSpPr/>
              <p:nvPr/>
            </p:nvSpPr>
            <p:spPr>
              <a:xfrm>
                <a:off x="2286000" y="1543050"/>
                <a:ext cx="1001648" cy="914400"/>
              </a:xfrm>
              <a:custGeom>
                <a:avLst/>
                <a:gdLst/>
                <a:ahLst/>
                <a:cxnLst/>
                <a:rect l="0" t="0" r="0" b="0"/>
                <a:pathLst>
                  <a:path w="1001648" h="914400">
                    <a:moveTo>
                      <a:pt x="1001648" y="0"/>
                    </a:moveTo>
                    <a:lnTo>
                      <a:pt x="456628" y="0"/>
                    </a:lnTo>
                    <a:cubicBezTo>
                      <a:pt x="330422" y="0"/>
                      <a:pt x="228028" y="102393"/>
                      <a:pt x="228028" y="228600"/>
                    </a:cubicBezTo>
                    <a:lnTo>
                      <a:pt x="228600" y="685800"/>
                    </a:lnTo>
                    <a:cubicBezTo>
                      <a:pt x="228600" y="811815"/>
                      <a:pt x="126015" y="914400"/>
                      <a:pt x="0" y="914400"/>
                    </a:cubicBezTo>
                  </a:path>
                </a:pathLst>
              </a:custGeom>
              <a:noFill/>
              <a:ln w="7143">
                <a:solidFill>
                  <a:srgbClr val="0D8AFF"/>
                </a:solidFill>
              </a:ln>
            </p:spPr>
            <p:txBody>
              <a:bodyPr rtlCol="0" anchor="ctr"/>
              <a:lstStyle/>
              <a:p>
                <a:pPr algn="ctr"/>
                <a:endParaRPr sz="4400"/>
              </a:p>
            </p:txBody>
          </p:sp>
          <p:sp>
            <p:nvSpPr>
              <p:cNvPr id="9" name="Rounded Rectangle 6">
                <a:extLst>
                  <a:ext uri="{FF2B5EF4-FFF2-40B4-BE49-F238E27FC236}">
                    <a16:creationId xmlns:a16="http://schemas.microsoft.com/office/drawing/2014/main" id="{DD4A54F5-EF46-D406-3607-BB3E9A419C2F}"/>
                  </a:ext>
                </a:extLst>
              </p:cNvPr>
              <p:cNvSpPr/>
              <p:nvPr/>
            </p:nvSpPr>
            <p:spPr>
              <a:xfrm>
                <a:off x="3253740" y="1516380"/>
                <a:ext cx="47625" cy="53340"/>
              </a:xfrm>
              <a:custGeom>
                <a:avLst/>
                <a:gdLst/>
                <a:ahLst/>
                <a:cxnLst/>
                <a:rect l="0" t="0" r="0" b="0"/>
                <a:pathLst>
                  <a:path w="47625" h="53340">
                    <a:moveTo>
                      <a:pt x="47625" y="26670"/>
                    </a:moveTo>
                    <a:lnTo>
                      <a:pt x="0" y="53340"/>
                    </a:lnTo>
                    <a:lnTo>
                      <a:pt x="0" y="0"/>
                    </a:lnTo>
                    <a:close/>
                  </a:path>
                </a:pathLst>
              </a:custGeom>
              <a:solidFill>
                <a:srgbClr val="0D8AFF"/>
              </a:solidFill>
              <a:ln w="7143">
                <a:solidFill>
                  <a:srgbClr val="0D8AFF"/>
                </a:solidFill>
              </a:ln>
            </p:spPr>
            <p:txBody>
              <a:bodyPr rtlCol="0" anchor="ctr"/>
              <a:lstStyle/>
              <a:p>
                <a:pPr algn="ctr"/>
                <a:endParaRPr sz="4400"/>
              </a:p>
            </p:txBody>
          </p:sp>
        </p:grpSp>
        <p:grpSp>
          <p:nvGrpSpPr>
            <p:cNvPr id="10" name="Group 9">
              <a:extLst>
                <a:ext uri="{FF2B5EF4-FFF2-40B4-BE49-F238E27FC236}">
                  <a16:creationId xmlns:a16="http://schemas.microsoft.com/office/drawing/2014/main" id="{FCC6AB25-B8AF-2F29-54C4-4524C7E91D19}"/>
                </a:ext>
              </a:extLst>
            </p:cNvPr>
            <p:cNvGrpSpPr/>
            <p:nvPr/>
          </p:nvGrpSpPr>
          <p:grpSpPr>
            <a:xfrm>
              <a:off x="2193765" y="2634585"/>
              <a:ext cx="1015365" cy="941070"/>
              <a:chOff x="2286000" y="2457450"/>
              <a:chExt cx="1015365" cy="941070"/>
            </a:xfrm>
          </p:grpSpPr>
          <p:sp>
            <p:nvSpPr>
              <p:cNvPr id="11" name="Rounded Rectangle 8">
                <a:extLst>
                  <a:ext uri="{FF2B5EF4-FFF2-40B4-BE49-F238E27FC236}">
                    <a16:creationId xmlns:a16="http://schemas.microsoft.com/office/drawing/2014/main" id="{7288290B-36E4-B16A-A45C-C88E3054F277}"/>
                  </a:ext>
                </a:extLst>
              </p:cNvPr>
              <p:cNvSpPr/>
              <p:nvPr/>
            </p:nvSpPr>
            <p:spPr>
              <a:xfrm>
                <a:off x="2286000" y="2457450"/>
                <a:ext cx="1001744" cy="914400"/>
              </a:xfrm>
              <a:custGeom>
                <a:avLst/>
                <a:gdLst/>
                <a:ahLst/>
                <a:cxnLst/>
                <a:rect l="0" t="0" r="0" b="0"/>
                <a:pathLst>
                  <a:path w="1001744" h="914400">
                    <a:moveTo>
                      <a:pt x="1001744" y="914400"/>
                    </a:moveTo>
                    <a:lnTo>
                      <a:pt x="456723" y="914400"/>
                    </a:lnTo>
                    <a:cubicBezTo>
                      <a:pt x="330517" y="914400"/>
                      <a:pt x="228600" y="812006"/>
                      <a:pt x="228600" y="685800"/>
                    </a:cubicBezTo>
                    <a:lnTo>
                      <a:pt x="228600" y="228600"/>
                    </a:lnTo>
                    <a:cubicBezTo>
                      <a:pt x="228600" y="102584"/>
                      <a:pt x="126015" y="0"/>
                      <a:pt x="0" y="0"/>
                    </a:cubicBezTo>
                  </a:path>
                </a:pathLst>
              </a:custGeom>
              <a:noFill/>
              <a:ln w="7143">
                <a:solidFill>
                  <a:srgbClr val="8AC6FF"/>
                </a:solidFill>
              </a:ln>
            </p:spPr>
            <p:txBody>
              <a:bodyPr rtlCol="0" anchor="ctr"/>
              <a:lstStyle/>
              <a:p>
                <a:pPr algn="ctr"/>
                <a:endParaRPr sz="4400"/>
              </a:p>
            </p:txBody>
          </p:sp>
          <p:sp>
            <p:nvSpPr>
              <p:cNvPr id="12" name="Rounded Rectangle 9">
                <a:extLst>
                  <a:ext uri="{FF2B5EF4-FFF2-40B4-BE49-F238E27FC236}">
                    <a16:creationId xmlns:a16="http://schemas.microsoft.com/office/drawing/2014/main" id="{C8CBAB74-4A43-6DA0-8DCD-B689037CC98A}"/>
                  </a:ext>
                </a:extLst>
              </p:cNvPr>
              <p:cNvSpPr/>
              <p:nvPr/>
            </p:nvSpPr>
            <p:spPr>
              <a:xfrm>
                <a:off x="3253740" y="3345180"/>
                <a:ext cx="47625" cy="53340"/>
              </a:xfrm>
              <a:custGeom>
                <a:avLst/>
                <a:gdLst/>
                <a:ahLst/>
                <a:cxnLst/>
                <a:rect l="0" t="0" r="0" b="0"/>
                <a:pathLst>
                  <a:path w="47625" h="53340">
                    <a:moveTo>
                      <a:pt x="47625" y="26670"/>
                    </a:moveTo>
                    <a:lnTo>
                      <a:pt x="0" y="53340"/>
                    </a:lnTo>
                    <a:lnTo>
                      <a:pt x="0" y="0"/>
                    </a:lnTo>
                    <a:close/>
                  </a:path>
                </a:pathLst>
              </a:custGeom>
              <a:solidFill>
                <a:srgbClr val="8AC6FF"/>
              </a:solidFill>
              <a:ln w="7143">
                <a:solidFill>
                  <a:srgbClr val="8AC6FF"/>
                </a:solidFill>
              </a:ln>
            </p:spPr>
            <p:txBody>
              <a:bodyPr rtlCol="0" anchor="ctr"/>
              <a:lstStyle/>
              <a:p>
                <a:pPr algn="ctr"/>
                <a:endParaRPr sz="4400"/>
              </a:p>
            </p:txBody>
          </p:sp>
        </p:grpSp>
        <p:grpSp>
          <p:nvGrpSpPr>
            <p:cNvPr id="13" name="Group 12">
              <a:extLst>
                <a:ext uri="{FF2B5EF4-FFF2-40B4-BE49-F238E27FC236}">
                  <a16:creationId xmlns:a16="http://schemas.microsoft.com/office/drawing/2014/main" id="{0A3577D2-D672-82DB-CBE7-D64241B4B378}"/>
                </a:ext>
              </a:extLst>
            </p:cNvPr>
            <p:cNvGrpSpPr/>
            <p:nvPr/>
          </p:nvGrpSpPr>
          <p:grpSpPr>
            <a:xfrm>
              <a:off x="2193765" y="2607915"/>
              <a:ext cx="1015365" cy="53340"/>
              <a:chOff x="2286000" y="2430780"/>
              <a:chExt cx="1015365" cy="53340"/>
            </a:xfrm>
          </p:grpSpPr>
          <p:sp>
            <p:nvSpPr>
              <p:cNvPr id="14" name="Rounded Rectangle 11">
                <a:extLst>
                  <a:ext uri="{FF2B5EF4-FFF2-40B4-BE49-F238E27FC236}">
                    <a16:creationId xmlns:a16="http://schemas.microsoft.com/office/drawing/2014/main" id="{1E0BA6E0-9D9E-4681-DB14-62CEC5D0C708}"/>
                  </a:ext>
                </a:extLst>
              </p:cNvPr>
              <p:cNvSpPr/>
              <p:nvPr/>
            </p:nvSpPr>
            <p:spPr>
              <a:xfrm>
                <a:off x="2286000" y="2457450"/>
                <a:ext cx="1001744" cy="9525"/>
              </a:xfrm>
              <a:custGeom>
                <a:avLst/>
                <a:gdLst/>
                <a:ahLst/>
                <a:cxnLst/>
                <a:rect l="0" t="0" r="0" b="0"/>
                <a:pathLst>
                  <a:path w="1001744" h="9525">
                    <a:moveTo>
                      <a:pt x="1001744" y="0"/>
                    </a:moveTo>
                    <a:lnTo>
                      <a:pt x="0" y="0"/>
                    </a:lnTo>
                  </a:path>
                </a:pathLst>
              </a:custGeom>
              <a:noFill/>
              <a:ln w="7143">
                <a:solidFill>
                  <a:srgbClr val="329CFF"/>
                </a:solidFill>
              </a:ln>
            </p:spPr>
            <p:txBody>
              <a:bodyPr rtlCol="0" anchor="ctr"/>
              <a:lstStyle/>
              <a:p>
                <a:pPr algn="ctr"/>
                <a:endParaRPr sz="4400"/>
              </a:p>
            </p:txBody>
          </p:sp>
          <p:sp>
            <p:nvSpPr>
              <p:cNvPr id="15" name="Rounded Rectangle 12">
                <a:extLst>
                  <a:ext uri="{FF2B5EF4-FFF2-40B4-BE49-F238E27FC236}">
                    <a16:creationId xmlns:a16="http://schemas.microsoft.com/office/drawing/2014/main" id="{580AE9C3-11A5-93ED-4768-0AD1184053C3}"/>
                  </a:ext>
                </a:extLst>
              </p:cNvPr>
              <p:cNvSpPr/>
              <p:nvPr/>
            </p:nvSpPr>
            <p:spPr>
              <a:xfrm>
                <a:off x="3253740" y="2430780"/>
                <a:ext cx="47625" cy="53340"/>
              </a:xfrm>
              <a:custGeom>
                <a:avLst/>
                <a:gdLst/>
                <a:ahLst/>
                <a:cxnLst/>
                <a:rect l="0" t="0" r="0" b="0"/>
                <a:pathLst>
                  <a:path w="47625" h="53340">
                    <a:moveTo>
                      <a:pt x="47625" y="26670"/>
                    </a:moveTo>
                    <a:lnTo>
                      <a:pt x="0" y="53340"/>
                    </a:lnTo>
                    <a:lnTo>
                      <a:pt x="0" y="0"/>
                    </a:lnTo>
                    <a:close/>
                  </a:path>
                </a:pathLst>
              </a:custGeom>
              <a:solidFill>
                <a:srgbClr val="329CFF"/>
              </a:solidFill>
              <a:ln w="7143">
                <a:solidFill>
                  <a:srgbClr val="329CFF"/>
                </a:solidFill>
              </a:ln>
            </p:spPr>
            <p:txBody>
              <a:bodyPr rtlCol="0" anchor="ctr"/>
              <a:lstStyle/>
              <a:p>
                <a:pPr algn="ctr"/>
                <a:endParaRPr sz="4400"/>
              </a:p>
            </p:txBody>
          </p:sp>
        </p:grpSp>
        <p:sp>
          <p:nvSpPr>
            <p:cNvPr id="16" name="TextBox 15">
              <a:extLst>
                <a:ext uri="{FF2B5EF4-FFF2-40B4-BE49-F238E27FC236}">
                  <a16:creationId xmlns:a16="http://schemas.microsoft.com/office/drawing/2014/main" id="{F372D49F-3AD8-8A95-DE11-128ECC63EE28}"/>
                </a:ext>
              </a:extLst>
            </p:cNvPr>
            <p:cNvSpPr txBox="1"/>
            <p:nvPr/>
          </p:nvSpPr>
          <p:spPr>
            <a:xfrm>
              <a:off x="3813015" y="1540448"/>
              <a:ext cx="954878" cy="134970"/>
            </a:xfrm>
            <a:prstGeom prst="rect">
              <a:avLst/>
            </a:prstGeom>
            <a:noFill/>
            <a:ln>
              <a:noFill/>
            </a:ln>
          </p:spPr>
          <p:txBody>
            <a:bodyPr wrap="none" lIns="0" tIns="0" rIns="0" bIns="0" anchor="t">
              <a:spAutoFit/>
            </a:bodyPr>
            <a:lstStyle/>
            <a:p>
              <a:pPr algn="l"/>
              <a:r>
                <a:rPr sz="1600" b="1">
                  <a:solidFill>
                    <a:srgbClr val="1A1A1A"/>
                  </a:solidFill>
                  <a:latin typeface="Arial"/>
                </a:rPr>
                <a:t>Manage Workflow</a:t>
              </a:r>
            </a:p>
          </p:txBody>
        </p:sp>
        <p:sp>
          <p:nvSpPr>
            <p:cNvPr id="17" name="TextBox 16">
              <a:extLst>
                <a:ext uri="{FF2B5EF4-FFF2-40B4-BE49-F238E27FC236}">
                  <a16:creationId xmlns:a16="http://schemas.microsoft.com/office/drawing/2014/main" id="{CB7C15FE-F3ED-AC4F-2BCD-28BAD1D46BD1}"/>
                </a:ext>
              </a:extLst>
            </p:cNvPr>
            <p:cNvSpPr txBox="1"/>
            <p:nvPr/>
          </p:nvSpPr>
          <p:spPr>
            <a:xfrm>
              <a:off x="3813015" y="1777335"/>
              <a:ext cx="1924236" cy="236197"/>
            </a:xfrm>
            <a:prstGeom prst="rect">
              <a:avLst/>
            </a:prstGeom>
            <a:noFill/>
            <a:ln>
              <a:noFill/>
            </a:ln>
          </p:spPr>
          <p:txBody>
            <a:bodyPr wrap="none" lIns="0" tIns="0" rIns="0" bIns="0" anchor="t">
              <a:spAutoFit/>
            </a:bodyPr>
            <a:lstStyle/>
            <a:p>
              <a:pPr algn="l"/>
              <a:r>
                <a:rPr sz="1400" b="0">
                  <a:solidFill>
                    <a:srgbClr val="1A1A1A"/>
                  </a:solidFill>
                  <a:latin typeface="Arial"/>
                </a:rPr>
                <a:t>Ensures tasks are handled in the right order,
preventing bottlenecks.</a:t>
              </a:r>
            </a:p>
          </p:txBody>
        </p:sp>
        <p:sp>
          <p:nvSpPr>
            <p:cNvPr id="18" name="TextBox 17">
              <a:extLst>
                <a:ext uri="{FF2B5EF4-FFF2-40B4-BE49-F238E27FC236}">
                  <a16:creationId xmlns:a16="http://schemas.microsoft.com/office/drawing/2014/main" id="{E87AB48A-2C3F-2879-5C83-1D16A494C5DB}"/>
                </a:ext>
              </a:extLst>
            </p:cNvPr>
            <p:cNvSpPr txBox="1"/>
            <p:nvPr/>
          </p:nvSpPr>
          <p:spPr>
            <a:xfrm>
              <a:off x="3813015" y="2454848"/>
              <a:ext cx="1742484" cy="134970"/>
            </a:xfrm>
            <a:prstGeom prst="rect">
              <a:avLst/>
            </a:prstGeom>
            <a:noFill/>
            <a:ln>
              <a:noFill/>
            </a:ln>
          </p:spPr>
          <p:txBody>
            <a:bodyPr wrap="none" lIns="0" tIns="0" rIns="0" bIns="0" anchor="t">
              <a:spAutoFit/>
            </a:bodyPr>
            <a:lstStyle/>
            <a:p>
              <a:pPr algn="l"/>
              <a:r>
                <a:rPr sz="1600" b="1">
                  <a:solidFill>
                    <a:srgbClr val="1A1A1A"/>
                  </a:solidFill>
                  <a:latin typeface="Arial"/>
                </a:rPr>
                <a:t>Handle Dependencies &amp; Failures</a:t>
              </a:r>
            </a:p>
          </p:txBody>
        </p:sp>
        <p:sp>
          <p:nvSpPr>
            <p:cNvPr id="19" name="TextBox 18">
              <a:extLst>
                <a:ext uri="{FF2B5EF4-FFF2-40B4-BE49-F238E27FC236}">
                  <a16:creationId xmlns:a16="http://schemas.microsoft.com/office/drawing/2014/main" id="{075735A4-BCAD-2ABE-F3DE-8CBC3BE40C00}"/>
                </a:ext>
              </a:extLst>
            </p:cNvPr>
            <p:cNvSpPr txBox="1"/>
            <p:nvPr/>
          </p:nvSpPr>
          <p:spPr>
            <a:xfrm>
              <a:off x="3813015" y="2691735"/>
              <a:ext cx="1841778" cy="236197"/>
            </a:xfrm>
            <a:prstGeom prst="rect">
              <a:avLst/>
            </a:prstGeom>
            <a:noFill/>
            <a:ln>
              <a:noFill/>
            </a:ln>
          </p:spPr>
          <p:txBody>
            <a:bodyPr wrap="none" lIns="0" tIns="0" rIns="0" bIns="0" anchor="t">
              <a:spAutoFit/>
            </a:bodyPr>
            <a:lstStyle/>
            <a:p>
              <a:pPr algn="l"/>
              <a:r>
                <a:rPr sz="1400" b="0">
                  <a:solidFill>
                    <a:srgbClr val="1A1A1A"/>
                  </a:solidFill>
                  <a:latin typeface="Arial"/>
                </a:rPr>
                <a:t>Prevents system-wide problems by
managing agent dependencies and errors.</a:t>
              </a:r>
            </a:p>
          </p:txBody>
        </p:sp>
        <p:sp>
          <p:nvSpPr>
            <p:cNvPr id="20" name="TextBox 19">
              <a:extLst>
                <a:ext uri="{FF2B5EF4-FFF2-40B4-BE49-F238E27FC236}">
                  <a16:creationId xmlns:a16="http://schemas.microsoft.com/office/drawing/2014/main" id="{7AE5082A-9356-009F-0529-6171C5ACD619}"/>
                </a:ext>
              </a:extLst>
            </p:cNvPr>
            <p:cNvSpPr txBox="1"/>
            <p:nvPr/>
          </p:nvSpPr>
          <p:spPr>
            <a:xfrm>
              <a:off x="3813015" y="3369248"/>
              <a:ext cx="1039726" cy="134970"/>
            </a:xfrm>
            <a:prstGeom prst="rect">
              <a:avLst/>
            </a:prstGeom>
            <a:noFill/>
            <a:ln>
              <a:noFill/>
            </a:ln>
          </p:spPr>
          <p:txBody>
            <a:bodyPr wrap="none" lIns="0" tIns="0" rIns="0" bIns="0" anchor="t">
              <a:spAutoFit/>
            </a:bodyPr>
            <a:lstStyle/>
            <a:p>
              <a:pPr algn="l"/>
              <a:r>
                <a:rPr sz="1600" b="1">
                  <a:solidFill>
                    <a:srgbClr val="1A1A1A"/>
                  </a:solidFill>
                  <a:latin typeface="Arial"/>
                </a:rPr>
                <a:t>Enable Adaptability</a:t>
              </a:r>
            </a:p>
          </p:txBody>
        </p:sp>
        <p:sp>
          <p:nvSpPr>
            <p:cNvPr id="21" name="TextBox 20">
              <a:extLst>
                <a:ext uri="{FF2B5EF4-FFF2-40B4-BE49-F238E27FC236}">
                  <a16:creationId xmlns:a16="http://schemas.microsoft.com/office/drawing/2014/main" id="{5ADFD6B8-4A1B-F26A-B048-6150D6F460DA}"/>
                </a:ext>
              </a:extLst>
            </p:cNvPr>
            <p:cNvSpPr txBox="1"/>
            <p:nvPr/>
          </p:nvSpPr>
          <p:spPr>
            <a:xfrm>
              <a:off x="3813015" y="3606135"/>
              <a:ext cx="1745999" cy="236197"/>
            </a:xfrm>
            <a:prstGeom prst="rect">
              <a:avLst/>
            </a:prstGeom>
            <a:noFill/>
            <a:ln>
              <a:noFill/>
            </a:ln>
          </p:spPr>
          <p:txBody>
            <a:bodyPr wrap="none" lIns="0" tIns="0" rIns="0" bIns="0" anchor="t">
              <a:spAutoFit/>
            </a:bodyPr>
            <a:lstStyle/>
            <a:p>
              <a:pPr algn="l"/>
              <a:r>
                <a:rPr sz="1400" b="0">
                  <a:solidFill>
                    <a:srgbClr val="1A1A1A"/>
                  </a:solidFill>
                  <a:latin typeface="Arial"/>
                </a:rPr>
                <a:t>Allows the system to remain flexible and
adaptable to changes.</a:t>
              </a:r>
            </a:p>
          </p:txBody>
        </p:sp>
        <p:sp>
          <p:nvSpPr>
            <p:cNvPr id="22" name="Rounded Rectangle 21">
              <a:extLst>
                <a:ext uri="{FF2B5EF4-FFF2-40B4-BE49-F238E27FC236}">
                  <a16:creationId xmlns:a16="http://schemas.microsoft.com/office/drawing/2014/main" id="{21BE87F5-EC76-7800-0E40-F996FA8E9D61}"/>
                </a:ext>
              </a:extLst>
            </p:cNvPr>
            <p:cNvSpPr/>
            <p:nvPr/>
          </p:nvSpPr>
          <p:spPr>
            <a:xfrm>
              <a:off x="3336765" y="1548735"/>
              <a:ext cx="332184" cy="332184"/>
            </a:xfrm>
            <a:custGeom>
              <a:avLst/>
              <a:gdLst/>
              <a:ahLst/>
              <a:cxnLst/>
              <a:rect l="0" t="0" r="0" b="0"/>
              <a:pathLst>
                <a:path w="332184" h="332184">
                  <a:moveTo>
                    <a:pt x="49292" y="96440"/>
                  </a:moveTo>
                  <a:cubicBezTo>
                    <a:pt x="69019" y="96440"/>
                    <a:pt x="85011" y="80448"/>
                    <a:pt x="85011" y="60721"/>
                  </a:cubicBezTo>
                  <a:cubicBezTo>
                    <a:pt x="85011" y="40994"/>
                    <a:pt x="69019" y="25003"/>
                    <a:pt x="49292" y="25003"/>
                  </a:cubicBezTo>
                  <a:cubicBezTo>
                    <a:pt x="29565" y="25003"/>
                    <a:pt x="13574" y="40994"/>
                    <a:pt x="13574" y="60721"/>
                  </a:cubicBezTo>
                  <a:cubicBezTo>
                    <a:pt x="13574" y="80448"/>
                    <a:pt x="29565" y="96440"/>
                    <a:pt x="49292" y="96440"/>
                  </a:cubicBezTo>
                  <a:close/>
                  <a:moveTo>
                    <a:pt x="300751" y="92158"/>
                  </a:moveTo>
                  <a:cubicBezTo>
                    <a:pt x="318111" y="92158"/>
                    <a:pt x="332184" y="78085"/>
                    <a:pt x="332184" y="60726"/>
                  </a:cubicBezTo>
                  <a:cubicBezTo>
                    <a:pt x="332184" y="43366"/>
                    <a:pt x="318111" y="29293"/>
                    <a:pt x="300751" y="29293"/>
                  </a:cubicBezTo>
                  <a:cubicBezTo>
                    <a:pt x="283391" y="29293"/>
                    <a:pt x="269319" y="43366"/>
                    <a:pt x="269319" y="60726"/>
                  </a:cubicBezTo>
                  <a:cubicBezTo>
                    <a:pt x="269319" y="78085"/>
                    <a:pt x="283391" y="92158"/>
                    <a:pt x="300751" y="92158"/>
                  </a:cubicBezTo>
                  <a:close/>
                  <a:moveTo>
                    <a:pt x="300751" y="199314"/>
                  </a:moveTo>
                  <a:cubicBezTo>
                    <a:pt x="318111" y="199314"/>
                    <a:pt x="332184" y="185241"/>
                    <a:pt x="332184" y="167882"/>
                  </a:cubicBezTo>
                  <a:cubicBezTo>
                    <a:pt x="332184" y="150523"/>
                    <a:pt x="318111" y="136449"/>
                    <a:pt x="300751" y="136449"/>
                  </a:cubicBezTo>
                  <a:cubicBezTo>
                    <a:pt x="283391" y="136449"/>
                    <a:pt x="269319" y="150523"/>
                    <a:pt x="269319" y="167882"/>
                  </a:cubicBezTo>
                  <a:cubicBezTo>
                    <a:pt x="269319" y="185241"/>
                    <a:pt x="283391" y="199314"/>
                    <a:pt x="300751" y="199314"/>
                  </a:cubicBezTo>
                  <a:close/>
                  <a:moveTo>
                    <a:pt x="300751" y="306471"/>
                  </a:moveTo>
                  <a:cubicBezTo>
                    <a:pt x="318111" y="306471"/>
                    <a:pt x="332184" y="292397"/>
                    <a:pt x="332184" y="275038"/>
                  </a:cubicBezTo>
                  <a:cubicBezTo>
                    <a:pt x="332184" y="257679"/>
                    <a:pt x="318111" y="243606"/>
                    <a:pt x="300751" y="243606"/>
                  </a:cubicBezTo>
                  <a:cubicBezTo>
                    <a:pt x="283391" y="243606"/>
                    <a:pt x="269319" y="257679"/>
                    <a:pt x="269319" y="275038"/>
                  </a:cubicBezTo>
                  <a:cubicBezTo>
                    <a:pt x="269319" y="292397"/>
                    <a:pt x="283391" y="306471"/>
                    <a:pt x="300751" y="306471"/>
                  </a:cubicBezTo>
                  <a:close/>
                  <a:moveTo>
                    <a:pt x="89297" y="310753"/>
                  </a:moveTo>
                  <a:lnTo>
                    <a:pt x="49291" y="246459"/>
                  </a:lnTo>
                  <a:lnTo>
                    <a:pt x="10715" y="310753"/>
                  </a:lnTo>
                  <a:lnTo>
                    <a:pt x="89297" y="310753"/>
                  </a:lnTo>
                  <a:close/>
                  <a:moveTo>
                    <a:pt x="0" y="0"/>
                  </a:moveTo>
                  <a:moveTo>
                    <a:pt x="17459" y="203596"/>
                  </a:moveTo>
                  <a:lnTo>
                    <a:pt x="81753" y="203596"/>
                  </a:lnTo>
                  <a:lnTo>
                    <a:pt x="81753" y="139303"/>
                  </a:lnTo>
                  <a:lnTo>
                    <a:pt x="17459" y="139303"/>
                  </a:lnTo>
                  <a:lnTo>
                    <a:pt x="17459" y="203596"/>
                  </a:lnTo>
                  <a:close/>
                  <a:moveTo>
                    <a:pt x="239317" y="10715"/>
                  </a:moveTo>
                  <a:lnTo>
                    <a:pt x="203598" y="10715"/>
                  </a:lnTo>
                  <a:lnTo>
                    <a:pt x="203598" y="332184"/>
                  </a:lnTo>
                  <a:lnTo>
                    <a:pt x="239317" y="332184"/>
                  </a:lnTo>
                  <a:moveTo>
                    <a:pt x="125016" y="171450"/>
                  </a:moveTo>
                  <a:lnTo>
                    <a:pt x="203598" y="171450"/>
                  </a:lnTo>
                </a:path>
              </a:pathLst>
            </a:custGeom>
            <a:noFill/>
            <a:ln w="7143">
              <a:solidFill>
                <a:srgbClr val="1A1A1A"/>
              </a:solidFill>
            </a:ln>
          </p:spPr>
          <p:txBody>
            <a:bodyPr rtlCol="0" anchor="ctr"/>
            <a:lstStyle/>
            <a:p>
              <a:pPr algn="ctr"/>
              <a:endParaRPr sz="4400"/>
            </a:p>
          </p:txBody>
        </p:sp>
        <p:sp>
          <p:nvSpPr>
            <p:cNvPr id="23" name="Rounded Rectangle 22">
              <a:extLst>
                <a:ext uri="{FF2B5EF4-FFF2-40B4-BE49-F238E27FC236}">
                  <a16:creationId xmlns:a16="http://schemas.microsoft.com/office/drawing/2014/main" id="{D8D7E608-08F7-09DD-0D8E-AF5B5D925A90}"/>
                </a:ext>
              </a:extLst>
            </p:cNvPr>
            <p:cNvSpPr/>
            <p:nvPr/>
          </p:nvSpPr>
          <p:spPr>
            <a:xfrm>
              <a:off x="1082197" y="2474479"/>
              <a:ext cx="280034" cy="327198"/>
            </a:xfrm>
            <a:custGeom>
              <a:avLst/>
              <a:gdLst/>
              <a:ahLst/>
              <a:cxnLst/>
              <a:rect l="0" t="0" r="0" b="0"/>
              <a:pathLst>
                <a:path w="280034" h="327198">
                  <a:moveTo>
                    <a:pt x="142874" y="130016"/>
                  </a:moveTo>
                  <a:cubicBezTo>
                    <a:pt x="128587" y="115728"/>
                    <a:pt x="100012" y="108585"/>
                    <a:pt x="85724" y="122872"/>
                  </a:cubicBezTo>
                  <a:moveTo>
                    <a:pt x="1428" y="158591"/>
                  </a:moveTo>
                  <a:cubicBezTo>
                    <a:pt x="0" y="152876"/>
                    <a:pt x="0" y="147161"/>
                    <a:pt x="0" y="140017"/>
                  </a:cubicBezTo>
                  <a:cubicBezTo>
                    <a:pt x="0" y="62864"/>
                    <a:pt x="62865" y="0"/>
                    <a:pt x="140017" y="0"/>
                  </a:cubicBezTo>
                  <a:cubicBezTo>
                    <a:pt x="217169" y="0"/>
                    <a:pt x="280034" y="62864"/>
                    <a:pt x="280034" y="140017"/>
                  </a:cubicBezTo>
                  <a:cubicBezTo>
                    <a:pt x="280034" y="191452"/>
                    <a:pt x="252888" y="235743"/>
                    <a:pt x="211455" y="260032"/>
                  </a:cubicBezTo>
                  <a:moveTo>
                    <a:pt x="113585" y="311553"/>
                  </a:moveTo>
                  <a:cubicBezTo>
                    <a:pt x="142160" y="300123"/>
                    <a:pt x="136802" y="274934"/>
                    <a:pt x="131087" y="252074"/>
                  </a:cubicBezTo>
                  <a:lnTo>
                    <a:pt x="176579" y="234457"/>
                  </a:lnTo>
                  <a:cubicBezTo>
                    <a:pt x="187124" y="230376"/>
                    <a:pt x="192639" y="218763"/>
                    <a:pt x="189137" y="208011"/>
                  </a:cubicBezTo>
                  <a:lnTo>
                    <a:pt x="189137" y="208011"/>
                  </a:lnTo>
                  <a:cubicBezTo>
                    <a:pt x="187326" y="202450"/>
                    <a:pt x="183308" y="197879"/>
                    <a:pt x="178024" y="195372"/>
                  </a:cubicBezTo>
                  <a:cubicBezTo>
                    <a:pt x="172741" y="192864"/>
                    <a:pt x="166659" y="192640"/>
                    <a:pt x="161205" y="194752"/>
                  </a:cubicBezTo>
                  <a:lnTo>
                    <a:pt x="77509" y="227185"/>
                  </a:lnTo>
                  <a:cubicBezTo>
                    <a:pt x="70365" y="230043"/>
                    <a:pt x="61793" y="224328"/>
                    <a:pt x="61793" y="217184"/>
                  </a:cubicBezTo>
                  <a:lnTo>
                    <a:pt x="61236" y="203654"/>
                  </a:lnTo>
                  <a:cubicBezTo>
                    <a:pt x="61007" y="198141"/>
                    <a:pt x="58503" y="192970"/>
                    <a:pt x="54319" y="189373"/>
                  </a:cubicBezTo>
                  <a:cubicBezTo>
                    <a:pt x="50134" y="185777"/>
                    <a:pt x="44646" y="184077"/>
                    <a:pt x="39162" y="184680"/>
                  </a:cubicBezTo>
                  <a:lnTo>
                    <a:pt x="39162" y="184680"/>
                  </a:lnTo>
                  <a:cubicBezTo>
                    <a:pt x="29072" y="185794"/>
                    <a:pt x="21435" y="194317"/>
                    <a:pt x="21431" y="204468"/>
                  </a:cubicBezTo>
                  <a:lnTo>
                    <a:pt x="21431" y="262904"/>
                  </a:lnTo>
                  <a:cubicBezTo>
                    <a:pt x="21431" y="300051"/>
                    <a:pt x="55721" y="327198"/>
                    <a:pt x="91440" y="318625"/>
                  </a:cubicBezTo>
                  <a:cubicBezTo>
                    <a:pt x="91440" y="318625"/>
                    <a:pt x="106441" y="314410"/>
                    <a:pt x="113585" y="311553"/>
                  </a:cubicBezTo>
                  <a:close/>
                  <a:moveTo>
                    <a:pt x="72509" y="72866"/>
                  </a:moveTo>
                  <a:cubicBezTo>
                    <a:pt x="69550" y="72866"/>
                    <a:pt x="67151" y="70467"/>
                    <a:pt x="67151" y="67508"/>
                  </a:cubicBezTo>
                  <a:cubicBezTo>
                    <a:pt x="67151" y="64549"/>
                    <a:pt x="69550" y="62150"/>
                    <a:pt x="72509" y="62150"/>
                  </a:cubicBezTo>
                  <a:moveTo>
                    <a:pt x="72509" y="62150"/>
                  </a:moveTo>
                  <a:cubicBezTo>
                    <a:pt x="75468" y="62150"/>
                    <a:pt x="77866" y="64549"/>
                    <a:pt x="77866" y="67508"/>
                  </a:cubicBezTo>
                  <a:cubicBezTo>
                    <a:pt x="77866" y="70467"/>
                    <a:pt x="75468" y="72866"/>
                    <a:pt x="72509" y="72866"/>
                  </a:cubicBezTo>
                  <a:moveTo>
                    <a:pt x="148590" y="72866"/>
                  </a:moveTo>
                  <a:cubicBezTo>
                    <a:pt x="145630" y="72866"/>
                    <a:pt x="143232" y="70467"/>
                    <a:pt x="143232" y="67508"/>
                  </a:cubicBezTo>
                  <a:cubicBezTo>
                    <a:pt x="143232" y="64549"/>
                    <a:pt x="145630" y="62150"/>
                    <a:pt x="148590" y="62150"/>
                  </a:cubicBezTo>
                  <a:moveTo>
                    <a:pt x="148590" y="62150"/>
                  </a:moveTo>
                  <a:cubicBezTo>
                    <a:pt x="151549" y="62150"/>
                    <a:pt x="153947" y="64549"/>
                    <a:pt x="153947" y="67508"/>
                  </a:cubicBezTo>
                  <a:cubicBezTo>
                    <a:pt x="153947" y="70467"/>
                    <a:pt x="151549" y="72866"/>
                    <a:pt x="148590" y="72866"/>
                  </a:cubicBezTo>
                </a:path>
              </a:pathLst>
            </a:custGeom>
            <a:noFill/>
            <a:ln w="7143">
              <a:solidFill>
                <a:srgbClr val="FFFFFF"/>
              </a:solidFill>
            </a:ln>
          </p:spPr>
          <p:txBody>
            <a:bodyPr rtlCol="0" anchor="ctr"/>
            <a:lstStyle/>
            <a:p>
              <a:pPr algn="ctr"/>
              <a:endParaRPr sz="4400"/>
            </a:p>
          </p:txBody>
        </p:sp>
        <p:sp>
          <p:nvSpPr>
            <p:cNvPr id="24" name="Rounded Rectangle 23">
              <a:extLst>
                <a:ext uri="{FF2B5EF4-FFF2-40B4-BE49-F238E27FC236}">
                  <a16:creationId xmlns:a16="http://schemas.microsoft.com/office/drawing/2014/main" id="{824DEF39-0E20-B17E-A118-CC88FDA87329}"/>
                </a:ext>
              </a:extLst>
            </p:cNvPr>
            <p:cNvSpPr/>
            <p:nvPr/>
          </p:nvSpPr>
          <p:spPr>
            <a:xfrm>
              <a:off x="3347480" y="2475279"/>
              <a:ext cx="321468" cy="318611"/>
            </a:xfrm>
            <a:custGeom>
              <a:avLst/>
              <a:gdLst/>
              <a:ahLst/>
              <a:cxnLst/>
              <a:rect l="0" t="0" r="0" b="0"/>
              <a:pathLst>
                <a:path w="321468" h="318611">
                  <a:moveTo>
                    <a:pt x="160734" y="197167"/>
                  </a:moveTo>
                  <a:lnTo>
                    <a:pt x="160734" y="261461"/>
                  </a:lnTo>
                  <a:moveTo>
                    <a:pt x="292893" y="261461"/>
                  </a:moveTo>
                  <a:lnTo>
                    <a:pt x="292893" y="235743"/>
                  </a:lnTo>
                  <a:cubicBezTo>
                    <a:pt x="292893" y="227171"/>
                    <a:pt x="287178" y="221456"/>
                    <a:pt x="278606" y="221456"/>
                  </a:cubicBezTo>
                  <a:lnTo>
                    <a:pt x="42862" y="221456"/>
                  </a:lnTo>
                  <a:cubicBezTo>
                    <a:pt x="34290" y="221456"/>
                    <a:pt x="28575" y="227171"/>
                    <a:pt x="28575" y="235743"/>
                  </a:cubicBezTo>
                  <a:lnTo>
                    <a:pt x="28575" y="261461"/>
                  </a:lnTo>
                  <a:moveTo>
                    <a:pt x="139303" y="118586"/>
                  </a:moveTo>
                  <a:lnTo>
                    <a:pt x="139303" y="14287"/>
                  </a:lnTo>
                  <a:cubicBezTo>
                    <a:pt x="139303" y="5715"/>
                    <a:pt x="145018" y="0"/>
                    <a:pt x="153590" y="0"/>
                  </a:cubicBezTo>
                  <a:lnTo>
                    <a:pt x="167878" y="0"/>
                  </a:lnTo>
                  <a:cubicBezTo>
                    <a:pt x="176450" y="0"/>
                    <a:pt x="182165" y="5715"/>
                    <a:pt x="182165" y="14287"/>
                  </a:cubicBezTo>
                  <a:lnTo>
                    <a:pt x="182165" y="117157"/>
                  </a:lnTo>
                  <a:moveTo>
                    <a:pt x="267890" y="147161"/>
                  </a:moveTo>
                  <a:cubicBezTo>
                    <a:pt x="267890" y="155733"/>
                    <a:pt x="262175" y="161448"/>
                    <a:pt x="253603" y="161448"/>
                  </a:cubicBezTo>
                  <a:lnTo>
                    <a:pt x="67865" y="161448"/>
                  </a:lnTo>
                  <a:cubicBezTo>
                    <a:pt x="59293" y="161448"/>
                    <a:pt x="53578" y="155733"/>
                    <a:pt x="53578" y="147161"/>
                  </a:cubicBezTo>
                  <a:lnTo>
                    <a:pt x="53578" y="132873"/>
                  </a:lnTo>
                  <a:cubicBezTo>
                    <a:pt x="53578" y="124301"/>
                    <a:pt x="59293" y="118586"/>
                    <a:pt x="67865" y="118586"/>
                  </a:cubicBezTo>
                  <a:lnTo>
                    <a:pt x="253603" y="118586"/>
                  </a:lnTo>
                  <a:cubicBezTo>
                    <a:pt x="262175" y="118586"/>
                    <a:pt x="267890" y="124301"/>
                    <a:pt x="267890" y="132873"/>
                  </a:cubicBezTo>
                  <a:lnTo>
                    <a:pt x="267890" y="147161"/>
                  </a:lnTo>
                  <a:close/>
                  <a:moveTo>
                    <a:pt x="182165" y="28575"/>
                  </a:moveTo>
                  <a:cubicBezTo>
                    <a:pt x="219313" y="38576"/>
                    <a:pt x="246459" y="71437"/>
                    <a:pt x="246459" y="111442"/>
                  </a:cubicBezTo>
                  <a:lnTo>
                    <a:pt x="246459" y="118586"/>
                  </a:lnTo>
                  <a:moveTo>
                    <a:pt x="139303" y="28575"/>
                  </a:moveTo>
                  <a:cubicBezTo>
                    <a:pt x="102155" y="38576"/>
                    <a:pt x="75009" y="71437"/>
                    <a:pt x="75009" y="111442"/>
                  </a:cubicBezTo>
                  <a:lnTo>
                    <a:pt x="75009" y="118586"/>
                  </a:lnTo>
                  <a:moveTo>
                    <a:pt x="28575" y="318611"/>
                  </a:moveTo>
                  <a:cubicBezTo>
                    <a:pt x="44356" y="318611"/>
                    <a:pt x="57150" y="305818"/>
                    <a:pt x="57150" y="290036"/>
                  </a:cubicBezTo>
                  <a:cubicBezTo>
                    <a:pt x="57150" y="274254"/>
                    <a:pt x="44356" y="261461"/>
                    <a:pt x="28575" y="261461"/>
                  </a:cubicBezTo>
                  <a:cubicBezTo>
                    <a:pt x="12793" y="261461"/>
                    <a:pt x="0" y="274254"/>
                    <a:pt x="0" y="290036"/>
                  </a:cubicBezTo>
                  <a:cubicBezTo>
                    <a:pt x="0" y="305818"/>
                    <a:pt x="12793" y="318611"/>
                    <a:pt x="28575" y="318611"/>
                  </a:cubicBezTo>
                  <a:close/>
                  <a:moveTo>
                    <a:pt x="160734" y="318611"/>
                  </a:moveTo>
                  <a:cubicBezTo>
                    <a:pt x="176516" y="318611"/>
                    <a:pt x="189309" y="305818"/>
                    <a:pt x="189309" y="290036"/>
                  </a:cubicBezTo>
                  <a:cubicBezTo>
                    <a:pt x="189309" y="274254"/>
                    <a:pt x="176516" y="261461"/>
                    <a:pt x="160734" y="261461"/>
                  </a:cubicBezTo>
                  <a:cubicBezTo>
                    <a:pt x="144952" y="261461"/>
                    <a:pt x="132159" y="274254"/>
                    <a:pt x="132159" y="290036"/>
                  </a:cubicBezTo>
                  <a:cubicBezTo>
                    <a:pt x="132159" y="305818"/>
                    <a:pt x="144952" y="318611"/>
                    <a:pt x="160734" y="318611"/>
                  </a:cubicBezTo>
                  <a:close/>
                  <a:moveTo>
                    <a:pt x="292893" y="318611"/>
                  </a:moveTo>
                  <a:cubicBezTo>
                    <a:pt x="308675" y="318611"/>
                    <a:pt x="321468" y="305818"/>
                    <a:pt x="321468" y="290036"/>
                  </a:cubicBezTo>
                  <a:cubicBezTo>
                    <a:pt x="321468" y="274254"/>
                    <a:pt x="308675" y="261461"/>
                    <a:pt x="292893" y="261461"/>
                  </a:cubicBezTo>
                  <a:cubicBezTo>
                    <a:pt x="277111" y="261461"/>
                    <a:pt x="264318" y="274254"/>
                    <a:pt x="264318" y="290036"/>
                  </a:cubicBezTo>
                  <a:cubicBezTo>
                    <a:pt x="264318" y="305818"/>
                    <a:pt x="277111" y="318611"/>
                    <a:pt x="292893" y="318611"/>
                  </a:cubicBezTo>
                  <a:close/>
                </a:path>
              </a:pathLst>
            </a:custGeom>
            <a:noFill/>
            <a:ln w="7143">
              <a:solidFill>
                <a:srgbClr val="1A1A1A"/>
              </a:solidFill>
            </a:ln>
          </p:spPr>
          <p:txBody>
            <a:bodyPr rtlCol="0" anchor="ctr"/>
            <a:lstStyle/>
            <a:p>
              <a:pPr algn="ctr"/>
              <a:endParaRPr sz="4400"/>
            </a:p>
          </p:txBody>
        </p:sp>
        <p:sp>
          <p:nvSpPr>
            <p:cNvPr id="25" name="Rounded Rectangle 24">
              <a:extLst>
                <a:ext uri="{FF2B5EF4-FFF2-40B4-BE49-F238E27FC236}">
                  <a16:creationId xmlns:a16="http://schemas.microsoft.com/office/drawing/2014/main" id="{774611F7-0C7C-4147-2DA0-35CFE3F2D181}"/>
                </a:ext>
              </a:extLst>
            </p:cNvPr>
            <p:cNvSpPr/>
            <p:nvPr/>
          </p:nvSpPr>
          <p:spPr>
            <a:xfrm>
              <a:off x="3351052" y="3434685"/>
              <a:ext cx="314325" cy="228600"/>
            </a:xfrm>
            <a:custGeom>
              <a:avLst/>
              <a:gdLst/>
              <a:ahLst/>
              <a:cxnLst/>
              <a:rect l="0" t="0" r="0" b="0"/>
              <a:pathLst>
                <a:path w="314325" h="228600">
                  <a:moveTo>
                    <a:pt x="107156" y="60721"/>
                  </a:moveTo>
                  <a:cubicBezTo>
                    <a:pt x="107156" y="42967"/>
                    <a:pt x="92763" y="28575"/>
                    <a:pt x="75009" y="28575"/>
                  </a:cubicBezTo>
                  <a:moveTo>
                    <a:pt x="75009" y="28575"/>
                  </a:moveTo>
                  <a:cubicBezTo>
                    <a:pt x="57255" y="28575"/>
                    <a:pt x="42862" y="42967"/>
                    <a:pt x="42862" y="60721"/>
                  </a:cubicBezTo>
                  <a:moveTo>
                    <a:pt x="75009" y="92868"/>
                  </a:moveTo>
                  <a:cubicBezTo>
                    <a:pt x="57255" y="92868"/>
                    <a:pt x="42862" y="78476"/>
                    <a:pt x="42862" y="60721"/>
                  </a:cubicBezTo>
                  <a:moveTo>
                    <a:pt x="107156" y="60721"/>
                  </a:moveTo>
                  <a:cubicBezTo>
                    <a:pt x="107156" y="78476"/>
                    <a:pt x="92763" y="92868"/>
                    <a:pt x="75009" y="92868"/>
                  </a:cubicBezTo>
                  <a:moveTo>
                    <a:pt x="78581" y="60721"/>
                  </a:moveTo>
                  <a:cubicBezTo>
                    <a:pt x="78581" y="58749"/>
                    <a:pt x="76982" y="57150"/>
                    <a:pt x="75009" y="57150"/>
                  </a:cubicBezTo>
                  <a:moveTo>
                    <a:pt x="75009" y="57150"/>
                  </a:moveTo>
                  <a:cubicBezTo>
                    <a:pt x="73036" y="57150"/>
                    <a:pt x="71437" y="58749"/>
                    <a:pt x="71437" y="60721"/>
                  </a:cubicBezTo>
                  <a:moveTo>
                    <a:pt x="71437" y="60721"/>
                  </a:moveTo>
                  <a:cubicBezTo>
                    <a:pt x="71437" y="62694"/>
                    <a:pt x="73036" y="64293"/>
                    <a:pt x="75009" y="64293"/>
                  </a:cubicBezTo>
                  <a:moveTo>
                    <a:pt x="75009" y="64293"/>
                  </a:moveTo>
                  <a:cubicBezTo>
                    <a:pt x="76982" y="64293"/>
                    <a:pt x="78581" y="62694"/>
                    <a:pt x="78581" y="60721"/>
                  </a:cubicBezTo>
                  <a:moveTo>
                    <a:pt x="126272" y="21288"/>
                  </a:moveTo>
                  <a:cubicBezTo>
                    <a:pt x="153558" y="7920"/>
                    <a:pt x="184212" y="2995"/>
                    <a:pt x="214312" y="7143"/>
                  </a:cubicBezTo>
                  <a:cubicBezTo>
                    <a:pt x="292565" y="14287"/>
                    <a:pt x="314325" y="71437"/>
                    <a:pt x="314325" y="128587"/>
                  </a:cubicBezTo>
                  <a:cubicBezTo>
                    <a:pt x="314325" y="185737"/>
                    <a:pt x="292893" y="228600"/>
                    <a:pt x="250031" y="228600"/>
                  </a:cubicBezTo>
                  <a:cubicBezTo>
                    <a:pt x="207168" y="228600"/>
                    <a:pt x="194552" y="200510"/>
                    <a:pt x="200025" y="178593"/>
                  </a:cubicBezTo>
                  <a:cubicBezTo>
                    <a:pt x="202825" y="166488"/>
                    <a:pt x="212173" y="156973"/>
                    <a:pt x="224227" y="153960"/>
                  </a:cubicBezTo>
                  <a:cubicBezTo>
                    <a:pt x="236281" y="150946"/>
                    <a:pt x="249007" y="154942"/>
                    <a:pt x="257175" y="164306"/>
                  </a:cubicBezTo>
                  <a:cubicBezTo>
                    <a:pt x="271462" y="178593"/>
                    <a:pt x="257175" y="200025"/>
                    <a:pt x="242887" y="192881"/>
                  </a:cubicBezTo>
                  <a:moveTo>
                    <a:pt x="92640" y="9258"/>
                  </a:moveTo>
                  <a:cubicBezTo>
                    <a:pt x="90662" y="5940"/>
                    <a:pt x="88345" y="2837"/>
                    <a:pt x="85725" y="0"/>
                  </a:cubicBezTo>
                  <a:cubicBezTo>
                    <a:pt x="67356" y="2239"/>
                    <a:pt x="50008" y="9674"/>
                    <a:pt x="35718" y="21431"/>
                  </a:cubicBezTo>
                  <a:cubicBezTo>
                    <a:pt x="13593" y="41657"/>
                    <a:pt x="690" y="70043"/>
                    <a:pt x="0" y="100012"/>
                  </a:cubicBezTo>
                  <a:cubicBezTo>
                    <a:pt x="11632" y="111549"/>
                    <a:pt x="26653" y="119059"/>
                    <a:pt x="42862" y="121443"/>
                  </a:cubicBezTo>
                  <a:cubicBezTo>
                    <a:pt x="85725" y="128587"/>
                    <a:pt x="107156" y="114300"/>
                    <a:pt x="107156" y="114300"/>
                  </a:cubicBezTo>
                  <a:lnTo>
                    <a:pt x="78581" y="164306"/>
                  </a:lnTo>
                  <a:lnTo>
                    <a:pt x="114300" y="164306"/>
                  </a:lnTo>
                  <a:cubicBezTo>
                    <a:pt x="135731" y="164306"/>
                    <a:pt x="145646" y="137331"/>
                    <a:pt x="157162" y="114300"/>
                  </a:cubicBezTo>
                  <a:cubicBezTo>
                    <a:pt x="171450" y="85725"/>
                    <a:pt x="150018" y="78581"/>
                    <a:pt x="150018" y="78581"/>
                  </a:cubicBezTo>
                  <a:moveTo>
                    <a:pt x="257175" y="78581"/>
                  </a:moveTo>
                  <a:cubicBezTo>
                    <a:pt x="257175" y="78581"/>
                    <a:pt x="278606" y="85725"/>
                    <a:pt x="264318" y="114300"/>
                  </a:cubicBezTo>
                  <a:cubicBezTo>
                    <a:pt x="257698" y="128411"/>
                    <a:pt x="249832" y="141904"/>
                    <a:pt x="240815" y="154619"/>
                  </a:cubicBezTo>
                  <a:moveTo>
                    <a:pt x="171450" y="164306"/>
                  </a:moveTo>
                  <a:lnTo>
                    <a:pt x="0" y="164306"/>
                  </a:lnTo>
                  <a:moveTo>
                    <a:pt x="207168" y="135731"/>
                  </a:moveTo>
                  <a:lnTo>
                    <a:pt x="214312" y="121443"/>
                  </a:lnTo>
                  <a:lnTo>
                    <a:pt x="153676" y="121443"/>
                  </a:lnTo>
                </a:path>
              </a:pathLst>
            </a:custGeom>
            <a:noFill/>
            <a:ln w="7143">
              <a:solidFill>
                <a:srgbClr val="1A1A1A"/>
              </a:solidFill>
            </a:ln>
          </p:spPr>
          <p:txBody>
            <a:bodyPr rtlCol="0" anchor="ctr"/>
            <a:lstStyle/>
            <a:p>
              <a:pPr algn="ctr"/>
              <a:endParaRPr sz="4400"/>
            </a:p>
          </p:txBody>
        </p:sp>
      </p:grpSp>
    </p:spTree>
    <p:extLst>
      <p:ext uri="{BB962C8B-B14F-4D97-AF65-F5344CB8AC3E}">
        <p14:creationId xmlns:p14="http://schemas.microsoft.com/office/powerpoint/2010/main" val="136730205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25D865-0B66-03B7-1C43-9859B45D0575}"/>
              </a:ext>
            </a:extLst>
          </p:cNvPr>
          <p:cNvSpPr>
            <a:spLocks noGrp="1"/>
          </p:cNvSpPr>
          <p:nvPr>
            <p:ph type="title"/>
          </p:nvPr>
        </p:nvSpPr>
        <p:spPr/>
        <p:txBody>
          <a:bodyPr/>
          <a:lstStyle/>
          <a:p>
            <a:r>
              <a:rPr lang="en-US"/>
              <a:t>Challenges in AI Agent Systems</a:t>
            </a:r>
          </a:p>
        </p:txBody>
      </p:sp>
      <p:grpSp>
        <p:nvGrpSpPr>
          <p:cNvPr id="3" name="Group 2">
            <a:extLst>
              <a:ext uri="{FF2B5EF4-FFF2-40B4-BE49-F238E27FC236}">
                <a16:creationId xmlns:a16="http://schemas.microsoft.com/office/drawing/2014/main" id="{48F4F6DA-9D6D-67FE-B675-CD396F0CE2CA}"/>
              </a:ext>
            </a:extLst>
          </p:cNvPr>
          <p:cNvGrpSpPr>
            <a:grpSpLocks noChangeAspect="1"/>
          </p:cNvGrpSpPr>
          <p:nvPr/>
        </p:nvGrpSpPr>
        <p:grpSpPr>
          <a:xfrm>
            <a:off x="1494600" y="1056613"/>
            <a:ext cx="9373790" cy="5303520"/>
            <a:chOff x="1918575" y="1299210"/>
            <a:chExt cx="8855267" cy="5010149"/>
          </a:xfrm>
        </p:grpSpPr>
        <p:grpSp>
          <p:nvGrpSpPr>
            <p:cNvPr id="150" name="Group 149">
              <a:extLst>
                <a:ext uri="{FF2B5EF4-FFF2-40B4-BE49-F238E27FC236}">
                  <a16:creationId xmlns:a16="http://schemas.microsoft.com/office/drawing/2014/main" id="{CB138232-D04F-7702-A016-F47D9A7AC119}"/>
                </a:ext>
              </a:extLst>
            </p:cNvPr>
            <p:cNvGrpSpPr/>
            <p:nvPr/>
          </p:nvGrpSpPr>
          <p:grpSpPr>
            <a:xfrm>
              <a:off x="6384525" y="1299210"/>
              <a:ext cx="1389888" cy="548640"/>
              <a:chOff x="2830285" y="723295"/>
              <a:chExt cx="1195009" cy="471714"/>
            </a:xfrm>
          </p:grpSpPr>
          <p:sp>
            <p:nvSpPr>
              <p:cNvPr id="151" name="Rounded Rectangle 1">
                <a:extLst>
                  <a:ext uri="{FF2B5EF4-FFF2-40B4-BE49-F238E27FC236}">
                    <a16:creationId xmlns:a16="http://schemas.microsoft.com/office/drawing/2014/main" id="{09FA285B-18BE-AB20-0727-0614B9B72B85}"/>
                  </a:ext>
                </a:extLst>
              </p:cNvPr>
              <p:cNvSpPr/>
              <p:nvPr/>
            </p:nvSpPr>
            <p:spPr>
              <a:xfrm>
                <a:off x="2830285" y="723295"/>
                <a:ext cx="566057" cy="377371"/>
              </a:xfrm>
              <a:custGeom>
                <a:avLst/>
                <a:gdLst/>
                <a:ahLst/>
                <a:cxnLst/>
                <a:rect l="0" t="0" r="0" b="0"/>
                <a:pathLst>
                  <a:path w="566057" h="377371">
                    <a:moveTo>
                      <a:pt x="188685" y="188685"/>
                    </a:moveTo>
                    <a:lnTo>
                      <a:pt x="188685" y="0"/>
                    </a:lnTo>
                    <a:lnTo>
                      <a:pt x="0" y="0"/>
                    </a:lnTo>
                    <a:lnTo>
                      <a:pt x="0" y="188685"/>
                    </a:lnTo>
                    <a:lnTo>
                      <a:pt x="188685" y="188685"/>
                    </a:lnTo>
                    <a:close/>
                    <a:moveTo>
                      <a:pt x="377371" y="188685"/>
                    </a:moveTo>
                    <a:lnTo>
                      <a:pt x="377371" y="0"/>
                    </a:lnTo>
                    <a:lnTo>
                      <a:pt x="188685" y="0"/>
                    </a:lnTo>
                    <a:lnTo>
                      <a:pt x="188685" y="188685"/>
                    </a:lnTo>
                    <a:lnTo>
                      <a:pt x="377371" y="188685"/>
                    </a:lnTo>
                    <a:close/>
                    <a:moveTo>
                      <a:pt x="566057" y="188685"/>
                    </a:moveTo>
                    <a:lnTo>
                      <a:pt x="566057" y="0"/>
                    </a:lnTo>
                    <a:lnTo>
                      <a:pt x="377371" y="0"/>
                    </a:lnTo>
                    <a:lnTo>
                      <a:pt x="377371" y="188685"/>
                    </a:lnTo>
                    <a:lnTo>
                      <a:pt x="566057" y="188685"/>
                    </a:lnTo>
                    <a:close/>
                    <a:moveTo>
                      <a:pt x="188685" y="377371"/>
                    </a:moveTo>
                    <a:lnTo>
                      <a:pt x="188685" y="188685"/>
                    </a:lnTo>
                    <a:lnTo>
                      <a:pt x="0" y="188685"/>
                    </a:lnTo>
                    <a:lnTo>
                      <a:pt x="0" y="377371"/>
                    </a:lnTo>
                    <a:lnTo>
                      <a:pt x="188685" y="377371"/>
                    </a:lnTo>
                    <a:close/>
                  </a:path>
                </a:pathLst>
              </a:custGeom>
              <a:solidFill>
                <a:srgbClr val="8AC6FF"/>
              </a:solidFill>
              <a:ln>
                <a:noFill/>
              </a:ln>
            </p:spPr>
            <p:txBody>
              <a:bodyPr rtlCol="0" anchor="ctr"/>
              <a:lstStyle/>
              <a:p>
                <a:pPr algn="ctr"/>
                <a:endParaRPr sz="3600"/>
              </a:p>
            </p:txBody>
          </p:sp>
          <p:sp>
            <p:nvSpPr>
              <p:cNvPr id="152" name="Rounded Rectangle 2">
                <a:extLst>
                  <a:ext uri="{FF2B5EF4-FFF2-40B4-BE49-F238E27FC236}">
                    <a16:creationId xmlns:a16="http://schemas.microsoft.com/office/drawing/2014/main" id="{612AB3ED-C6DD-DDF4-14E0-E2BCCD96973C}"/>
                  </a:ext>
                </a:extLst>
              </p:cNvPr>
              <p:cNvSpPr/>
              <p:nvPr/>
            </p:nvSpPr>
            <p:spPr>
              <a:xfrm>
                <a:off x="3647923" y="817638"/>
                <a:ext cx="377371" cy="377371"/>
              </a:xfrm>
              <a:custGeom>
                <a:avLst/>
                <a:gdLst/>
                <a:ahLst/>
                <a:cxnLst/>
                <a:rect l="0" t="0" r="0" b="0"/>
                <a:pathLst>
                  <a:path w="377371" h="377371">
                    <a:moveTo>
                      <a:pt x="377371" y="188685"/>
                    </a:moveTo>
                    <a:cubicBezTo>
                      <a:pt x="377371" y="292894"/>
                      <a:pt x="292894" y="377371"/>
                      <a:pt x="188685" y="377371"/>
                    </a:cubicBezTo>
                    <a:cubicBezTo>
                      <a:pt x="84477" y="377371"/>
                      <a:pt x="0" y="292894"/>
                      <a:pt x="0" y="188685"/>
                    </a:cubicBezTo>
                    <a:cubicBezTo>
                      <a:pt x="0" y="84477"/>
                      <a:pt x="84477" y="0"/>
                      <a:pt x="188685" y="0"/>
                    </a:cubicBezTo>
                    <a:cubicBezTo>
                      <a:pt x="292894" y="0"/>
                      <a:pt x="377371" y="84477"/>
                      <a:pt x="377371" y="188685"/>
                    </a:cubicBezTo>
                    <a:close/>
                  </a:path>
                </a:pathLst>
              </a:custGeom>
              <a:solidFill>
                <a:srgbClr val="8AC6FF"/>
              </a:solidFill>
              <a:ln>
                <a:noFill/>
              </a:ln>
            </p:spPr>
            <p:txBody>
              <a:bodyPr rtlCol="0" anchor="ctr"/>
              <a:lstStyle/>
              <a:p>
                <a:pPr algn="ctr"/>
                <a:endParaRPr sz="3600"/>
              </a:p>
            </p:txBody>
          </p:sp>
          <p:sp>
            <p:nvSpPr>
              <p:cNvPr id="153" name="Rounded Rectangle 3">
                <a:extLst>
                  <a:ext uri="{FF2B5EF4-FFF2-40B4-BE49-F238E27FC236}">
                    <a16:creationId xmlns:a16="http://schemas.microsoft.com/office/drawing/2014/main" id="{FD7F472C-2C2D-90D0-3B1E-F9E3C3B44D0E}"/>
                  </a:ext>
                </a:extLst>
              </p:cNvPr>
              <p:cNvSpPr/>
              <p:nvPr/>
            </p:nvSpPr>
            <p:spPr>
              <a:xfrm>
                <a:off x="2830285" y="723295"/>
                <a:ext cx="566057" cy="377371"/>
              </a:xfrm>
              <a:custGeom>
                <a:avLst/>
                <a:gdLst/>
                <a:ahLst/>
                <a:cxnLst/>
                <a:rect l="0" t="0" r="0" b="0"/>
                <a:pathLst>
                  <a:path w="566057" h="377371">
                    <a:moveTo>
                      <a:pt x="188685" y="188685"/>
                    </a:moveTo>
                    <a:lnTo>
                      <a:pt x="188685" y="0"/>
                    </a:lnTo>
                    <a:lnTo>
                      <a:pt x="0" y="0"/>
                    </a:lnTo>
                    <a:lnTo>
                      <a:pt x="0" y="188685"/>
                    </a:lnTo>
                    <a:lnTo>
                      <a:pt x="188685" y="188685"/>
                    </a:lnTo>
                    <a:close/>
                    <a:moveTo>
                      <a:pt x="377371" y="188685"/>
                    </a:moveTo>
                    <a:lnTo>
                      <a:pt x="377371" y="0"/>
                    </a:lnTo>
                    <a:lnTo>
                      <a:pt x="188685" y="0"/>
                    </a:lnTo>
                    <a:lnTo>
                      <a:pt x="188685" y="188685"/>
                    </a:lnTo>
                    <a:lnTo>
                      <a:pt x="377371" y="188685"/>
                    </a:lnTo>
                    <a:close/>
                    <a:moveTo>
                      <a:pt x="566057" y="188685"/>
                    </a:moveTo>
                    <a:lnTo>
                      <a:pt x="566057" y="0"/>
                    </a:lnTo>
                    <a:lnTo>
                      <a:pt x="377371" y="0"/>
                    </a:lnTo>
                    <a:lnTo>
                      <a:pt x="377371" y="188685"/>
                    </a:lnTo>
                    <a:lnTo>
                      <a:pt x="566057" y="188685"/>
                    </a:lnTo>
                    <a:close/>
                    <a:moveTo>
                      <a:pt x="188685" y="377371"/>
                    </a:moveTo>
                    <a:lnTo>
                      <a:pt x="188685" y="188685"/>
                    </a:lnTo>
                    <a:lnTo>
                      <a:pt x="0" y="188685"/>
                    </a:lnTo>
                    <a:lnTo>
                      <a:pt x="0" y="377371"/>
                    </a:lnTo>
                    <a:lnTo>
                      <a:pt x="188685" y="377371"/>
                    </a:lnTo>
                    <a:close/>
                  </a:path>
                </a:pathLst>
              </a:custGeom>
              <a:noFill/>
              <a:ln w="3930">
                <a:solidFill>
                  <a:srgbClr val="FFFFFF"/>
                </a:solidFill>
              </a:ln>
            </p:spPr>
            <p:txBody>
              <a:bodyPr rtlCol="0" anchor="ctr"/>
              <a:lstStyle/>
              <a:p>
                <a:pPr algn="ctr"/>
                <a:endParaRPr sz="3600"/>
              </a:p>
            </p:txBody>
          </p:sp>
          <p:sp>
            <p:nvSpPr>
              <p:cNvPr id="154" name="Rounded Rectangle 4">
                <a:extLst>
                  <a:ext uri="{FF2B5EF4-FFF2-40B4-BE49-F238E27FC236}">
                    <a16:creationId xmlns:a16="http://schemas.microsoft.com/office/drawing/2014/main" id="{044F12D9-40BF-0A6F-CED2-F10E3552194D}"/>
                  </a:ext>
                </a:extLst>
              </p:cNvPr>
              <p:cNvSpPr/>
              <p:nvPr/>
            </p:nvSpPr>
            <p:spPr>
              <a:xfrm>
                <a:off x="3647923" y="817638"/>
                <a:ext cx="377371" cy="377371"/>
              </a:xfrm>
              <a:custGeom>
                <a:avLst/>
                <a:gdLst/>
                <a:ahLst/>
                <a:cxnLst/>
                <a:rect l="0" t="0" r="0" b="0"/>
                <a:pathLst>
                  <a:path w="377371" h="377371">
                    <a:moveTo>
                      <a:pt x="377371" y="188685"/>
                    </a:moveTo>
                    <a:cubicBezTo>
                      <a:pt x="377371" y="292894"/>
                      <a:pt x="292894" y="377371"/>
                      <a:pt x="188685" y="377371"/>
                    </a:cubicBezTo>
                    <a:cubicBezTo>
                      <a:pt x="84477" y="377371"/>
                      <a:pt x="0" y="292894"/>
                      <a:pt x="0" y="188685"/>
                    </a:cubicBezTo>
                    <a:cubicBezTo>
                      <a:pt x="0" y="84477"/>
                      <a:pt x="84477" y="0"/>
                      <a:pt x="188685" y="0"/>
                    </a:cubicBezTo>
                    <a:cubicBezTo>
                      <a:pt x="292894" y="0"/>
                      <a:pt x="377371" y="84477"/>
                      <a:pt x="377371" y="188685"/>
                    </a:cubicBezTo>
                    <a:close/>
                  </a:path>
                </a:pathLst>
              </a:custGeom>
              <a:noFill/>
              <a:ln w="3930">
                <a:solidFill>
                  <a:srgbClr val="FFFFFF"/>
                </a:solidFill>
              </a:ln>
            </p:spPr>
            <p:txBody>
              <a:bodyPr rtlCol="0" anchor="ctr"/>
              <a:lstStyle/>
              <a:p>
                <a:pPr algn="ctr"/>
                <a:endParaRPr sz="3600"/>
              </a:p>
            </p:txBody>
          </p:sp>
        </p:grpSp>
        <p:grpSp>
          <p:nvGrpSpPr>
            <p:cNvPr id="155" name="Group 154">
              <a:extLst>
                <a:ext uri="{FF2B5EF4-FFF2-40B4-BE49-F238E27FC236}">
                  <a16:creationId xmlns:a16="http://schemas.microsoft.com/office/drawing/2014/main" id="{B2881E9D-5441-287A-F0D0-685E602AE55A}"/>
                </a:ext>
              </a:extLst>
            </p:cNvPr>
            <p:cNvGrpSpPr/>
            <p:nvPr/>
          </p:nvGrpSpPr>
          <p:grpSpPr>
            <a:xfrm>
              <a:off x="4555724" y="1591818"/>
              <a:ext cx="1389888" cy="768095"/>
              <a:chOff x="1257904" y="974876"/>
              <a:chExt cx="1195009" cy="660399"/>
            </a:xfrm>
          </p:grpSpPr>
          <p:sp>
            <p:nvSpPr>
              <p:cNvPr id="156" name="Rounded Rectangle 6">
                <a:extLst>
                  <a:ext uri="{FF2B5EF4-FFF2-40B4-BE49-F238E27FC236}">
                    <a16:creationId xmlns:a16="http://schemas.microsoft.com/office/drawing/2014/main" id="{DC17420A-F765-3352-0F32-AE9ED386DB4E}"/>
                  </a:ext>
                </a:extLst>
              </p:cNvPr>
              <p:cNvSpPr/>
              <p:nvPr/>
            </p:nvSpPr>
            <p:spPr>
              <a:xfrm>
                <a:off x="2075542" y="974876"/>
                <a:ext cx="377371" cy="566057"/>
              </a:xfrm>
              <a:custGeom>
                <a:avLst/>
                <a:gdLst/>
                <a:ahLst/>
                <a:cxnLst/>
                <a:rect l="0" t="0" r="0" b="0"/>
                <a:pathLst>
                  <a:path w="377371" h="566057">
                    <a:moveTo>
                      <a:pt x="0" y="377371"/>
                    </a:moveTo>
                    <a:lnTo>
                      <a:pt x="0" y="566057"/>
                    </a:lnTo>
                    <a:lnTo>
                      <a:pt x="188685" y="566057"/>
                    </a:lnTo>
                    <a:lnTo>
                      <a:pt x="188685" y="377371"/>
                    </a:lnTo>
                    <a:lnTo>
                      <a:pt x="0" y="377371"/>
                    </a:lnTo>
                    <a:close/>
                    <a:moveTo>
                      <a:pt x="0" y="188685"/>
                    </a:moveTo>
                    <a:lnTo>
                      <a:pt x="0" y="377371"/>
                    </a:lnTo>
                    <a:lnTo>
                      <a:pt x="188685" y="377371"/>
                    </a:lnTo>
                    <a:lnTo>
                      <a:pt x="188685" y="188685"/>
                    </a:lnTo>
                    <a:lnTo>
                      <a:pt x="0" y="188685"/>
                    </a:lnTo>
                    <a:close/>
                    <a:moveTo>
                      <a:pt x="188685" y="188641"/>
                    </a:moveTo>
                    <a:lnTo>
                      <a:pt x="188685" y="377326"/>
                    </a:lnTo>
                    <a:lnTo>
                      <a:pt x="377371" y="377326"/>
                    </a:lnTo>
                    <a:lnTo>
                      <a:pt x="377371" y="188641"/>
                    </a:lnTo>
                    <a:lnTo>
                      <a:pt x="188685" y="188641"/>
                    </a:lnTo>
                    <a:close/>
                    <a:moveTo>
                      <a:pt x="188685" y="0"/>
                    </a:moveTo>
                    <a:lnTo>
                      <a:pt x="188685" y="188685"/>
                    </a:lnTo>
                    <a:lnTo>
                      <a:pt x="377371" y="188685"/>
                    </a:lnTo>
                    <a:lnTo>
                      <a:pt x="377371" y="0"/>
                    </a:lnTo>
                    <a:lnTo>
                      <a:pt x="188685" y="0"/>
                    </a:lnTo>
                    <a:close/>
                  </a:path>
                </a:pathLst>
              </a:custGeom>
              <a:solidFill>
                <a:srgbClr val="63B4FF"/>
              </a:solidFill>
              <a:ln>
                <a:noFill/>
              </a:ln>
            </p:spPr>
            <p:txBody>
              <a:bodyPr rtlCol="0" anchor="ctr"/>
              <a:lstStyle/>
              <a:p>
                <a:pPr algn="ctr"/>
                <a:endParaRPr sz="3600"/>
              </a:p>
            </p:txBody>
          </p:sp>
          <p:sp>
            <p:nvSpPr>
              <p:cNvPr id="157" name="Rounded Rectangle 7">
                <a:extLst>
                  <a:ext uri="{FF2B5EF4-FFF2-40B4-BE49-F238E27FC236}">
                    <a16:creationId xmlns:a16="http://schemas.microsoft.com/office/drawing/2014/main" id="{1848EE90-FED4-B3B2-C087-54465DA67EF7}"/>
                  </a:ext>
                </a:extLst>
              </p:cNvPr>
              <p:cNvSpPr/>
              <p:nvPr/>
            </p:nvSpPr>
            <p:spPr>
              <a:xfrm>
                <a:off x="1257904" y="1257904"/>
                <a:ext cx="377371" cy="377371"/>
              </a:xfrm>
              <a:custGeom>
                <a:avLst/>
                <a:gdLst/>
                <a:ahLst/>
                <a:cxnLst/>
                <a:rect l="0" t="0" r="0" b="0"/>
                <a:pathLst>
                  <a:path w="377371" h="377371">
                    <a:moveTo>
                      <a:pt x="377371" y="188685"/>
                    </a:moveTo>
                    <a:cubicBezTo>
                      <a:pt x="377371" y="292894"/>
                      <a:pt x="292894" y="377371"/>
                      <a:pt x="188685" y="377371"/>
                    </a:cubicBezTo>
                    <a:cubicBezTo>
                      <a:pt x="84477" y="377371"/>
                      <a:pt x="0" y="292894"/>
                      <a:pt x="0" y="188685"/>
                    </a:cubicBezTo>
                    <a:cubicBezTo>
                      <a:pt x="0" y="84477"/>
                      <a:pt x="84477" y="0"/>
                      <a:pt x="188685" y="0"/>
                    </a:cubicBezTo>
                    <a:cubicBezTo>
                      <a:pt x="292894" y="0"/>
                      <a:pt x="377371" y="84477"/>
                      <a:pt x="377371" y="188685"/>
                    </a:cubicBezTo>
                    <a:close/>
                  </a:path>
                </a:pathLst>
              </a:custGeom>
              <a:solidFill>
                <a:srgbClr val="63B4FF"/>
              </a:solidFill>
              <a:ln>
                <a:noFill/>
              </a:ln>
            </p:spPr>
            <p:txBody>
              <a:bodyPr rtlCol="0" anchor="ctr"/>
              <a:lstStyle/>
              <a:p>
                <a:pPr algn="ctr"/>
                <a:endParaRPr sz="3600"/>
              </a:p>
            </p:txBody>
          </p:sp>
          <p:sp>
            <p:nvSpPr>
              <p:cNvPr id="158" name="Rounded Rectangle 8">
                <a:extLst>
                  <a:ext uri="{FF2B5EF4-FFF2-40B4-BE49-F238E27FC236}">
                    <a16:creationId xmlns:a16="http://schemas.microsoft.com/office/drawing/2014/main" id="{34643196-82A1-C232-4CFD-00203E351AB3}"/>
                  </a:ext>
                </a:extLst>
              </p:cNvPr>
              <p:cNvSpPr/>
              <p:nvPr/>
            </p:nvSpPr>
            <p:spPr>
              <a:xfrm>
                <a:off x="2075542" y="974876"/>
                <a:ext cx="377371" cy="566057"/>
              </a:xfrm>
              <a:custGeom>
                <a:avLst/>
                <a:gdLst/>
                <a:ahLst/>
                <a:cxnLst/>
                <a:rect l="0" t="0" r="0" b="0"/>
                <a:pathLst>
                  <a:path w="377371" h="566057">
                    <a:moveTo>
                      <a:pt x="0" y="377371"/>
                    </a:moveTo>
                    <a:lnTo>
                      <a:pt x="0" y="566057"/>
                    </a:lnTo>
                    <a:lnTo>
                      <a:pt x="188685" y="566057"/>
                    </a:lnTo>
                    <a:lnTo>
                      <a:pt x="188685" y="377371"/>
                    </a:lnTo>
                    <a:lnTo>
                      <a:pt x="0" y="377371"/>
                    </a:lnTo>
                    <a:close/>
                    <a:moveTo>
                      <a:pt x="0" y="188685"/>
                    </a:moveTo>
                    <a:lnTo>
                      <a:pt x="0" y="377371"/>
                    </a:lnTo>
                    <a:lnTo>
                      <a:pt x="188685" y="377371"/>
                    </a:lnTo>
                    <a:lnTo>
                      <a:pt x="188685" y="188685"/>
                    </a:lnTo>
                    <a:lnTo>
                      <a:pt x="0" y="188685"/>
                    </a:lnTo>
                    <a:close/>
                    <a:moveTo>
                      <a:pt x="188685" y="188641"/>
                    </a:moveTo>
                    <a:lnTo>
                      <a:pt x="188685" y="377326"/>
                    </a:lnTo>
                    <a:lnTo>
                      <a:pt x="377371" y="377326"/>
                    </a:lnTo>
                    <a:lnTo>
                      <a:pt x="377371" y="188641"/>
                    </a:lnTo>
                    <a:lnTo>
                      <a:pt x="188685" y="188641"/>
                    </a:lnTo>
                    <a:close/>
                    <a:moveTo>
                      <a:pt x="188685" y="0"/>
                    </a:moveTo>
                    <a:lnTo>
                      <a:pt x="188685" y="188685"/>
                    </a:lnTo>
                    <a:lnTo>
                      <a:pt x="377371" y="188685"/>
                    </a:lnTo>
                    <a:lnTo>
                      <a:pt x="377371" y="0"/>
                    </a:lnTo>
                    <a:lnTo>
                      <a:pt x="188685" y="0"/>
                    </a:lnTo>
                    <a:close/>
                  </a:path>
                </a:pathLst>
              </a:custGeom>
              <a:noFill/>
              <a:ln w="3930">
                <a:solidFill>
                  <a:srgbClr val="FFFFFF"/>
                </a:solidFill>
              </a:ln>
            </p:spPr>
            <p:txBody>
              <a:bodyPr rtlCol="0" anchor="ctr"/>
              <a:lstStyle/>
              <a:p>
                <a:pPr algn="ctr"/>
                <a:endParaRPr sz="3600"/>
              </a:p>
            </p:txBody>
          </p:sp>
          <p:sp>
            <p:nvSpPr>
              <p:cNvPr id="159" name="Rounded Rectangle 9">
                <a:extLst>
                  <a:ext uri="{FF2B5EF4-FFF2-40B4-BE49-F238E27FC236}">
                    <a16:creationId xmlns:a16="http://schemas.microsoft.com/office/drawing/2014/main" id="{A933FF30-E863-3019-0223-2EAC34DC9224}"/>
                  </a:ext>
                </a:extLst>
              </p:cNvPr>
              <p:cNvSpPr/>
              <p:nvPr/>
            </p:nvSpPr>
            <p:spPr>
              <a:xfrm>
                <a:off x="1257904" y="1257904"/>
                <a:ext cx="377371" cy="377371"/>
              </a:xfrm>
              <a:custGeom>
                <a:avLst/>
                <a:gdLst/>
                <a:ahLst/>
                <a:cxnLst/>
                <a:rect l="0" t="0" r="0" b="0"/>
                <a:pathLst>
                  <a:path w="377371" h="377371">
                    <a:moveTo>
                      <a:pt x="377371" y="188685"/>
                    </a:moveTo>
                    <a:cubicBezTo>
                      <a:pt x="377371" y="292894"/>
                      <a:pt x="292894" y="377371"/>
                      <a:pt x="188685" y="377371"/>
                    </a:cubicBezTo>
                    <a:cubicBezTo>
                      <a:pt x="84477" y="377371"/>
                      <a:pt x="0" y="292894"/>
                      <a:pt x="0" y="188685"/>
                    </a:cubicBezTo>
                    <a:cubicBezTo>
                      <a:pt x="0" y="84477"/>
                      <a:pt x="84477" y="0"/>
                      <a:pt x="188685" y="0"/>
                    </a:cubicBezTo>
                    <a:cubicBezTo>
                      <a:pt x="292894" y="0"/>
                      <a:pt x="377371" y="84477"/>
                      <a:pt x="377371" y="188685"/>
                    </a:cubicBezTo>
                    <a:close/>
                  </a:path>
                </a:pathLst>
              </a:custGeom>
              <a:noFill/>
              <a:ln w="3930">
                <a:solidFill>
                  <a:srgbClr val="FFFFFF"/>
                </a:solidFill>
              </a:ln>
            </p:spPr>
            <p:txBody>
              <a:bodyPr rtlCol="0" anchor="ctr"/>
              <a:lstStyle/>
              <a:p>
                <a:pPr algn="ctr"/>
                <a:endParaRPr sz="3600"/>
              </a:p>
            </p:txBody>
          </p:sp>
        </p:grpSp>
        <p:grpSp>
          <p:nvGrpSpPr>
            <p:cNvPr id="160" name="Group 159">
              <a:extLst>
                <a:ext uri="{FF2B5EF4-FFF2-40B4-BE49-F238E27FC236}">
                  <a16:creationId xmlns:a16="http://schemas.microsoft.com/office/drawing/2014/main" id="{49A02E2C-887D-EC46-2DF3-BB7E17C8DF8B}"/>
                </a:ext>
              </a:extLst>
            </p:cNvPr>
            <p:cNvGrpSpPr/>
            <p:nvPr/>
          </p:nvGrpSpPr>
          <p:grpSpPr>
            <a:xfrm>
              <a:off x="6165070" y="2348339"/>
              <a:ext cx="1609344" cy="475487"/>
              <a:chOff x="2641600" y="1729619"/>
              <a:chExt cx="1383694" cy="408818"/>
            </a:xfrm>
          </p:grpSpPr>
          <p:sp>
            <p:nvSpPr>
              <p:cNvPr id="161" name="Rounded Rectangle 11">
                <a:extLst>
                  <a:ext uri="{FF2B5EF4-FFF2-40B4-BE49-F238E27FC236}">
                    <a16:creationId xmlns:a16="http://schemas.microsoft.com/office/drawing/2014/main" id="{8480E3BD-C178-9E90-4955-33339207CCEB}"/>
                  </a:ext>
                </a:extLst>
              </p:cNvPr>
              <p:cNvSpPr/>
              <p:nvPr/>
            </p:nvSpPr>
            <p:spPr>
              <a:xfrm>
                <a:off x="2641600" y="1729619"/>
                <a:ext cx="566057" cy="377371"/>
              </a:xfrm>
              <a:custGeom>
                <a:avLst/>
                <a:gdLst/>
                <a:ahLst/>
                <a:cxnLst/>
                <a:rect l="0" t="0" r="0" b="0"/>
                <a:pathLst>
                  <a:path w="566057" h="377371">
                    <a:moveTo>
                      <a:pt x="188685" y="24"/>
                    </a:moveTo>
                    <a:lnTo>
                      <a:pt x="0" y="24"/>
                    </a:lnTo>
                    <a:lnTo>
                      <a:pt x="0" y="188698"/>
                    </a:lnTo>
                    <a:lnTo>
                      <a:pt x="188685" y="188698"/>
                    </a:lnTo>
                    <a:lnTo>
                      <a:pt x="188685" y="24"/>
                    </a:lnTo>
                    <a:close/>
                    <a:moveTo>
                      <a:pt x="377371" y="24"/>
                    </a:moveTo>
                    <a:lnTo>
                      <a:pt x="188685" y="24"/>
                    </a:lnTo>
                    <a:lnTo>
                      <a:pt x="188685" y="188698"/>
                    </a:lnTo>
                    <a:lnTo>
                      <a:pt x="377371" y="188698"/>
                    </a:lnTo>
                    <a:lnTo>
                      <a:pt x="377371" y="24"/>
                    </a:lnTo>
                    <a:close/>
                    <a:moveTo>
                      <a:pt x="377371" y="188698"/>
                    </a:moveTo>
                    <a:lnTo>
                      <a:pt x="188685" y="188698"/>
                    </a:lnTo>
                    <a:lnTo>
                      <a:pt x="188685" y="377371"/>
                    </a:lnTo>
                    <a:lnTo>
                      <a:pt x="377371" y="377371"/>
                    </a:lnTo>
                    <a:lnTo>
                      <a:pt x="377371" y="188698"/>
                    </a:lnTo>
                    <a:close/>
                    <a:moveTo>
                      <a:pt x="566057" y="0"/>
                    </a:moveTo>
                    <a:lnTo>
                      <a:pt x="377371" y="0"/>
                    </a:lnTo>
                    <a:lnTo>
                      <a:pt x="377371" y="188673"/>
                    </a:lnTo>
                    <a:lnTo>
                      <a:pt x="566057" y="188673"/>
                    </a:lnTo>
                    <a:lnTo>
                      <a:pt x="566057" y="0"/>
                    </a:lnTo>
                    <a:close/>
                  </a:path>
                </a:pathLst>
              </a:custGeom>
              <a:solidFill>
                <a:srgbClr val="3CA1FF"/>
              </a:solidFill>
              <a:ln>
                <a:noFill/>
              </a:ln>
            </p:spPr>
            <p:txBody>
              <a:bodyPr rtlCol="0" anchor="ctr"/>
              <a:lstStyle/>
              <a:p>
                <a:pPr algn="ctr"/>
                <a:endParaRPr sz="3600"/>
              </a:p>
            </p:txBody>
          </p:sp>
          <p:sp>
            <p:nvSpPr>
              <p:cNvPr id="162" name="Rounded Rectangle 12">
                <a:extLst>
                  <a:ext uri="{FF2B5EF4-FFF2-40B4-BE49-F238E27FC236}">
                    <a16:creationId xmlns:a16="http://schemas.microsoft.com/office/drawing/2014/main" id="{C850749B-2330-F42C-B284-1F9DE63B2F78}"/>
                  </a:ext>
                </a:extLst>
              </p:cNvPr>
              <p:cNvSpPr/>
              <p:nvPr/>
            </p:nvSpPr>
            <p:spPr>
              <a:xfrm>
                <a:off x="3647923" y="1761066"/>
                <a:ext cx="377371" cy="377371"/>
              </a:xfrm>
              <a:custGeom>
                <a:avLst/>
                <a:gdLst/>
                <a:ahLst/>
                <a:cxnLst/>
                <a:rect l="0" t="0" r="0" b="0"/>
                <a:pathLst>
                  <a:path w="377371" h="377371">
                    <a:moveTo>
                      <a:pt x="377371" y="188685"/>
                    </a:moveTo>
                    <a:cubicBezTo>
                      <a:pt x="377371" y="292894"/>
                      <a:pt x="292894" y="377371"/>
                      <a:pt x="188685" y="377371"/>
                    </a:cubicBezTo>
                    <a:cubicBezTo>
                      <a:pt x="84477" y="377371"/>
                      <a:pt x="0" y="292894"/>
                      <a:pt x="0" y="188685"/>
                    </a:cubicBezTo>
                    <a:cubicBezTo>
                      <a:pt x="0" y="84477"/>
                      <a:pt x="84477" y="0"/>
                      <a:pt x="188685" y="0"/>
                    </a:cubicBezTo>
                    <a:cubicBezTo>
                      <a:pt x="292894" y="0"/>
                      <a:pt x="377371" y="84477"/>
                      <a:pt x="377371" y="188685"/>
                    </a:cubicBezTo>
                    <a:close/>
                  </a:path>
                </a:pathLst>
              </a:custGeom>
              <a:solidFill>
                <a:srgbClr val="3CA1FF"/>
              </a:solidFill>
              <a:ln>
                <a:noFill/>
              </a:ln>
            </p:spPr>
            <p:txBody>
              <a:bodyPr rtlCol="0" anchor="ctr"/>
              <a:lstStyle/>
              <a:p>
                <a:pPr algn="ctr"/>
                <a:endParaRPr sz="3600"/>
              </a:p>
            </p:txBody>
          </p:sp>
          <p:sp>
            <p:nvSpPr>
              <p:cNvPr id="163" name="Rounded Rectangle 13">
                <a:extLst>
                  <a:ext uri="{FF2B5EF4-FFF2-40B4-BE49-F238E27FC236}">
                    <a16:creationId xmlns:a16="http://schemas.microsoft.com/office/drawing/2014/main" id="{536BEAB1-977C-D31F-79D8-4B1F90B0C539}"/>
                  </a:ext>
                </a:extLst>
              </p:cNvPr>
              <p:cNvSpPr/>
              <p:nvPr/>
            </p:nvSpPr>
            <p:spPr>
              <a:xfrm>
                <a:off x="2641600" y="1729619"/>
                <a:ext cx="566057" cy="377371"/>
              </a:xfrm>
              <a:custGeom>
                <a:avLst/>
                <a:gdLst/>
                <a:ahLst/>
                <a:cxnLst/>
                <a:rect l="0" t="0" r="0" b="0"/>
                <a:pathLst>
                  <a:path w="566057" h="377371">
                    <a:moveTo>
                      <a:pt x="188685" y="24"/>
                    </a:moveTo>
                    <a:lnTo>
                      <a:pt x="0" y="24"/>
                    </a:lnTo>
                    <a:lnTo>
                      <a:pt x="0" y="188698"/>
                    </a:lnTo>
                    <a:lnTo>
                      <a:pt x="188685" y="188698"/>
                    </a:lnTo>
                    <a:lnTo>
                      <a:pt x="188685" y="24"/>
                    </a:lnTo>
                    <a:close/>
                    <a:moveTo>
                      <a:pt x="377371" y="24"/>
                    </a:moveTo>
                    <a:lnTo>
                      <a:pt x="188685" y="24"/>
                    </a:lnTo>
                    <a:lnTo>
                      <a:pt x="188685" y="188698"/>
                    </a:lnTo>
                    <a:lnTo>
                      <a:pt x="377371" y="188698"/>
                    </a:lnTo>
                    <a:lnTo>
                      <a:pt x="377371" y="24"/>
                    </a:lnTo>
                    <a:close/>
                    <a:moveTo>
                      <a:pt x="377371" y="188698"/>
                    </a:moveTo>
                    <a:lnTo>
                      <a:pt x="188685" y="188698"/>
                    </a:lnTo>
                    <a:lnTo>
                      <a:pt x="188685" y="377371"/>
                    </a:lnTo>
                    <a:lnTo>
                      <a:pt x="377371" y="377371"/>
                    </a:lnTo>
                    <a:lnTo>
                      <a:pt x="377371" y="188698"/>
                    </a:lnTo>
                    <a:close/>
                    <a:moveTo>
                      <a:pt x="566057" y="0"/>
                    </a:moveTo>
                    <a:lnTo>
                      <a:pt x="377371" y="0"/>
                    </a:lnTo>
                    <a:lnTo>
                      <a:pt x="377371" y="188673"/>
                    </a:lnTo>
                    <a:lnTo>
                      <a:pt x="566057" y="188673"/>
                    </a:lnTo>
                    <a:lnTo>
                      <a:pt x="566057" y="0"/>
                    </a:lnTo>
                    <a:close/>
                  </a:path>
                </a:pathLst>
              </a:custGeom>
              <a:noFill/>
              <a:ln w="3930">
                <a:solidFill>
                  <a:srgbClr val="FFFFFF"/>
                </a:solidFill>
              </a:ln>
            </p:spPr>
            <p:txBody>
              <a:bodyPr rtlCol="0" anchor="ctr"/>
              <a:lstStyle/>
              <a:p>
                <a:pPr algn="ctr"/>
                <a:endParaRPr sz="3600"/>
              </a:p>
            </p:txBody>
          </p:sp>
          <p:sp>
            <p:nvSpPr>
              <p:cNvPr id="164" name="Rounded Rectangle 14">
                <a:extLst>
                  <a:ext uri="{FF2B5EF4-FFF2-40B4-BE49-F238E27FC236}">
                    <a16:creationId xmlns:a16="http://schemas.microsoft.com/office/drawing/2014/main" id="{9DC361EC-616C-A1EC-6D31-E4EA9BFAC9A5}"/>
                  </a:ext>
                </a:extLst>
              </p:cNvPr>
              <p:cNvSpPr/>
              <p:nvPr/>
            </p:nvSpPr>
            <p:spPr>
              <a:xfrm>
                <a:off x="3647923" y="1761066"/>
                <a:ext cx="377371" cy="377371"/>
              </a:xfrm>
              <a:custGeom>
                <a:avLst/>
                <a:gdLst/>
                <a:ahLst/>
                <a:cxnLst/>
                <a:rect l="0" t="0" r="0" b="0"/>
                <a:pathLst>
                  <a:path w="377371" h="377371">
                    <a:moveTo>
                      <a:pt x="377371" y="188685"/>
                    </a:moveTo>
                    <a:cubicBezTo>
                      <a:pt x="377371" y="292894"/>
                      <a:pt x="292894" y="377371"/>
                      <a:pt x="188685" y="377371"/>
                    </a:cubicBezTo>
                    <a:cubicBezTo>
                      <a:pt x="84477" y="377371"/>
                      <a:pt x="0" y="292894"/>
                      <a:pt x="0" y="188685"/>
                    </a:cubicBezTo>
                    <a:cubicBezTo>
                      <a:pt x="0" y="84477"/>
                      <a:pt x="84477" y="0"/>
                      <a:pt x="188685" y="0"/>
                    </a:cubicBezTo>
                    <a:cubicBezTo>
                      <a:pt x="292894" y="0"/>
                      <a:pt x="377371" y="84477"/>
                      <a:pt x="377371" y="188685"/>
                    </a:cubicBezTo>
                    <a:close/>
                  </a:path>
                </a:pathLst>
              </a:custGeom>
              <a:noFill/>
              <a:ln w="3930">
                <a:solidFill>
                  <a:srgbClr val="FFFFFF"/>
                </a:solidFill>
              </a:ln>
            </p:spPr>
            <p:txBody>
              <a:bodyPr rtlCol="0" anchor="ctr"/>
              <a:lstStyle/>
              <a:p>
                <a:pPr algn="ctr"/>
                <a:endParaRPr sz="3600"/>
              </a:p>
            </p:txBody>
          </p:sp>
        </p:grpSp>
        <p:grpSp>
          <p:nvGrpSpPr>
            <p:cNvPr id="165" name="Group 164">
              <a:extLst>
                <a:ext uri="{FF2B5EF4-FFF2-40B4-BE49-F238E27FC236}">
                  <a16:creationId xmlns:a16="http://schemas.microsoft.com/office/drawing/2014/main" id="{C0858412-18F4-4B92-A606-8810A753998F}"/>
                </a:ext>
              </a:extLst>
            </p:cNvPr>
            <p:cNvGrpSpPr/>
            <p:nvPr/>
          </p:nvGrpSpPr>
          <p:grpSpPr>
            <a:xfrm>
              <a:off x="4555724" y="2714099"/>
              <a:ext cx="1170433" cy="658368"/>
              <a:chOff x="1257904" y="2044095"/>
              <a:chExt cx="1006324" cy="566057"/>
            </a:xfrm>
          </p:grpSpPr>
          <p:sp>
            <p:nvSpPr>
              <p:cNvPr id="166" name="Rounded Rectangle 16">
                <a:extLst>
                  <a:ext uri="{FF2B5EF4-FFF2-40B4-BE49-F238E27FC236}">
                    <a16:creationId xmlns:a16="http://schemas.microsoft.com/office/drawing/2014/main" id="{BCBAD7AC-3C3C-D472-9A6D-354207F8EF3D}"/>
                  </a:ext>
                </a:extLst>
              </p:cNvPr>
              <p:cNvSpPr/>
              <p:nvPr/>
            </p:nvSpPr>
            <p:spPr>
              <a:xfrm>
                <a:off x="1886857" y="2044095"/>
                <a:ext cx="377371" cy="566057"/>
              </a:xfrm>
              <a:custGeom>
                <a:avLst/>
                <a:gdLst/>
                <a:ahLst/>
                <a:cxnLst/>
                <a:rect l="0" t="0" r="0" b="0"/>
                <a:pathLst>
                  <a:path w="377371" h="566057">
                    <a:moveTo>
                      <a:pt x="188685" y="377371"/>
                    </a:moveTo>
                    <a:lnTo>
                      <a:pt x="0" y="377371"/>
                    </a:lnTo>
                    <a:lnTo>
                      <a:pt x="0" y="566057"/>
                    </a:lnTo>
                    <a:lnTo>
                      <a:pt x="188685" y="566057"/>
                    </a:lnTo>
                    <a:lnTo>
                      <a:pt x="188685" y="377371"/>
                    </a:lnTo>
                    <a:close/>
                    <a:moveTo>
                      <a:pt x="188685" y="188685"/>
                    </a:moveTo>
                    <a:lnTo>
                      <a:pt x="0" y="188685"/>
                    </a:lnTo>
                    <a:lnTo>
                      <a:pt x="0" y="377371"/>
                    </a:lnTo>
                    <a:lnTo>
                      <a:pt x="188685" y="377371"/>
                    </a:lnTo>
                    <a:lnTo>
                      <a:pt x="188685" y="188685"/>
                    </a:lnTo>
                    <a:close/>
                    <a:moveTo>
                      <a:pt x="188685" y="0"/>
                    </a:moveTo>
                    <a:lnTo>
                      <a:pt x="0" y="0"/>
                    </a:lnTo>
                    <a:lnTo>
                      <a:pt x="0" y="188685"/>
                    </a:lnTo>
                    <a:lnTo>
                      <a:pt x="188685" y="188685"/>
                    </a:lnTo>
                    <a:lnTo>
                      <a:pt x="188685" y="0"/>
                    </a:lnTo>
                    <a:close/>
                    <a:moveTo>
                      <a:pt x="377371" y="377371"/>
                    </a:moveTo>
                    <a:lnTo>
                      <a:pt x="188685" y="377371"/>
                    </a:lnTo>
                    <a:lnTo>
                      <a:pt x="188685" y="566057"/>
                    </a:lnTo>
                    <a:lnTo>
                      <a:pt x="377371" y="566057"/>
                    </a:lnTo>
                    <a:lnTo>
                      <a:pt x="377371" y="377371"/>
                    </a:lnTo>
                    <a:close/>
                  </a:path>
                </a:pathLst>
              </a:custGeom>
              <a:solidFill>
                <a:srgbClr val="2E9AFF"/>
              </a:solidFill>
              <a:ln>
                <a:noFill/>
              </a:ln>
            </p:spPr>
            <p:txBody>
              <a:bodyPr rtlCol="0" anchor="ctr"/>
              <a:lstStyle/>
              <a:p>
                <a:pPr algn="ctr"/>
                <a:endParaRPr sz="3600"/>
              </a:p>
            </p:txBody>
          </p:sp>
          <p:sp>
            <p:nvSpPr>
              <p:cNvPr id="167" name="Rounded Rectangle 17">
                <a:extLst>
                  <a:ext uri="{FF2B5EF4-FFF2-40B4-BE49-F238E27FC236}">
                    <a16:creationId xmlns:a16="http://schemas.microsoft.com/office/drawing/2014/main" id="{DFA5F6F2-E7A0-7A5D-224B-8AEA6D2A8002}"/>
                  </a:ext>
                </a:extLst>
              </p:cNvPr>
              <p:cNvSpPr/>
              <p:nvPr/>
            </p:nvSpPr>
            <p:spPr>
              <a:xfrm>
                <a:off x="1257904" y="2201333"/>
                <a:ext cx="377371" cy="377371"/>
              </a:xfrm>
              <a:custGeom>
                <a:avLst/>
                <a:gdLst/>
                <a:ahLst/>
                <a:cxnLst/>
                <a:rect l="0" t="0" r="0" b="0"/>
                <a:pathLst>
                  <a:path w="377371" h="377371">
                    <a:moveTo>
                      <a:pt x="377371" y="188685"/>
                    </a:moveTo>
                    <a:cubicBezTo>
                      <a:pt x="377371" y="292894"/>
                      <a:pt x="292894" y="377371"/>
                      <a:pt x="188685" y="377371"/>
                    </a:cubicBezTo>
                    <a:cubicBezTo>
                      <a:pt x="84477" y="377371"/>
                      <a:pt x="0" y="292894"/>
                      <a:pt x="0" y="188685"/>
                    </a:cubicBezTo>
                    <a:cubicBezTo>
                      <a:pt x="0" y="84477"/>
                      <a:pt x="84477" y="0"/>
                      <a:pt x="188685" y="0"/>
                    </a:cubicBezTo>
                    <a:cubicBezTo>
                      <a:pt x="292894" y="0"/>
                      <a:pt x="377371" y="84477"/>
                      <a:pt x="377371" y="188685"/>
                    </a:cubicBezTo>
                    <a:close/>
                  </a:path>
                </a:pathLst>
              </a:custGeom>
              <a:solidFill>
                <a:srgbClr val="2E9AFF"/>
              </a:solidFill>
              <a:ln>
                <a:noFill/>
              </a:ln>
            </p:spPr>
            <p:txBody>
              <a:bodyPr rtlCol="0" anchor="ctr"/>
              <a:lstStyle/>
              <a:p>
                <a:pPr algn="ctr"/>
                <a:endParaRPr sz="3600"/>
              </a:p>
            </p:txBody>
          </p:sp>
          <p:sp>
            <p:nvSpPr>
              <p:cNvPr id="168" name="Rounded Rectangle 18">
                <a:extLst>
                  <a:ext uri="{FF2B5EF4-FFF2-40B4-BE49-F238E27FC236}">
                    <a16:creationId xmlns:a16="http://schemas.microsoft.com/office/drawing/2014/main" id="{1B821B2E-1879-2B2B-5ACC-0E00AA84C140}"/>
                  </a:ext>
                </a:extLst>
              </p:cNvPr>
              <p:cNvSpPr/>
              <p:nvPr/>
            </p:nvSpPr>
            <p:spPr>
              <a:xfrm>
                <a:off x="1886857" y="2044095"/>
                <a:ext cx="377371" cy="566057"/>
              </a:xfrm>
              <a:custGeom>
                <a:avLst/>
                <a:gdLst/>
                <a:ahLst/>
                <a:cxnLst/>
                <a:rect l="0" t="0" r="0" b="0"/>
                <a:pathLst>
                  <a:path w="377371" h="566057">
                    <a:moveTo>
                      <a:pt x="188685" y="377371"/>
                    </a:moveTo>
                    <a:lnTo>
                      <a:pt x="0" y="377371"/>
                    </a:lnTo>
                    <a:lnTo>
                      <a:pt x="0" y="566057"/>
                    </a:lnTo>
                    <a:lnTo>
                      <a:pt x="188685" y="566057"/>
                    </a:lnTo>
                    <a:lnTo>
                      <a:pt x="188685" y="377371"/>
                    </a:lnTo>
                    <a:close/>
                    <a:moveTo>
                      <a:pt x="188685" y="188685"/>
                    </a:moveTo>
                    <a:lnTo>
                      <a:pt x="0" y="188685"/>
                    </a:lnTo>
                    <a:lnTo>
                      <a:pt x="0" y="377371"/>
                    </a:lnTo>
                    <a:lnTo>
                      <a:pt x="188685" y="377371"/>
                    </a:lnTo>
                    <a:lnTo>
                      <a:pt x="188685" y="188685"/>
                    </a:lnTo>
                    <a:close/>
                    <a:moveTo>
                      <a:pt x="188685" y="0"/>
                    </a:moveTo>
                    <a:lnTo>
                      <a:pt x="0" y="0"/>
                    </a:lnTo>
                    <a:lnTo>
                      <a:pt x="0" y="188685"/>
                    </a:lnTo>
                    <a:lnTo>
                      <a:pt x="188685" y="188685"/>
                    </a:lnTo>
                    <a:lnTo>
                      <a:pt x="188685" y="0"/>
                    </a:lnTo>
                    <a:close/>
                    <a:moveTo>
                      <a:pt x="377371" y="377371"/>
                    </a:moveTo>
                    <a:lnTo>
                      <a:pt x="188685" y="377371"/>
                    </a:lnTo>
                    <a:lnTo>
                      <a:pt x="188685" y="566057"/>
                    </a:lnTo>
                    <a:lnTo>
                      <a:pt x="377371" y="566057"/>
                    </a:lnTo>
                    <a:lnTo>
                      <a:pt x="377371" y="377371"/>
                    </a:lnTo>
                    <a:close/>
                  </a:path>
                </a:pathLst>
              </a:custGeom>
              <a:noFill/>
              <a:ln w="3930">
                <a:solidFill>
                  <a:srgbClr val="FFFFFF"/>
                </a:solidFill>
              </a:ln>
            </p:spPr>
            <p:txBody>
              <a:bodyPr rtlCol="0" anchor="ctr"/>
              <a:lstStyle/>
              <a:p>
                <a:pPr algn="ctr"/>
                <a:endParaRPr sz="3600"/>
              </a:p>
            </p:txBody>
          </p:sp>
          <p:sp>
            <p:nvSpPr>
              <p:cNvPr id="169" name="Rounded Rectangle 19">
                <a:extLst>
                  <a:ext uri="{FF2B5EF4-FFF2-40B4-BE49-F238E27FC236}">
                    <a16:creationId xmlns:a16="http://schemas.microsoft.com/office/drawing/2014/main" id="{45B149CA-43C6-208C-7F1C-987C072978C8}"/>
                  </a:ext>
                </a:extLst>
              </p:cNvPr>
              <p:cNvSpPr/>
              <p:nvPr/>
            </p:nvSpPr>
            <p:spPr>
              <a:xfrm>
                <a:off x="1257904" y="2201333"/>
                <a:ext cx="377371" cy="377371"/>
              </a:xfrm>
              <a:custGeom>
                <a:avLst/>
                <a:gdLst/>
                <a:ahLst/>
                <a:cxnLst/>
                <a:rect l="0" t="0" r="0" b="0"/>
                <a:pathLst>
                  <a:path w="377371" h="377371">
                    <a:moveTo>
                      <a:pt x="377371" y="188685"/>
                    </a:moveTo>
                    <a:cubicBezTo>
                      <a:pt x="377371" y="292894"/>
                      <a:pt x="292894" y="377371"/>
                      <a:pt x="188685" y="377371"/>
                    </a:cubicBezTo>
                    <a:cubicBezTo>
                      <a:pt x="84477" y="377371"/>
                      <a:pt x="0" y="292894"/>
                      <a:pt x="0" y="188685"/>
                    </a:cubicBezTo>
                    <a:cubicBezTo>
                      <a:pt x="0" y="84477"/>
                      <a:pt x="84477" y="0"/>
                      <a:pt x="188685" y="0"/>
                    </a:cubicBezTo>
                    <a:cubicBezTo>
                      <a:pt x="292894" y="0"/>
                      <a:pt x="377371" y="84477"/>
                      <a:pt x="377371" y="188685"/>
                    </a:cubicBezTo>
                    <a:close/>
                  </a:path>
                </a:pathLst>
              </a:custGeom>
              <a:noFill/>
              <a:ln w="3930">
                <a:solidFill>
                  <a:srgbClr val="FFFFFF"/>
                </a:solidFill>
              </a:ln>
            </p:spPr>
            <p:txBody>
              <a:bodyPr rtlCol="0" anchor="ctr"/>
              <a:lstStyle/>
              <a:p>
                <a:pPr algn="ctr"/>
                <a:endParaRPr sz="3600"/>
              </a:p>
            </p:txBody>
          </p:sp>
        </p:grpSp>
        <p:grpSp>
          <p:nvGrpSpPr>
            <p:cNvPr id="170" name="Group 169">
              <a:extLst>
                <a:ext uri="{FF2B5EF4-FFF2-40B4-BE49-F238E27FC236}">
                  <a16:creationId xmlns:a16="http://schemas.microsoft.com/office/drawing/2014/main" id="{DBA8A9AB-BDE3-5857-A496-44AFC700FBF8}"/>
                </a:ext>
              </a:extLst>
            </p:cNvPr>
            <p:cNvGrpSpPr/>
            <p:nvPr/>
          </p:nvGrpSpPr>
          <p:grpSpPr>
            <a:xfrm>
              <a:off x="6384525" y="3169429"/>
              <a:ext cx="1389888" cy="548640"/>
              <a:chOff x="2830285" y="2515809"/>
              <a:chExt cx="1195009" cy="471714"/>
            </a:xfrm>
          </p:grpSpPr>
          <p:sp>
            <p:nvSpPr>
              <p:cNvPr id="171" name="Rounded Rectangle 21">
                <a:extLst>
                  <a:ext uri="{FF2B5EF4-FFF2-40B4-BE49-F238E27FC236}">
                    <a16:creationId xmlns:a16="http://schemas.microsoft.com/office/drawing/2014/main" id="{81B95BB6-0CCC-DE92-08D1-EF8734A6C393}"/>
                  </a:ext>
                </a:extLst>
              </p:cNvPr>
              <p:cNvSpPr/>
              <p:nvPr/>
            </p:nvSpPr>
            <p:spPr>
              <a:xfrm>
                <a:off x="2830285" y="2515809"/>
                <a:ext cx="377371" cy="377371"/>
              </a:xfrm>
              <a:custGeom>
                <a:avLst/>
                <a:gdLst/>
                <a:ahLst/>
                <a:cxnLst/>
                <a:rect l="0" t="0" r="0" b="0"/>
                <a:pathLst>
                  <a:path w="377371" h="377371">
                    <a:moveTo>
                      <a:pt x="188685" y="0"/>
                    </a:moveTo>
                    <a:lnTo>
                      <a:pt x="0" y="0"/>
                    </a:lnTo>
                    <a:lnTo>
                      <a:pt x="0" y="188677"/>
                    </a:lnTo>
                    <a:lnTo>
                      <a:pt x="188685" y="188677"/>
                    </a:lnTo>
                    <a:lnTo>
                      <a:pt x="188685" y="0"/>
                    </a:lnTo>
                    <a:close/>
                    <a:moveTo>
                      <a:pt x="377371" y="16"/>
                    </a:moveTo>
                    <a:lnTo>
                      <a:pt x="188685" y="16"/>
                    </a:lnTo>
                    <a:lnTo>
                      <a:pt x="188685" y="188694"/>
                    </a:lnTo>
                    <a:lnTo>
                      <a:pt x="377371" y="188694"/>
                    </a:lnTo>
                    <a:lnTo>
                      <a:pt x="377371" y="16"/>
                    </a:lnTo>
                    <a:close/>
                    <a:moveTo>
                      <a:pt x="188685" y="188677"/>
                    </a:moveTo>
                    <a:lnTo>
                      <a:pt x="0" y="188677"/>
                    </a:lnTo>
                    <a:lnTo>
                      <a:pt x="0" y="377355"/>
                    </a:lnTo>
                    <a:lnTo>
                      <a:pt x="188685" y="377355"/>
                    </a:lnTo>
                    <a:lnTo>
                      <a:pt x="188685" y="188677"/>
                    </a:lnTo>
                    <a:close/>
                    <a:moveTo>
                      <a:pt x="377371" y="188694"/>
                    </a:moveTo>
                    <a:lnTo>
                      <a:pt x="188685" y="188694"/>
                    </a:lnTo>
                    <a:lnTo>
                      <a:pt x="188685" y="377371"/>
                    </a:lnTo>
                    <a:lnTo>
                      <a:pt x="377371" y="377371"/>
                    </a:lnTo>
                    <a:lnTo>
                      <a:pt x="377371" y="188694"/>
                    </a:lnTo>
                    <a:close/>
                  </a:path>
                </a:pathLst>
              </a:custGeom>
              <a:solidFill>
                <a:srgbClr val="2093FF"/>
              </a:solidFill>
              <a:ln>
                <a:noFill/>
              </a:ln>
            </p:spPr>
            <p:txBody>
              <a:bodyPr rtlCol="0" anchor="ctr"/>
              <a:lstStyle/>
              <a:p>
                <a:pPr algn="ctr"/>
                <a:endParaRPr sz="3600"/>
              </a:p>
            </p:txBody>
          </p:sp>
          <p:sp>
            <p:nvSpPr>
              <p:cNvPr id="172" name="Rounded Rectangle 22">
                <a:extLst>
                  <a:ext uri="{FF2B5EF4-FFF2-40B4-BE49-F238E27FC236}">
                    <a16:creationId xmlns:a16="http://schemas.microsoft.com/office/drawing/2014/main" id="{E699660E-B173-C442-F1F5-CA7D567E9E24}"/>
                  </a:ext>
                </a:extLst>
              </p:cNvPr>
              <p:cNvSpPr/>
              <p:nvPr/>
            </p:nvSpPr>
            <p:spPr>
              <a:xfrm>
                <a:off x="3647923" y="2610152"/>
                <a:ext cx="377371" cy="377371"/>
              </a:xfrm>
              <a:custGeom>
                <a:avLst/>
                <a:gdLst/>
                <a:ahLst/>
                <a:cxnLst/>
                <a:rect l="0" t="0" r="0" b="0"/>
                <a:pathLst>
                  <a:path w="377371" h="377371">
                    <a:moveTo>
                      <a:pt x="377371" y="188685"/>
                    </a:moveTo>
                    <a:cubicBezTo>
                      <a:pt x="377371" y="292894"/>
                      <a:pt x="292894" y="377371"/>
                      <a:pt x="188685" y="377371"/>
                    </a:cubicBezTo>
                    <a:cubicBezTo>
                      <a:pt x="84477" y="377371"/>
                      <a:pt x="0" y="292894"/>
                      <a:pt x="0" y="188685"/>
                    </a:cubicBezTo>
                    <a:cubicBezTo>
                      <a:pt x="0" y="84477"/>
                      <a:pt x="84477" y="0"/>
                      <a:pt x="188685" y="0"/>
                    </a:cubicBezTo>
                    <a:cubicBezTo>
                      <a:pt x="292894" y="0"/>
                      <a:pt x="377371" y="84477"/>
                      <a:pt x="377371" y="188685"/>
                    </a:cubicBezTo>
                    <a:close/>
                  </a:path>
                </a:pathLst>
              </a:custGeom>
              <a:solidFill>
                <a:srgbClr val="2093FF"/>
              </a:solidFill>
              <a:ln>
                <a:noFill/>
              </a:ln>
            </p:spPr>
            <p:txBody>
              <a:bodyPr rtlCol="0" anchor="ctr"/>
              <a:lstStyle/>
              <a:p>
                <a:pPr algn="ctr"/>
                <a:endParaRPr sz="3600"/>
              </a:p>
            </p:txBody>
          </p:sp>
          <p:sp>
            <p:nvSpPr>
              <p:cNvPr id="173" name="Rounded Rectangle 23">
                <a:extLst>
                  <a:ext uri="{FF2B5EF4-FFF2-40B4-BE49-F238E27FC236}">
                    <a16:creationId xmlns:a16="http://schemas.microsoft.com/office/drawing/2014/main" id="{6E67F255-D775-DDAF-B414-528331F6ACA0}"/>
                  </a:ext>
                </a:extLst>
              </p:cNvPr>
              <p:cNvSpPr/>
              <p:nvPr/>
            </p:nvSpPr>
            <p:spPr>
              <a:xfrm>
                <a:off x="2830285" y="2515809"/>
                <a:ext cx="377371" cy="377371"/>
              </a:xfrm>
              <a:custGeom>
                <a:avLst/>
                <a:gdLst/>
                <a:ahLst/>
                <a:cxnLst/>
                <a:rect l="0" t="0" r="0" b="0"/>
                <a:pathLst>
                  <a:path w="377371" h="377371">
                    <a:moveTo>
                      <a:pt x="188685" y="0"/>
                    </a:moveTo>
                    <a:lnTo>
                      <a:pt x="0" y="0"/>
                    </a:lnTo>
                    <a:lnTo>
                      <a:pt x="0" y="188677"/>
                    </a:lnTo>
                    <a:lnTo>
                      <a:pt x="188685" y="188677"/>
                    </a:lnTo>
                    <a:lnTo>
                      <a:pt x="188685" y="0"/>
                    </a:lnTo>
                    <a:close/>
                    <a:moveTo>
                      <a:pt x="377371" y="16"/>
                    </a:moveTo>
                    <a:lnTo>
                      <a:pt x="188685" y="16"/>
                    </a:lnTo>
                    <a:lnTo>
                      <a:pt x="188685" y="188694"/>
                    </a:lnTo>
                    <a:lnTo>
                      <a:pt x="377371" y="188694"/>
                    </a:lnTo>
                    <a:lnTo>
                      <a:pt x="377371" y="16"/>
                    </a:lnTo>
                    <a:close/>
                    <a:moveTo>
                      <a:pt x="188685" y="188677"/>
                    </a:moveTo>
                    <a:lnTo>
                      <a:pt x="0" y="188677"/>
                    </a:lnTo>
                    <a:lnTo>
                      <a:pt x="0" y="377355"/>
                    </a:lnTo>
                    <a:lnTo>
                      <a:pt x="188685" y="377355"/>
                    </a:lnTo>
                    <a:lnTo>
                      <a:pt x="188685" y="188677"/>
                    </a:lnTo>
                    <a:close/>
                    <a:moveTo>
                      <a:pt x="377371" y="188694"/>
                    </a:moveTo>
                    <a:lnTo>
                      <a:pt x="188685" y="188694"/>
                    </a:lnTo>
                    <a:lnTo>
                      <a:pt x="188685" y="377371"/>
                    </a:lnTo>
                    <a:lnTo>
                      <a:pt x="377371" y="377371"/>
                    </a:lnTo>
                    <a:lnTo>
                      <a:pt x="377371" y="188694"/>
                    </a:lnTo>
                    <a:close/>
                  </a:path>
                </a:pathLst>
              </a:custGeom>
              <a:noFill/>
              <a:ln w="3930">
                <a:solidFill>
                  <a:srgbClr val="FFFFFF"/>
                </a:solidFill>
              </a:ln>
            </p:spPr>
            <p:txBody>
              <a:bodyPr rtlCol="0" anchor="ctr"/>
              <a:lstStyle/>
              <a:p>
                <a:pPr algn="ctr"/>
                <a:endParaRPr sz="3600"/>
              </a:p>
            </p:txBody>
          </p:sp>
          <p:sp>
            <p:nvSpPr>
              <p:cNvPr id="174" name="Rounded Rectangle 24">
                <a:extLst>
                  <a:ext uri="{FF2B5EF4-FFF2-40B4-BE49-F238E27FC236}">
                    <a16:creationId xmlns:a16="http://schemas.microsoft.com/office/drawing/2014/main" id="{19E44DDD-EA6C-AC51-708C-72A37DB4F975}"/>
                  </a:ext>
                </a:extLst>
              </p:cNvPr>
              <p:cNvSpPr/>
              <p:nvPr/>
            </p:nvSpPr>
            <p:spPr>
              <a:xfrm>
                <a:off x="3647923" y="2610152"/>
                <a:ext cx="377371" cy="377371"/>
              </a:xfrm>
              <a:custGeom>
                <a:avLst/>
                <a:gdLst/>
                <a:ahLst/>
                <a:cxnLst/>
                <a:rect l="0" t="0" r="0" b="0"/>
                <a:pathLst>
                  <a:path w="377371" h="377371">
                    <a:moveTo>
                      <a:pt x="377371" y="188685"/>
                    </a:moveTo>
                    <a:cubicBezTo>
                      <a:pt x="377371" y="292894"/>
                      <a:pt x="292894" y="377371"/>
                      <a:pt x="188685" y="377371"/>
                    </a:cubicBezTo>
                    <a:cubicBezTo>
                      <a:pt x="84477" y="377371"/>
                      <a:pt x="0" y="292894"/>
                      <a:pt x="0" y="188685"/>
                    </a:cubicBezTo>
                    <a:cubicBezTo>
                      <a:pt x="0" y="84477"/>
                      <a:pt x="84477" y="0"/>
                      <a:pt x="188685" y="0"/>
                    </a:cubicBezTo>
                    <a:cubicBezTo>
                      <a:pt x="292894" y="0"/>
                      <a:pt x="377371" y="84477"/>
                      <a:pt x="377371" y="188685"/>
                    </a:cubicBezTo>
                    <a:close/>
                  </a:path>
                </a:pathLst>
              </a:custGeom>
              <a:noFill/>
              <a:ln w="3930">
                <a:solidFill>
                  <a:srgbClr val="FFFFFF"/>
                </a:solidFill>
              </a:ln>
            </p:spPr>
            <p:txBody>
              <a:bodyPr rtlCol="0" anchor="ctr"/>
              <a:lstStyle/>
              <a:p>
                <a:pPr algn="ctr"/>
                <a:endParaRPr sz="3600"/>
              </a:p>
            </p:txBody>
          </p:sp>
        </p:grpSp>
        <p:grpSp>
          <p:nvGrpSpPr>
            <p:cNvPr id="175" name="Group 174">
              <a:extLst>
                <a:ext uri="{FF2B5EF4-FFF2-40B4-BE49-F238E27FC236}">
                  <a16:creationId xmlns:a16="http://schemas.microsoft.com/office/drawing/2014/main" id="{38B0B496-4A3B-77C2-3FA3-D0BFA2A6FBB4}"/>
                </a:ext>
              </a:extLst>
            </p:cNvPr>
            <p:cNvGrpSpPr/>
            <p:nvPr/>
          </p:nvGrpSpPr>
          <p:grpSpPr>
            <a:xfrm>
              <a:off x="4555724" y="3827797"/>
              <a:ext cx="1828801" cy="475488"/>
              <a:chOff x="1257904" y="3081866"/>
              <a:chExt cx="1572381" cy="408819"/>
            </a:xfrm>
          </p:grpSpPr>
          <p:sp>
            <p:nvSpPr>
              <p:cNvPr id="176" name="Rounded Rectangle 26">
                <a:extLst>
                  <a:ext uri="{FF2B5EF4-FFF2-40B4-BE49-F238E27FC236}">
                    <a16:creationId xmlns:a16="http://schemas.microsoft.com/office/drawing/2014/main" id="{2C91A664-C2DA-A1DB-3A9A-8B54346A77C8}"/>
                  </a:ext>
                </a:extLst>
              </p:cNvPr>
              <p:cNvSpPr/>
              <p:nvPr/>
            </p:nvSpPr>
            <p:spPr>
              <a:xfrm>
                <a:off x="2264228" y="3113314"/>
                <a:ext cx="566057" cy="377371"/>
              </a:xfrm>
              <a:custGeom>
                <a:avLst/>
                <a:gdLst/>
                <a:ahLst/>
                <a:cxnLst/>
                <a:rect l="0" t="0" r="0" b="0"/>
                <a:pathLst>
                  <a:path w="566057" h="377371">
                    <a:moveTo>
                      <a:pt x="188685" y="0"/>
                    </a:moveTo>
                    <a:lnTo>
                      <a:pt x="0" y="0"/>
                    </a:lnTo>
                    <a:lnTo>
                      <a:pt x="0" y="188685"/>
                    </a:lnTo>
                    <a:lnTo>
                      <a:pt x="188685" y="188685"/>
                    </a:lnTo>
                    <a:lnTo>
                      <a:pt x="188685" y="0"/>
                    </a:lnTo>
                    <a:close/>
                    <a:moveTo>
                      <a:pt x="377371" y="0"/>
                    </a:moveTo>
                    <a:lnTo>
                      <a:pt x="188685" y="0"/>
                    </a:lnTo>
                    <a:lnTo>
                      <a:pt x="188685" y="188685"/>
                    </a:lnTo>
                    <a:lnTo>
                      <a:pt x="377371" y="188685"/>
                    </a:lnTo>
                    <a:lnTo>
                      <a:pt x="377371" y="0"/>
                    </a:lnTo>
                    <a:close/>
                    <a:moveTo>
                      <a:pt x="377415" y="188685"/>
                    </a:moveTo>
                    <a:lnTo>
                      <a:pt x="188730" y="188685"/>
                    </a:lnTo>
                    <a:lnTo>
                      <a:pt x="188730" y="377371"/>
                    </a:lnTo>
                    <a:lnTo>
                      <a:pt x="377415" y="377371"/>
                    </a:lnTo>
                    <a:lnTo>
                      <a:pt x="377415" y="188685"/>
                    </a:lnTo>
                    <a:close/>
                    <a:moveTo>
                      <a:pt x="566057" y="188685"/>
                    </a:moveTo>
                    <a:lnTo>
                      <a:pt x="377371" y="188685"/>
                    </a:lnTo>
                    <a:lnTo>
                      <a:pt x="377371" y="377371"/>
                    </a:lnTo>
                    <a:lnTo>
                      <a:pt x="566057" y="377371"/>
                    </a:lnTo>
                    <a:lnTo>
                      <a:pt x="566057" y="188685"/>
                    </a:lnTo>
                    <a:close/>
                  </a:path>
                </a:pathLst>
              </a:custGeom>
              <a:solidFill>
                <a:srgbClr val="128DFF"/>
              </a:solidFill>
              <a:ln>
                <a:noFill/>
              </a:ln>
            </p:spPr>
            <p:txBody>
              <a:bodyPr rtlCol="0" anchor="ctr"/>
              <a:lstStyle/>
              <a:p>
                <a:pPr algn="ctr"/>
                <a:endParaRPr sz="3600"/>
              </a:p>
            </p:txBody>
          </p:sp>
          <p:sp>
            <p:nvSpPr>
              <p:cNvPr id="177" name="Rounded Rectangle 27">
                <a:extLst>
                  <a:ext uri="{FF2B5EF4-FFF2-40B4-BE49-F238E27FC236}">
                    <a16:creationId xmlns:a16="http://schemas.microsoft.com/office/drawing/2014/main" id="{E62FBAE8-EC17-C148-451D-EDD13D4C98F3}"/>
                  </a:ext>
                </a:extLst>
              </p:cNvPr>
              <p:cNvSpPr/>
              <p:nvPr/>
            </p:nvSpPr>
            <p:spPr>
              <a:xfrm>
                <a:off x="1257904" y="3081866"/>
                <a:ext cx="377371" cy="377371"/>
              </a:xfrm>
              <a:custGeom>
                <a:avLst/>
                <a:gdLst/>
                <a:ahLst/>
                <a:cxnLst/>
                <a:rect l="0" t="0" r="0" b="0"/>
                <a:pathLst>
                  <a:path w="377371" h="377371">
                    <a:moveTo>
                      <a:pt x="377371" y="188685"/>
                    </a:moveTo>
                    <a:cubicBezTo>
                      <a:pt x="377371" y="292894"/>
                      <a:pt x="292894" y="377371"/>
                      <a:pt x="188685" y="377371"/>
                    </a:cubicBezTo>
                    <a:cubicBezTo>
                      <a:pt x="84477" y="377371"/>
                      <a:pt x="0" y="292894"/>
                      <a:pt x="0" y="188685"/>
                    </a:cubicBezTo>
                    <a:cubicBezTo>
                      <a:pt x="0" y="84477"/>
                      <a:pt x="84477" y="0"/>
                      <a:pt x="188685" y="0"/>
                    </a:cubicBezTo>
                    <a:cubicBezTo>
                      <a:pt x="292894" y="0"/>
                      <a:pt x="377371" y="84477"/>
                      <a:pt x="377371" y="188685"/>
                    </a:cubicBezTo>
                    <a:close/>
                  </a:path>
                </a:pathLst>
              </a:custGeom>
              <a:solidFill>
                <a:srgbClr val="128DFF"/>
              </a:solidFill>
              <a:ln>
                <a:noFill/>
              </a:ln>
            </p:spPr>
            <p:txBody>
              <a:bodyPr rtlCol="0" anchor="ctr"/>
              <a:lstStyle/>
              <a:p>
                <a:pPr algn="ctr"/>
                <a:endParaRPr sz="3600"/>
              </a:p>
            </p:txBody>
          </p:sp>
          <p:sp>
            <p:nvSpPr>
              <p:cNvPr id="178" name="Rounded Rectangle 28">
                <a:extLst>
                  <a:ext uri="{FF2B5EF4-FFF2-40B4-BE49-F238E27FC236}">
                    <a16:creationId xmlns:a16="http://schemas.microsoft.com/office/drawing/2014/main" id="{75A65F87-09B9-56C4-FB26-4343407467EB}"/>
                  </a:ext>
                </a:extLst>
              </p:cNvPr>
              <p:cNvSpPr/>
              <p:nvPr/>
            </p:nvSpPr>
            <p:spPr>
              <a:xfrm>
                <a:off x="2264228" y="3113314"/>
                <a:ext cx="566057" cy="377371"/>
              </a:xfrm>
              <a:custGeom>
                <a:avLst/>
                <a:gdLst/>
                <a:ahLst/>
                <a:cxnLst/>
                <a:rect l="0" t="0" r="0" b="0"/>
                <a:pathLst>
                  <a:path w="566057" h="377371">
                    <a:moveTo>
                      <a:pt x="188685" y="0"/>
                    </a:moveTo>
                    <a:lnTo>
                      <a:pt x="0" y="0"/>
                    </a:lnTo>
                    <a:lnTo>
                      <a:pt x="0" y="188685"/>
                    </a:lnTo>
                    <a:lnTo>
                      <a:pt x="188685" y="188685"/>
                    </a:lnTo>
                    <a:lnTo>
                      <a:pt x="188685" y="0"/>
                    </a:lnTo>
                    <a:close/>
                    <a:moveTo>
                      <a:pt x="377371" y="0"/>
                    </a:moveTo>
                    <a:lnTo>
                      <a:pt x="188685" y="0"/>
                    </a:lnTo>
                    <a:lnTo>
                      <a:pt x="188685" y="188685"/>
                    </a:lnTo>
                    <a:lnTo>
                      <a:pt x="377371" y="188685"/>
                    </a:lnTo>
                    <a:lnTo>
                      <a:pt x="377371" y="0"/>
                    </a:lnTo>
                    <a:close/>
                    <a:moveTo>
                      <a:pt x="377415" y="188685"/>
                    </a:moveTo>
                    <a:lnTo>
                      <a:pt x="188730" y="188685"/>
                    </a:lnTo>
                    <a:lnTo>
                      <a:pt x="188730" y="377371"/>
                    </a:lnTo>
                    <a:lnTo>
                      <a:pt x="377415" y="377371"/>
                    </a:lnTo>
                    <a:lnTo>
                      <a:pt x="377415" y="188685"/>
                    </a:lnTo>
                    <a:close/>
                    <a:moveTo>
                      <a:pt x="566057" y="188685"/>
                    </a:moveTo>
                    <a:lnTo>
                      <a:pt x="377371" y="188685"/>
                    </a:lnTo>
                    <a:lnTo>
                      <a:pt x="377371" y="377371"/>
                    </a:lnTo>
                    <a:lnTo>
                      <a:pt x="566057" y="377371"/>
                    </a:lnTo>
                    <a:lnTo>
                      <a:pt x="566057" y="188685"/>
                    </a:lnTo>
                    <a:close/>
                  </a:path>
                </a:pathLst>
              </a:custGeom>
              <a:noFill/>
              <a:ln w="3930">
                <a:solidFill>
                  <a:srgbClr val="FFFFFF"/>
                </a:solidFill>
              </a:ln>
            </p:spPr>
            <p:txBody>
              <a:bodyPr rtlCol="0" anchor="ctr"/>
              <a:lstStyle/>
              <a:p>
                <a:pPr algn="ctr"/>
                <a:endParaRPr sz="3600"/>
              </a:p>
            </p:txBody>
          </p:sp>
          <p:sp>
            <p:nvSpPr>
              <p:cNvPr id="179" name="Rounded Rectangle 29">
                <a:extLst>
                  <a:ext uri="{FF2B5EF4-FFF2-40B4-BE49-F238E27FC236}">
                    <a16:creationId xmlns:a16="http://schemas.microsoft.com/office/drawing/2014/main" id="{CC7D079C-2CCD-3998-5161-4D87FE1AB76B}"/>
                  </a:ext>
                </a:extLst>
              </p:cNvPr>
              <p:cNvSpPr/>
              <p:nvPr/>
            </p:nvSpPr>
            <p:spPr>
              <a:xfrm>
                <a:off x="1257904" y="3081866"/>
                <a:ext cx="377371" cy="377371"/>
              </a:xfrm>
              <a:custGeom>
                <a:avLst/>
                <a:gdLst/>
                <a:ahLst/>
                <a:cxnLst/>
                <a:rect l="0" t="0" r="0" b="0"/>
                <a:pathLst>
                  <a:path w="377371" h="377371">
                    <a:moveTo>
                      <a:pt x="377371" y="188685"/>
                    </a:moveTo>
                    <a:cubicBezTo>
                      <a:pt x="377371" y="292894"/>
                      <a:pt x="292894" y="377371"/>
                      <a:pt x="188685" y="377371"/>
                    </a:cubicBezTo>
                    <a:cubicBezTo>
                      <a:pt x="84477" y="377371"/>
                      <a:pt x="0" y="292894"/>
                      <a:pt x="0" y="188685"/>
                    </a:cubicBezTo>
                    <a:cubicBezTo>
                      <a:pt x="0" y="84477"/>
                      <a:pt x="84477" y="0"/>
                      <a:pt x="188685" y="0"/>
                    </a:cubicBezTo>
                    <a:cubicBezTo>
                      <a:pt x="292894" y="0"/>
                      <a:pt x="377371" y="84477"/>
                      <a:pt x="377371" y="188685"/>
                    </a:cubicBezTo>
                    <a:close/>
                  </a:path>
                </a:pathLst>
              </a:custGeom>
              <a:noFill/>
              <a:ln w="3930">
                <a:solidFill>
                  <a:srgbClr val="FFFFFF"/>
                </a:solidFill>
              </a:ln>
            </p:spPr>
            <p:txBody>
              <a:bodyPr rtlCol="0" anchor="ctr"/>
              <a:lstStyle/>
              <a:p>
                <a:pPr algn="ctr"/>
                <a:endParaRPr sz="3600"/>
              </a:p>
            </p:txBody>
          </p:sp>
        </p:grpSp>
        <p:grpSp>
          <p:nvGrpSpPr>
            <p:cNvPr id="180" name="Group 179">
              <a:extLst>
                <a:ext uri="{FF2B5EF4-FFF2-40B4-BE49-F238E27FC236}">
                  <a16:creationId xmlns:a16="http://schemas.microsoft.com/office/drawing/2014/main" id="{BBACA22A-34DC-18AB-E178-23F3B4C35C7C}"/>
                </a:ext>
              </a:extLst>
            </p:cNvPr>
            <p:cNvGrpSpPr/>
            <p:nvPr/>
          </p:nvGrpSpPr>
          <p:grpSpPr>
            <a:xfrm>
              <a:off x="6823438" y="4152498"/>
              <a:ext cx="950975" cy="877823"/>
              <a:chOff x="3207657" y="3553580"/>
              <a:chExt cx="817637" cy="754742"/>
            </a:xfrm>
          </p:grpSpPr>
          <p:sp>
            <p:nvSpPr>
              <p:cNvPr id="181" name="Rounded Rectangle 31">
                <a:extLst>
                  <a:ext uri="{FF2B5EF4-FFF2-40B4-BE49-F238E27FC236}">
                    <a16:creationId xmlns:a16="http://schemas.microsoft.com/office/drawing/2014/main" id="{165AF812-5467-ED7E-E11C-68A67AB954C6}"/>
                  </a:ext>
                </a:extLst>
              </p:cNvPr>
              <p:cNvSpPr/>
              <p:nvPr/>
            </p:nvSpPr>
            <p:spPr>
              <a:xfrm>
                <a:off x="3207657" y="3553580"/>
                <a:ext cx="188685" cy="754742"/>
              </a:xfrm>
              <a:custGeom>
                <a:avLst/>
                <a:gdLst/>
                <a:ahLst/>
                <a:cxnLst/>
                <a:rect l="0" t="0" r="0" b="0"/>
                <a:pathLst>
                  <a:path w="188685" h="754742">
                    <a:moveTo>
                      <a:pt x="188685" y="377371"/>
                    </a:moveTo>
                    <a:lnTo>
                      <a:pt x="0" y="377371"/>
                    </a:lnTo>
                    <a:lnTo>
                      <a:pt x="0" y="566057"/>
                    </a:lnTo>
                    <a:lnTo>
                      <a:pt x="188685" y="566057"/>
                    </a:lnTo>
                    <a:lnTo>
                      <a:pt x="188685" y="377371"/>
                    </a:lnTo>
                    <a:close/>
                    <a:moveTo>
                      <a:pt x="188685" y="566057"/>
                    </a:moveTo>
                    <a:lnTo>
                      <a:pt x="0" y="566057"/>
                    </a:lnTo>
                    <a:lnTo>
                      <a:pt x="0" y="754742"/>
                    </a:lnTo>
                    <a:lnTo>
                      <a:pt x="188685" y="754742"/>
                    </a:lnTo>
                    <a:lnTo>
                      <a:pt x="188685" y="566057"/>
                    </a:lnTo>
                    <a:close/>
                    <a:moveTo>
                      <a:pt x="188685" y="188685"/>
                    </a:moveTo>
                    <a:lnTo>
                      <a:pt x="0" y="188685"/>
                    </a:lnTo>
                    <a:lnTo>
                      <a:pt x="0" y="377371"/>
                    </a:lnTo>
                    <a:lnTo>
                      <a:pt x="188685" y="377371"/>
                    </a:lnTo>
                    <a:lnTo>
                      <a:pt x="188685" y="188685"/>
                    </a:lnTo>
                    <a:close/>
                    <a:moveTo>
                      <a:pt x="188685" y="0"/>
                    </a:moveTo>
                    <a:lnTo>
                      <a:pt x="0" y="0"/>
                    </a:lnTo>
                    <a:lnTo>
                      <a:pt x="0" y="188685"/>
                    </a:lnTo>
                    <a:lnTo>
                      <a:pt x="188685" y="188685"/>
                    </a:lnTo>
                    <a:lnTo>
                      <a:pt x="188685" y="0"/>
                    </a:lnTo>
                    <a:close/>
                  </a:path>
                </a:pathLst>
              </a:custGeom>
              <a:solidFill>
                <a:srgbClr val="0486FF"/>
              </a:solidFill>
              <a:ln>
                <a:noFill/>
              </a:ln>
            </p:spPr>
            <p:txBody>
              <a:bodyPr rtlCol="0" anchor="ctr"/>
              <a:lstStyle/>
              <a:p>
                <a:pPr algn="ctr"/>
                <a:endParaRPr sz="3600"/>
              </a:p>
            </p:txBody>
          </p:sp>
          <p:sp>
            <p:nvSpPr>
              <p:cNvPr id="182" name="Rounded Rectangle 32">
                <a:extLst>
                  <a:ext uri="{FF2B5EF4-FFF2-40B4-BE49-F238E27FC236}">
                    <a16:creationId xmlns:a16="http://schemas.microsoft.com/office/drawing/2014/main" id="{0A7FBB1C-54BF-4B1A-76AF-80DAD57BA946}"/>
                  </a:ext>
                </a:extLst>
              </p:cNvPr>
              <p:cNvSpPr/>
              <p:nvPr/>
            </p:nvSpPr>
            <p:spPr>
              <a:xfrm>
                <a:off x="3647923" y="3647923"/>
                <a:ext cx="377371" cy="377371"/>
              </a:xfrm>
              <a:custGeom>
                <a:avLst/>
                <a:gdLst/>
                <a:ahLst/>
                <a:cxnLst/>
                <a:rect l="0" t="0" r="0" b="0"/>
                <a:pathLst>
                  <a:path w="377371" h="377371">
                    <a:moveTo>
                      <a:pt x="377371" y="188685"/>
                    </a:moveTo>
                    <a:cubicBezTo>
                      <a:pt x="377371" y="292894"/>
                      <a:pt x="292894" y="377371"/>
                      <a:pt x="188685" y="377371"/>
                    </a:cubicBezTo>
                    <a:cubicBezTo>
                      <a:pt x="84477" y="377371"/>
                      <a:pt x="0" y="292894"/>
                      <a:pt x="0" y="188685"/>
                    </a:cubicBezTo>
                    <a:cubicBezTo>
                      <a:pt x="0" y="84477"/>
                      <a:pt x="84477" y="0"/>
                      <a:pt x="188685" y="0"/>
                    </a:cubicBezTo>
                    <a:cubicBezTo>
                      <a:pt x="292894" y="0"/>
                      <a:pt x="377371" y="84477"/>
                      <a:pt x="377371" y="188685"/>
                    </a:cubicBezTo>
                    <a:close/>
                  </a:path>
                </a:pathLst>
              </a:custGeom>
              <a:solidFill>
                <a:srgbClr val="0486FF"/>
              </a:solidFill>
              <a:ln>
                <a:noFill/>
              </a:ln>
            </p:spPr>
            <p:txBody>
              <a:bodyPr rtlCol="0" anchor="ctr"/>
              <a:lstStyle/>
              <a:p>
                <a:pPr algn="ctr"/>
                <a:endParaRPr sz="3600"/>
              </a:p>
            </p:txBody>
          </p:sp>
          <p:sp>
            <p:nvSpPr>
              <p:cNvPr id="183" name="Rounded Rectangle 33">
                <a:extLst>
                  <a:ext uri="{FF2B5EF4-FFF2-40B4-BE49-F238E27FC236}">
                    <a16:creationId xmlns:a16="http://schemas.microsoft.com/office/drawing/2014/main" id="{072FE80B-0389-26C3-85ED-AD8F2B6E8838}"/>
                  </a:ext>
                </a:extLst>
              </p:cNvPr>
              <p:cNvSpPr/>
              <p:nvPr/>
            </p:nvSpPr>
            <p:spPr>
              <a:xfrm>
                <a:off x="3207657" y="3553580"/>
                <a:ext cx="188685" cy="754742"/>
              </a:xfrm>
              <a:custGeom>
                <a:avLst/>
                <a:gdLst/>
                <a:ahLst/>
                <a:cxnLst/>
                <a:rect l="0" t="0" r="0" b="0"/>
                <a:pathLst>
                  <a:path w="188685" h="754742">
                    <a:moveTo>
                      <a:pt x="188685" y="377371"/>
                    </a:moveTo>
                    <a:lnTo>
                      <a:pt x="0" y="377371"/>
                    </a:lnTo>
                    <a:lnTo>
                      <a:pt x="0" y="566057"/>
                    </a:lnTo>
                    <a:lnTo>
                      <a:pt x="188685" y="566057"/>
                    </a:lnTo>
                    <a:lnTo>
                      <a:pt x="188685" y="377371"/>
                    </a:lnTo>
                    <a:close/>
                    <a:moveTo>
                      <a:pt x="188685" y="566057"/>
                    </a:moveTo>
                    <a:lnTo>
                      <a:pt x="0" y="566057"/>
                    </a:lnTo>
                    <a:lnTo>
                      <a:pt x="0" y="754742"/>
                    </a:lnTo>
                    <a:lnTo>
                      <a:pt x="188685" y="754742"/>
                    </a:lnTo>
                    <a:lnTo>
                      <a:pt x="188685" y="566057"/>
                    </a:lnTo>
                    <a:close/>
                    <a:moveTo>
                      <a:pt x="188685" y="188685"/>
                    </a:moveTo>
                    <a:lnTo>
                      <a:pt x="0" y="188685"/>
                    </a:lnTo>
                    <a:lnTo>
                      <a:pt x="0" y="377371"/>
                    </a:lnTo>
                    <a:lnTo>
                      <a:pt x="188685" y="377371"/>
                    </a:lnTo>
                    <a:lnTo>
                      <a:pt x="188685" y="188685"/>
                    </a:lnTo>
                    <a:close/>
                    <a:moveTo>
                      <a:pt x="188685" y="0"/>
                    </a:moveTo>
                    <a:lnTo>
                      <a:pt x="0" y="0"/>
                    </a:lnTo>
                    <a:lnTo>
                      <a:pt x="0" y="188685"/>
                    </a:lnTo>
                    <a:lnTo>
                      <a:pt x="188685" y="188685"/>
                    </a:lnTo>
                    <a:lnTo>
                      <a:pt x="188685" y="0"/>
                    </a:lnTo>
                    <a:close/>
                  </a:path>
                </a:pathLst>
              </a:custGeom>
              <a:noFill/>
              <a:ln w="3930">
                <a:solidFill>
                  <a:srgbClr val="FFFFFF"/>
                </a:solidFill>
              </a:ln>
            </p:spPr>
            <p:txBody>
              <a:bodyPr rtlCol="0" anchor="ctr"/>
              <a:lstStyle/>
              <a:p>
                <a:pPr algn="ctr"/>
                <a:endParaRPr sz="3600"/>
              </a:p>
            </p:txBody>
          </p:sp>
          <p:sp>
            <p:nvSpPr>
              <p:cNvPr id="184" name="Rounded Rectangle 34">
                <a:extLst>
                  <a:ext uri="{FF2B5EF4-FFF2-40B4-BE49-F238E27FC236}">
                    <a16:creationId xmlns:a16="http://schemas.microsoft.com/office/drawing/2014/main" id="{79318850-8344-4843-9D8E-53FD7EA63A26}"/>
                  </a:ext>
                </a:extLst>
              </p:cNvPr>
              <p:cNvSpPr/>
              <p:nvPr/>
            </p:nvSpPr>
            <p:spPr>
              <a:xfrm>
                <a:off x="3647923" y="3647923"/>
                <a:ext cx="377371" cy="377371"/>
              </a:xfrm>
              <a:custGeom>
                <a:avLst/>
                <a:gdLst/>
                <a:ahLst/>
                <a:cxnLst/>
                <a:rect l="0" t="0" r="0" b="0"/>
                <a:pathLst>
                  <a:path w="377371" h="377371">
                    <a:moveTo>
                      <a:pt x="377371" y="188685"/>
                    </a:moveTo>
                    <a:cubicBezTo>
                      <a:pt x="377371" y="292894"/>
                      <a:pt x="292894" y="377371"/>
                      <a:pt x="188685" y="377371"/>
                    </a:cubicBezTo>
                    <a:cubicBezTo>
                      <a:pt x="84477" y="377371"/>
                      <a:pt x="0" y="292894"/>
                      <a:pt x="0" y="188685"/>
                    </a:cubicBezTo>
                    <a:cubicBezTo>
                      <a:pt x="0" y="84477"/>
                      <a:pt x="84477" y="0"/>
                      <a:pt x="188685" y="0"/>
                    </a:cubicBezTo>
                    <a:cubicBezTo>
                      <a:pt x="292894" y="0"/>
                      <a:pt x="377371" y="84477"/>
                      <a:pt x="377371" y="188685"/>
                    </a:cubicBezTo>
                    <a:close/>
                  </a:path>
                </a:pathLst>
              </a:custGeom>
              <a:noFill/>
              <a:ln w="3930">
                <a:solidFill>
                  <a:srgbClr val="FFFFFF"/>
                </a:solidFill>
              </a:ln>
            </p:spPr>
            <p:txBody>
              <a:bodyPr rtlCol="0" anchor="ctr"/>
              <a:lstStyle/>
              <a:p>
                <a:pPr algn="ctr"/>
                <a:endParaRPr sz="3600"/>
              </a:p>
            </p:txBody>
          </p:sp>
        </p:grpSp>
        <p:grpSp>
          <p:nvGrpSpPr>
            <p:cNvPr id="185" name="Group 184">
              <a:extLst>
                <a:ext uri="{FF2B5EF4-FFF2-40B4-BE49-F238E27FC236}">
                  <a16:creationId xmlns:a16="http://schemas.microsoft.com/office/drawing/2014/main" id="{F51AE729-7C5F-2836-8F87-C361747C11DE}"/>
                </a:ext>
              </a:extLst>
            </p:cNvPr>
            <p:cNvGrpSpPr/>
            <p:nvPr/>
          </p:nvGrpSpPr>
          <p:grpSpPr>
            <a:xfrm>
              <a:off x="4555724" y="4664562"/>
              <a:ext cx="1170433" cy="658368"/>
              <a:chOff x="1257904" y="3993847"/>
              <a:chExt cx="1006324" cy="566057"/>
            </a:xfrm>
          </p:grpSpPr>
          <p:sp>
            <p:nvSpPr>
              <p:cNvPr id="186" name="Rounded Rectangle 36">
                <a:extLst>
                  <a:ext uri="{FF2B5EF4-FFF2-40B4-BE49-F238E27FC236}">
                    <a16:creationId xmlns:a16="http://schemas.microsoft.com/office/drawing/2014/main" id="{FF7AE3AE-BA86-6624-C8DB-7EC79E7BA1CB}"/>
                  </a:ext>
                </a:extLst>
              </p:cNvPr>
              <p:cNvSpPr/>
              <p:nvPr/>
            </p:nvSpPr>
            <p:spPr>
              <a:xfrm>
                <a:off x="1886857" y="3993847"/>
                <a:ext cx="377371" cy="566057"/>
              </a:xfrm>
              <a:custGeom>
                <a:avLst/>
                <a:gdLst/>
                <a:ahLst/>
                <a:cxnLst/>
                <a:rect l="0" t="0" r="0" b="0"/>
                <a:pathLst>
                  <a:path w="377371" h="566057">
                    <a:moveTo>
                      <a:pt x="188722" y="188697"/>
                    </a:moveTo>
                    <a:lnTo>
                      <a:pt x="73" y="188697"/>
                    </a:lnTo>
                    <a:lnTo>
                      <a:pt x="73" y="377377"/>
                    </a:lnTo>
                    <a:lnTo>
                      <a:pt x="188722" y="377377"/>
                    </a:lnTo>
                    <a:lnTo>
                      <a:pt x="188722" y="188697"/>
                    </a:lnTo>
                    <a:close/>
                    <a:moveTo>
                      <a:pt x="188649" y="0"/>
                    </a:moveTo>
                    <a:lnTo>
                      <a:pt x="0" y="0"/>
                    </a:lnTo>
                    <a:lnTo>
                      <a:pt x="0" y="188679"/>
                    </a:lnTo>
                    <a:lnTo>
                      <a:pt x="188649" y="188679"/>
                    </a:lnTo>
                    <a:lnTo>
                      <a:pt x="188649" y="0"/>
                    </a:lnTo>
                    <a:close/>
                    <a:moveTo>
                      <a:pt x="377371" y="188697"/>
                    </a:moveTo>
                    <a:lnTo>
                      <a:pt x="188722" y="188697"/>
                    </a:lnTo>
                    <a:lnTo>
                      <a:pt x="188722" y="377377"/>
                    </a:lnTo>
                    <a:lnTo>
                      <a:pt x="377371" y="377377"/>
                    </a:lnTo>
                    <a:lnTo>
                      <a:pt x="377371" y="188697"/>
                    </a:lnTo>
                    <a:close/>
                    <a:moveTo>
                      <a:pt x="377371" y="377377"/>
                    </a:moveTo>
                    <a:lnTo>
                      <a:pt x="188722" y="377377"/>
                    </a:lnTo>
                    <a:lnTo>
                      <a:pt x="188722" y="566057"/>
                    </a:lnTo>
                    <a:lnTo>
                      <a:pt x="377371" y="566057"/>
                    </a:lnTo>
                    <a:lnTo>
                      <a:pt x="377371" y="377377"/>
                    </a:lnTo>
                    <a:close/>
                  </a:path>
                </a:pathLst>
              </a:custGeom>
              <a:solidFill>
                <a:srgbClr val="1072CE"/>
              </a:solidFill>
              <a:ln>
                <a:noFill/>
              </a:ln>
            </p:spPr>
            <p:txBody>
              <a:bodyPr rtlCol="0" anchor="ctr"/>
              <a:lstStyle/>
              <a:p>
                <a:pPr algn="ctr"/>
                <a:endParaRPr sz="3600"/>
              </a:p>
            </p:txBody>
          </p:sp>
          <p:sp>
            <p:nvSpPr>
              <p:cNvPr id="187" name="Rounded Rectangle 37">
                <a:extLst>
                  <a:ext uri="{FF2B5EF4-FFF2-40B4-BE49-F238E27FC236}">
                    <a16:creationId xmlns:a16="http://schemas.microsoft.com/office/drawing/2014/main" id="{EFFB1545-F161-FA15-1B17-2C23CC441C2A}"/>
                  </a:ext>
                </a:extLst>
              </p:cNvPr>
              <p:cNvSpPr/>
              <p:nvPr/>
            </p:nvSpPr>
            <p:spPr>
              <a:xfrm>
                <a:off x="1257904" y="4151085"/>
                <a:ext cx="377371" cy="377371"/>
              </a:xfrm>
              <a:custGeom>
                <a:avLst/>
                <a:gdLst/>
                <a:ahLst/>
                <a:cxnLst/>
                <a:rect l="0" t="0" r="0" b="0"/>
                <a:pathLst>
                  <a:path w="377371" h="377371">
                    <a:moveTo>
                      <a:pt x="377371" y="188685"/>
                    </a:moveTo>
                    <a:cubicBezTo>
                      <a:pt x="377371" y="292894"/>
                      <a:pt x="292894" y="377371"/>
                      <a:pt x="188685" y="377371"/>
                    </a:cubicBezTo>
                    <a:cubicBezTo>
                      <a:pt x="84477" y="377371"/>
                      <a:pt x="0" y="292894"/>
                      <a:pt x="0" y="188685"/>
                    </a:cubicBezTo>
                    <a:cubicBezTo>
                      <a:pt x="0" y="84477"/>
                      <a:pt x="84477" y="0"/>
                      <a:pt x="188685" y="0"/>
                    </a:cubicBezTo>
                    <a:cubicBezTo>
                      <a:pt x="292894" y="0"/>
                      <a:pt x="377371" y="84477"/>
                      <a:pt x="377371" y="188685"/>
                    </a:cubicBezTo>
                    <a:close/>
                  </a:path>
                </a:pathLst>
              </a:custGeom>
              <a:solidFill>
                <a:srgbClr val="1072CE"/>
              </a:solidFill>
              <a:ln>
                <a:noFill/>
              </a:ln>
            </p:spPr>
            <p:txBody>
              <a:bodyPr rtlCol="0" anchor="ctr"/>
              <a:lstStyle/>
              <a:p>
                <a:pPr algn="ctr"/>
                <a:endParaRPr sz="3600"/>
              </a:p>
            </p:txBody>
          </p:sp>
          <p:sp>
            <p:nvSpPr>
              <p:cNvPr id="188" name="Rounded Rectangle 38">
                <a:extLst>
                  <a:ext uri="{FF2B5EF4-FFF2-40B4-BE49-F238E27FC236}">
                    <a16:creationId xmlns:a16="http://schemas.microsoft.com/office/drawing/2014/main" id="{24755683-2CAE-52B6-B4B5-E941760C5E6C}"/>
                  </a:ext>
                </a:extLst>
              </p:cNvPr>
              <p:cNvSpPr/>
              <p:nvPr/>
            </p:nvSpPr>
            <p:spPr>
              <a:xfrm>
                <a:off x="1886857" y="3993847"/>
                <a:ext cx="377371" cy="566057"/>
              </a:xfrm>
              <a:custGeom>
                <a:avLst/>
                <a:gdLst/>
                <a:ahLst/>
                <a:cxnLst/>
                <a:rect l="0" t="0" r="0" b="0"/>
                <a:pathLst>
                  <a:path w="377371" h="566057">
                    <a:moveTo>
                      <a:pt x="188722" y="188697"/>
                    </a:moveTo>
                    <a:lnTo>
                      <a:pt x="73" y="188697"/>
                    </a:lnTo>
                    <a:lnTo>
                      <a:pt x="73" y="377377"/>
                    </a:lnTo>
                    <a:lnTo>
                      <a:pt x="188722" y="377377"/>
                    </a:lnTo>
                    <a:lnTo>
                      <a:pt x="188722" y="188697"/>
                    </a:lnTo>
                    <a:close/>
                    <a:moveTo>
                      <a:pt x="188649" y="0"/>
                    </a:moveTo>
                    <a:lnTo>
                      <a:pt x="0" y="0"/>
                    </a:lnTo>
                    <a:lnTo>
                      <a:pt x="0" y="188679"/>
                    </a:lnTo>
                    <a:lnTo>
                      <a:pt x="188649" y="188679"/>
                    </a:lnTo>
                    <a:lnTo>
                      <a:pt x="188649" y="0"/>
                    </a:lnTo>
                    <a:close/>
                    <a:moveTo>
                      <a:pt x="377371" y="188697"/>
                    </a:moveTo>
                    <a:lnTo>
                      <a:pt x="188722" y="188697"/>
                    </a:lnTo>
                    <a:lnTo>
                      <a:pt x="188722" y="377377"/>
                    </a:lnTo>
                    <a:lnTo>
                      <a:pt x="377371" y="377377"/>
                    </a:lnTo>
                    <a:lnTo>
                      <a:pt x="377371" y="188697"/>
                    </a:lnTo>
                    <a:close/>
                    <a:moveTo>
                      <a:pt x="377371" y="377377"/>
                    </a:moveTo>
                    <a:lnTo>
                      <a:pt x="188722" y="377377"/>
                    </a:lnTo>
                    <a:lnTo>
                      <a:pt x="188722" y="566057"/>
                    </a:lnTo>
                    <a:lnTo>
                      <a:pt x="377371" y="566057"/>
                    </a:lnTo>
                    <a:lnTo>
                      <a:pt x="377371" y="377377"/>
                    </a:lnTo>
                    <a:close/>
                  </a:path>
                </a:pathLst>
              </a:custGeom>
              <a:noFill/>
              <a:ln w="3930">
                <a:solidFill>
                  <a:srgbClr val="FFFFFF"/>
                </a:solidFill>
              </a:ln>
            </p:spPr>
            <p:txBody>
              <a:bodyPr rtlCol="0" anchor="ctr"/>
              <a:lstStyle/>
              <a:p>
                <a:pPr algn="ctr"/>
                <a:endParaRPr sz="3600"/>
              </a:p>
            </p:txBody>
          </p:sp>
          <p:sp>
            <p:nvSpPr>
              <p:cNvPr id="189" name="Rounded Rectangle 39">
                <a:extLst>
                  <a:ext uri="{FF2B5EF4-FFF2-40B4-BE49-F238E27FC236}">
                    <a16:creationId xmlns:a16="http://schemas.microsoft.com/office/drawing/2014/main" id="{8EFAE118-8173-A559-49FD-527550FE2510}"/>
                  </a:ext>
                </a:extLst>
              </p:cNvPr>
              <p:cNvSpPr/>
              <p:nvPr/>
            </p:nvSpPr>
            <p:spPr>
              <a:xfrm>
                <a:off x="1257904" y="4151085"/>
                <a:ext cx="377371" cy="377371"/>
              </a:xfrm>
              <a:custGeom>
                <a:avLst/>
                <a:gdLst/>
                <a:ahLst/>
                <a:cxnLst/>
                <a:rect l="0" t="0" r="0" b="0"/>
                <a:pathLst>
                  <a:path w="377371" h="377371">
                    <a:moveTo>
                      <a:pt x="377371" y="188685"/>
                    </a:moveTo>
                    <a:cubicBezTo>
                      <a:pt x="377371" y="292894"/>
                      <a:pt x="292894" y="377371"/>
                      <a:pt x="188685" y="377371"/>
                    </a:cubicBezTo>
                    <a:cubicBezTo>
                      <a:pt x="84477" y="377371"/>
                      <a:pt x="0" y="292894"/>
                      <a:pt x="0" y="188685"/>
                    </a:cubicBezTo>
                    <a:cubicBezTo>
                      <a:pt x="0" y="84477"/>
                      <a:pt x="84477" y="0"/>
                      <a:pt x="188685" y="0"/>
                    </a:cubicBezTo>
                    <a:cubicBezTo>
                      <a:pt x="292894" y="0"/>
                      <a:pt x="377371" y="84477"/>
                      <a:pt x="377371" y="188685"/>
                    </a:cubicBezTo>
                    <a:close/>
                  </a:path>
                </a:pathLst>
              </a:custGeom>
              <a:noFill/>
              <a:ln w="3930">
                <a:solidFill>
                  <a:srgbClr val="FFFFFF"/>
                </a:solidFill>
              </a:ln>
            </p:spPr>
            <p:txBody>
              <a:bodyPr rtlCol="0" anchor="ctr"/>
              <a:lstStyle/>
              <a:p>
                <a:pPr algn="ctr"/>
                <a:endParaRPr sz="3600"/>
              </a:p>
            </p:txBody>
          </p:sp>
        </p:grpSp>
        <p:grpSp>
          <p:nvGrpSpPr>
            <p:cNvPr id="190" name="Group 189">
              <a:extLst>
                <a:ext uri="{FF2B5EF4-FFF2-40B4-BE49-F238E27FC236}">
                  <a16:creationId xmlns:a16="http://schemas.microsoft.com/office/drawing/2014/main" id="{AA014BAF-DA4E-C876-3CF6-785408B664B6}"/>
                </a:ext>
              </a:extLst>
            </p:cNvPr>
            <p:cNvGrpSpPr/>
            <p:nvPr/>
          </p:nvGrpSpPr>
          <p:grpSpPr>
            <a:xfrm>
              <a:off x="5506700" y="5431536"/>
              <a:ext cx="1755648" cy="877823"/>
              <a:chOff x="2075542" y="4842933"/>
              <a:chExt cx="1509485" cy="754742"/>
            </a:xfrm>
          </p:grpSpPr>
          <p:sp>
            <p:nvSpPr>
              <p:cNvPr id="191" name="Rounded Rectangle 41">
                <a:extLst>
                  <a:ext uri="{FF2B5EF4-FFF2-40B4-BE49-F238E27FC236}">
                    <a16:creationId xmlns:a16="http://schemas.microsoft.com/office/drawing/2014/main" id="{DEEDA43D-2578-7A98-D709-D0D6D1415D8A}"/>
                  </a:ext>
                </a:extLst>
              </p:cNvPr>
              <p:cNvSpPr/>
              <p:nvPr/>
            </p:nvSpPr>
            <p:spPr>
              <a:xfrm>
                <a:off x="2452914" y="5031619"/>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solidFill>
                <a:srgbClr val="3CA1FF"/>
              </a:solidFill>
              <a:ln>
                <a:noFill/>
              </a:ln>
            </p:spPr>
            <p:txBody>
              <a:bodyPr rtlCol="0" anchor="ctr"/>
              <a:lstStyle/>
              <a:p>
                <a:pPr algn="ctr"/>
                <a:endParaRPr sz="3600"/>
              </a:p>
            </p:txBody>
          </p:sp>
          <p:sp>
            <p:nvSpPr>
              <p:cNvPr id="192" name="Rounded Rectangle 42">
                <a:extLst>
                  <a:ext uri="{FF2B5EF4-FFF2-40B4-BE49-F238E27FC236}">
                    <a16:creationId xmlns:a16="http://schemas.microsoft.com/office/drawing/2014/main" id="{C1F89D3D-B781-FE86-00D8-D81955DF0E5C}"/>
                  </a:ext>
                </a:extLst>
              </p:cNvPr>
              <p:cNvSpPr/>
              <p:nvPr/>
            </p:nvSpPr>
            <p:spPr>
              <a:xfrm>
                <a:off x="2264228" y="5031619"/>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solidFill>
                <a:srgbClr val="3CA1FF"/>
              </a:solidFill>
              <a:ln>
                <a:noFill/>
              </a:ln>
            </p:spPr>
            <p:txBody>
              <a:bodyPr rtlCol="0" anchor="ctr"/>
              <a:lstStyle/>
              <a:p>
                <a:pPr algn="ctr"/>
                <a:endParaRPr sz="3600"/>
              </a:p>
            </p:txBody>
          </p:sp>
          <p:sp>
            <p:nvSpPr>
              <p:cNvPr id="193" name="Rounded Rectangle 43">
                <a:extLst>
                  <a:ext uri="{FF2B5EF4-FFF2-40B4-BE49-F238E27FC236}">
                    <a16:creationId xmlns:a16="http://schemas.microsoft.com/office/drawing/2014/main" id="{A3C3AFFC-05E6-2D6C-0081-5B09D55978DD}"/>
                  </a:ext>
                </a:extLst>
              </p:cNvPr>
              <p:cNvSpPr/>
              <p:nvPr/>
            </p:nvSpPr>
            <p:spPr>
              <a:xfrm>
                <a:off x="2075542" y="5031619"/>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solidFill>
                <a:srgbClr val="3CA1FF"/>
              </a:solidFill>
              <a:ln>
                <a:noFill/>
              </a:ln>
            </p:spPr>
            <p:txBody>
              <a:bodyPr rtlCol="0" anchor="ctr"/>
              <a:lstStyle/>
              <a:p>
                <a:pPr algn="ctr"/>
                <a:endParaRPr sz="3600"/>
              </a:p>
            </p:txBody>
          </p:sp>
          <p:sp>
            <p:nvSpPr>
              <p:cNvPr id="194" name="Rounded Rectangle 44">
                <a:extLst>
                  <a:ext uri="{FF2B5EF4-FFF2-40B4-BE49-F238E27FC236}">
                    <a16:creationId xmlns:a16="http://schemas.microsoft.com/office/drawing/2014/main" id="{48E725F9-3E7A-C1D4-86A5-2CE43505C6E5}"/>
                  </a:ext>
                </a:extLst>
              </p:cNvPr>
              <p:cNvSpPr/>
              <p:nvPr/>
            </p:nvSpPr>
            <p:spPr>
              <a:xfrm>
                <a:off x="2075542" y="4842933"/>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solidFill>
                <a:srgbClr val="3CA1FF"/>
              </a:solidFill>
              <a:ln>
                <a:noFill/>
              </a:ln>
            </p:spPr>
            <p:txBody>
              <a:bodyPr rtlCol="0" anchor="ctr"/>
              <a:lstStyle/>
              <a:p>
                <a:pPr algn="ctr"/>
                <a:endParaRPr sz="3600"/>
              </a:p>
            </p:txBody>
          </p:sp>
          <p:sp>
            <p:nvSpPr>
              <p:cNvPr id="195" name="Rounded Rectangle 45">
                <a:extLst>
                  <a:ext uri="{FF2B5EF4-FFF2-40B4-BE49-F238E27FC236}">
                    <a16:creationId xmlns:a16="http://schemas.microsoft.com/office/drawing/2014/main" id="{DEE41922-89CD-4714-BD77-C986F70CCBFD}"/>
                  </a:ext>
                </a:extLst>
              </p:cNvPr>
              <p:cNvSpPr/>
              <p:nvPr/>
            </p:nvSpPr>
            <p:spPr>
              <a:xfrm>
                <a:off x="3396342" y="5220304"/>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solidFill>
                <a:srgbClr val="3CA1FF"/>
              </a:solidFill>
              <a:ln>
                <a:noFill/>
              </a:ln>
            </p:spPr>
            <p:txBody>
              <a:bodyPr rtlCol="0" anchor="ctr"/>
              <a:lstStyle/>
              <a:p>
                <a:pPr algn="ctr"/>
                <a:endParaRPr sz="3600"/>
              </a:p>
            </p:txBody>
          </p:sp>
          <p:sp>
            <p:nvSpPr>
              <p:cNvPr id="196" name="Rounded Rectangle 46">
                <a:extLst>
                  <a:ext uri="{FF2B5EF4-FFF2-40B4-BE49-F238E27FC236}">
                    <a16:creationId xmlns:a16="http://schemas.microsoft.com/office/drawing/2014/main" id="{F9CC3493-0DF9-5D8D-DAA0-A5565079485A}"/>
                  </a:ext>
                </a:extLst>
              </p:cNvPr>
              <p:cNvSpPr/>
              <p:nvPr/>
            </p:nvSpPr>
            <p:spPr>
              <a:xfrm>
                <a:off x="3396342" y="5408990"/>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solidFill>
                <a:srgbClr val="3CA1FF"/>
              </a:solidFill>
              <a:ln>
                <a:noFill/>
              </a:ln>
            </p:spPr>
            <p:txBody>
              <a:bodyPr rtlCol="0" anchor="ctr"/>
              <a:lstStyle/>
              <a:p>
                <a:pPr algn="ctr"/>
                <a:endParaRPr sz="3600"/>
              </a:p>
            </p:txBody>
          </p:sp>
          <p:sp>
            <p:nvSpPr>
              <p:cNvPr id="197" name="Rounded Rectangle 47">
                <a:extLst>
                  <a:ext uri="{FF2B5EF4-FFF2-40B4-BE49-F238E27FC236}">
                    <a16:creationId xmlns:a16="http://schemas.microsoft.com/office/drawing/2014/main" id="{F7CA2000-002F-1D71-0060-CEEB2C28B4D4}"/>
                  </a:ext>
                </a:extLst>
              </p:cNvPr>
              <p:cNvSpPr/>
              <p:nvPr/>
            </p:nvSpPr>
            <p:spPr>
              <a:xfrm>
                <a:off x="3207657" y="5408990"/>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solidFill>
                <a:srgbClr val="3CA1FF"/>
              </a:solidFill>
              <a:ln>
                <a:noFill/>
              </a:ln>
            </p:spPr>
            <p:txBody>
              <a:bodyPr rtlCol="0" anchor="ctr"/>
              <a:lstStyle/>
              <a:p>
                <a:pPr algn="ctr"/>
                <a:endParaRPr sz="3600"/>
              </a:p>
            </p:txBody>
          </p:sp>
          <p:sp>
            <p:nvSpPr>
              <p:cNvPr id="198" name="Rounded Rectangle 48">
                <a:extLst>
                  <a:ext uri="{FF2B5EF4-FFF2-40B4-BE49-F238E27FC236}">
                    <a16:creationId xmlns:a16="http://schemas.microsoft.com/office/drawing/2014/main" id="{D8F57306-710B-9F66-5678-5A09A9FCDA74}"/>
                  </a:ext>
                </a:extLst>
              </p:cNvPr>
              <p:cNvSpPr/>
              <p:nvPr/>
            </p:nvSpPr>
            <p:spPr>
              <a:xfrm>
                <a:off x="2452914" y="5031619"/>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noFill/>
              <a:ln w="3930">
                <a:solidFill>
                  <a:srgbClr val="FFFFFF"/>
                </a:solidFill>
              </a:ln>
            </p:spPr>
            <p:txBody>
              <a:bodyPr rtlCol="0" anchor="ctr"/>
              <a:lstStyle/>
              <a:p>
                <a:pPr algn="ctr"/>
                <a:endParaRPr sz="3600"/>
              </a:p>
            </p:txBody>
          </p:sp>
          <p:sp>
            <p:nvSpPr>
              <p:cNvPr id="199" name="Rounded Rectangle 49">
                <a:extLst>
                  <a:ext uri="{FF2B5EF4-FFF2-40B4-BE49-F238E27FC236}">
                    <a16:creationId xmlns:a16="http://schemas.microsoft.com/office/drawing/2014/main" id="{0DE1E149-BB96-6D72-C0D1-97E4EBAF32D4}"/>
                  </a:ext>
                </a:extLst>
              </p:cNvPr>
              <p:cNvSpPr/>
              <p:nvPr/>
            </p:nvSpPr>
            <p:spPr>
              <a:xfrm>
                <a:off x="2264228" y="5031619"/>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noFill/>
              <a:ln w="3930">
                <a:solidFill>
                  <a:srgbClr val="FFFFFF"/>
                </a:solidFill>
              </a:ln>
            </p:spPr>
            <p:txBody>
              <a:bodyPr rtlCol="0" anchor="ctr"/>
              <a:lstStyle/>
              <a:p>
                <a:pPr algn="ctr"/>
                <a:endParaRPr sz="3600"/>
              </a:p>
            </p:txBody>
          </p:sp>
          <p:sp>
            <p:nvSpPr>
              <p:cNvPr id="200" name="Rounded Rectangle 50">
                <a:extLst>
                  <a:ext uri="{FF2B5EF4-FFF2-40B4-BE49-F238E27FC236}">
                    <a16:creationId xmlns:a16="http://schemas.microsoft.com/office/drawing/2014/main" id="{189EC8FA-B8C7-DB6C-5306-AF35DE54B9DE}"/>
                  </a:ext>
                </a:extLst>
              </p:cNvPr>
              <p:cNvSpPr/>
              <p:nvPr/>
            </p:nvSpPr>
            <p:spPr>
              <a:xfrm>
                <a:off x="2075542" y="5031619"/>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noFill/>
              <a:ln w="3930">
                <a:solidFill>
                  <a:srgbClr val="FFFFFF"/>
                </a:solidFill>
              </a:ln>
            </p:spPr>
            <p:txBody>
              <a:bodyPr rtlCol="0" anchor="ctr"/>
              <a:lstStyle/>
              <a:p>
                <a:pPr algn="ctr"/>
                <a:endParaRPr sz="3600"/>
              </a:p>
            </p:txBody>
          </p:sp>
          <p:sp>
            <p:nvSpPr>
              <p:cNvPr id="201" name="Rounded Rectangle 51">
                <a:extLst>
                  <a:ext uri="{FF2B5EF4-FFF2-40B4-BE49-F238E27FC236}">
                    <a16:creationId xmlns:a16="http://schemas.microsoft.com/office/drawing/2014/main" id="{B7586045-6F5E-3460-1696-E436F94668D2}"/>
                  </a:ext>
                </a:extLst>
              </p:cNvPr>
              <p:cNvSpPr/>
              <p:nvPr/>
            </p:nvSpPr>
            <p:spPr>
              <a:xfrm>
                <a:off x="2075542" y="4842933"/>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noFill/>
              <a:ln w="3930">
                <a:solidFill>
                  <a:srgbClr val="FFFFFF"/>
                </a:solidFill>
              </a:ln>
            </p:spPr>
            <p:txBody>
              <a:bodyPr rtlCol="0" anchor="ctr"/>
              <a:lstStyle/>
              <a:p>
                <a:pPr algn="ctr"/>
                <a:endParaRPr sz="3600"/>
              </a:p>
            </p:txBody>
          </p:sp>
          <p:sp>
            <p:nvSpPr>
              <p:cNvPr id="202" name="Rounded Rectangle 52">
                <a:extLst>
                  <a:ext uri="{FF2B5EF4-FFF2-40B4-BE49-F238E27FC236}">
                    <a16:creationId xmlns:a16="http://schemas.microsoft.com/office/drawing/2014/main" id="{710C422A-F648-9FEF-9F17-B8D84CC4DAB4}"/>
                  </a:ext>
                </a:extLst>
              </p:cNvPr>
              <p:cNvSpPr/>
              <p:nvPr/>
            </p:nvSpPr>
            <p:spPr>
              <a:xfrm>
                <a:off x="3396342" y="5220304"/>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noFill/>
              <a:ln w="3930">
                <a:solidFill>
                  <a:srgbClr val="FFFFFF"/>
                </a:solidFill>
              </a:ln>
            </p:spPr>
            <p:txBody>
              <a:bodyPr rtlCol="0" anchor="ctr"/>
              <a:lstStyle/>
              <a:p>
                <a:pPr algn="ctr"/>
                <a:endParaRPr sz="3600"/>
              </a:p>
            </p:txBody>
          </p:sp>
          <p:sp>
            <p:nvSpPr>
              <p:cNvPr id="203" name="Rounded Rectangle 53">
                <a:extLst>
                  <a:ext uri="{FF2B5EF4-FFF2-40B4-BE49-F238E27FC236}">
                    <a16:creationId xmlns:a16="http://schemas.microsoft.com/office/drawing/2014/main" id="{5990D2D9-FFF5-3206-9EB2-1EBBBD33553A}"/>
                  </a:ext>
                </a:extLst>
              </p:cNvPr>
              <p:cNvSpPr/>
              <p:nvPr/>
            </p:nvSpPr>
            <p:spPr>
              <a:xfrm>
                <a:off x="3396342" y="5408990"/>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noFill/>
              <a:ln w="3930">
                <a:solidFill>
                  <a:srgbClr val="FFFFFF"/>
                </a:solidFill>
              </a:ln>
            </p:spPr>
            <p:txBody>
              <a:bodyPr rtlCol="0" anchor="ctr"/>
              <a:lstStyle/>
              <a:p>
                <a:pPr algn="ctr"/>
                <a:endParaRPr sz="3600"/>
              </a:p>
            </p:txBody>
          </p:sp>
          <p:sp>
            <p:nvSpPr>
              <p:cNvPr id="204" name="Rounded Rectangle 54">
                <a:extLst>
                  <a:ext uri="{FF2B5EF4-FFF2-40B4-BE49-F238E27FC236}">
                    <a16:creationId xmlns:a16="http://schemas.microsoft.com/office/drawing/2014/main" id="{4D68622F-F858-59D0-80F2-1AC2DD96E81F}"/>
                  </a:ext>
                </a:extLst>
              </p:cNvPr>
              <p:cNvSpPr/>
              <p:nvPr/>
            </p:nvSpPr>
            <p:spPr>
              <a:xfrm>
                <a:off x="3207657" y="5408990"/>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noFill/>
              <a:ln w="3930">
                <a:solidFill>
                  <a:srgbClr val="FFFFFF"/>
                </a:solidFill>
              </a:ln>
            </p:spPr>
            <p:txBody>
              <a:bodyPr rtlCol="0" anchor="ctr"/>
              <a:lstStyle/>
              <a:p>
                <a:pPr algn="ctr"/>
                <a:endParaRPr sz="3600"/>
              </a:p>
            </p:txBody>
          </p:sp>
        </p:grpSp>
        <p:grpSp>
          <p:nvGrpSpPr>
            <p:cNvPr id="205" name="Group 204">
              <a:extLst>
                <a:ext uri="{FF2B5EF4-FFF2-40B4-BE49-F238E27FC236}">
                  <a16:creationId xmlns:a16="http://schemas.microsoft.com/office/drawing/2014/main" id="{68A5E9A7-1A53-1B52-74E8-BAE227177DF4}"/>
                </a:ext>
              </a:extLst>
            </p:cNvPr>
            <p:cNvGrpSpPr/>
            <p:nvPr/>
          </p:nvGrpSpPr>
          <p:grpSpPr>
            <a:xfrm>
              <a:off x="5506700" y="5431536"/>
              <a:ext cx="877825" cy="877823"/>
              <a:chOff x="2075542" y="4842933"/>
              <a:chExt cx="754743" cy="754742"/>
            </a:xfrm>
          </p:grpSpPr>
          <p:sp>
            <p:nvSpPr>
              <p:cNvPr id="206" name="Rounded Rectangle 56">
                <a:extLst>
                  <a:ext uri="{FF2B5EF4-FFF2-40B4-BE49-F238E27FC236}">
                    <a16:creationId xmlns:a16="http://schemas.microsoft.com/office/drawing/2014/main" id="{87793920-C18C-EE45-E86B-00F142C111F9}"/>
                  </a:ext>
                </a:extLst>
              </p:cNvPr>
              <p:cNvSpPr/>
              <p:nvPr/>
            </p:nvSpPr>
            <p:spPr>
              <a:xfrm>
                <a:off x="2452914" y="5220304"/>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solidFill>
                <a:srgbClr val="2E9AFF"/>
              </a:solidFill>
              <a:ln>
                <a:noFill/>
              </a:ln>
            </p:spPr>
            <p:txBody>
              <a:bodyPr rtlCol="0" anchor="ctr"/>
              <a:lstStyle/>
              <a:p>
                <a:pPr algn="ctr"/>
                <a:endParaRPr sz="3600"/>
              </a:p>
            </p:txBody>
          </p:sp>
          <p:sp>
            <p:nvSpPr>
              <p:cNvPr id="207" name="Rounded Rectangle 57">
                <a:extLst>
                  <a:ext uri="{FF2B5EF4-FFF2-40B4-BE49-F238E27FC236}">
                    <a16:creationId xmlns:a16="http://schemas.microsoft.com/office/drawing/2014/main" id="{A2594C95-3E23-A0A0-58FD-DDF9AE4A343A}"/>
                  </a:ext>
                </a:extLst>
              </p:cNvPr>
              <p:cNvSpPr/>
              <p:nvPr/>
            </p:nvSpPr>
            <p:spPr>
              <a:xfrm>
                <a:off x="2264228" y="5220304"/>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solidFill>
                <a:srgbClr val="2E9AFF"/>
              </a:solidFill>
              <a:ln>
                <a:noFill/>
              </a:ln>
            </p:spPr>
            <p:txBody>
              <a:bodyPr rtlCol="0" anchor="ctr"/>
              <a:lstStyle/>
              <a:p>
                <a:pPr algn="ctr"/>
                <a:endParaRPr sz="3600"/>
              </a:p>
            </p:txBody>
          </p:sp>
          <p:sp>
            <p:nvSpPr>
              <p:cNvPr id="208" name="Rounded Rectangle 58">
                <a:extLst>
                  <a:ext uri="{FF2B5EF4-FFF2-40B4-BE49-F238E27FC236}">
                    <a16:creationId xmlns:a16="http://schemas.microsoft.com/office/drawing/2014/main" id="{2BC2090C-672A-F94E-76C9-2D9B96D5F56A}"/>
                  </a:ext>
                </a:extLst>
              </p:cNvPr>
              <p:cNvSpPr/>
              <p:nvPr/>
            </p:nvSpPr>
            <p:spPr>
              <a:xfrm>
                <a:off x="2075542" y="5220304"/>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solidFill>
                <a:srgbClr val="2E9AFF"/>
              </a:solidFill>
              <a:ln>
                <a:noFill/>
              </a:ln>
            </p:spPr>
            <p:txBody>
              <a:bodyPr rtlCol="0" anchor="ctr"/>
              <a:lstStyle/>
              <a:p>
                <a:pPr algn="ctr"/>
                <a:endParaRPr sz="3600"/>
              </a:p>
            </p:txBody>
          </p:sp>
          <p:sp>
            <p:nvSpPr>
              <p:cNvPr id="209" name="Rounded Rectangle 59">
                <a:extLst>
                  <a:ext uri="{FF2B5EF4-FFF2-40B4-BE49-F238E27FC236}">
                    <a16:creationId xmlns:a16="http://schemas.microsoft.com/office/drawing/2014/main" id="{1111A3F4-5CA8-1CCF-71D2-667FFEAA2699}"/>
                  </a:ext>
                </a:extLst>
              </p:cNvPr>
              <p:cNvSpPr/>
              <p:nvPr/>
            </p:nvSpPr>
            <p:spPr>
              <a:xfrm>
                <a:off x="2075542" y="5408990"/>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solidFill>
                <a:srgbClr val="2E9AFF"/>
              </a:solidFill>
              <a:ln>
                <a:noFill/>
              </a:ln>
            </p:spPr>
            <p:txBody>
              <a:bodyPr rtlCol="0" anchor="ctr"/>
              <a:lstStyle/>
              <a:p>
                <a:pPr algn="ctr"/>
                <a:endParaRPr sz="3600"/>
              </a:p>
            </p:txBody>
          </p:sp>
          <p:sp>
            <p:nvSpPr>
              <p:cNvPr id="210" name="Rounded Rectangle 60">
                <a:extLst>
                  <a:ext uri="{FF2B5EF4-FFF2-40B4-BE49-F238E27FC236}">
                    <a16:creationId xmlns:a16="http://schemas.microsoft.com/office/drawing/2014/main" id="{5CAB9EAE-775C-7FB5-803E-A3F25B70B4ED}"/>
                  </a:ext>
                </a:extLst>
              </p:cNvPr>
              <p:cNvSpPr/>
              <p:nvPr/>
            </p:nvSpPr>
            <p:spPr>
              <a:xfrm>
                <a:off x="2641600" y="4842933"/>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solidFill>
                <a:srgbClr val="2E9AFF"/>
              </a:solidFill>
              <a:ln>
                <a:noFill/>
              </a:ln>
            </p:spPr>
            <p:txBody>
              <a:bodyPr rtlCol="0" anchor="ctr"/>
              <a:lstStyle/>
              <a:p>
                <a:pPr algn="ctr"/>
                <a:endParaRPr sz="3600"/>
              </a:p>
            </p:txBody>
          </p:sp>
          <p:sp>
            <p:nvSpPr>
              <p:cNvPr id="211" name="Rounded Rectangle 61">
                <a:extLst>
                  <a:ext uri="{FF2B5EF4-FFF2-40B4-BE49-F238E27FC236}">
                    <a16:creationId xmlns:a16="http://schemas.microsoft.com/office/drawing/2014/main" id="{26013522-B060-6691-5A5A-176132AEF09E}"/>
                  </a:ext>
                </a:extLst>
              </p:cNvPr>
              <p:cNvSpPr/>
              <p:nvPr/>
            </p:nvSpPr>
            <p:spPr>
              <a:xfrm>
                <a:off x="2452914" y="4842933"/>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solidFill>
                <a:srgbClr val="2E9AFF"/>
              </a:solidFill>
              <a:ln>
                <a:noFill/>
              </a:ln>
            </p:spPr>
            <p:txBody>
              <a:bodyPr rtlCol="0" anchor="ctr"/>
              <a:lstStyle/>
              <a:p>
                <a:pPr algn="ctr"/>
                <a:endParaRPr sz="3600"/>
              </a:p>
            </p:txBody>
          </p:sp>
          <p:sp>
            <p:nvSpPr>
              <p:cNvPr id="212" name="Rounded Rectangle 62">
                <a:extLst>
                  <a:ext uri="{FF2B5EF4-FFF2-40B4-BE49-F238E27FC236}">
                    <a16:creationId xmlns:a16="http://schemas.microsoft.com/office/drawing/2014/main" id="{2CD6D02D-3CF7-337B-1760-0FADE5763C7C}"/>
                  </a:ext>
                </a:extLst>
              </p:cNvPr>
              <p:cNvSpPr/>
              <p:nvPr/>
            </p:nvSpPr>
            <p:spPr>
              <a:xfrm>
                <a:off x="2452914" y="5220304"/>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noFill/>
              <a:ln w="3930">
                <a:solidFill>
                  <a:srgbClr val="FFFFFF"/>
                </a:solidFill>
              </a:ln>
            </p:spPr>
            <p:txBody>
              <a:bodyPr rtlCol="0" anchor="ctr"/>
              <a:lstStyle/>
              <a:p>
                <a:pPr algn="ctr"/>
                <a:endParaRPr sz="3600"/>
              </a:p>
            </p:txBody>
          </p:sp>
          <p:sp>
            <p:nvSpPr>
              <p:cNvPr id="213" name="Rounded Rectangle 63">
                <a:extLst>
                  <a:ext uri="{FF2B5EF4-FFF2-40B4-BE49-F238E27FC236}">
                    <a16:creationId xmlns:a16="http://schemas.microsoft.com/office/drawing/2014/main" id="{260EC330-513B-A104-AD4F-E8327FC9F37A}"/>
                  </a:ext>
                </a:extLst>
              </p:cNvPr>
              <p:cNvSpPr/>
              <p:nvPr/>
            </p:nvSpPr>
            <p:spPr>
              <a:xfrm>
                <a:off x="2264228" y="5220304"/>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noFill/>
              <a:ln w="3930">
                <a:solidFill>
                  <a:srgbClr val="FFFFFF"/>
                </a:solidFill>
              </a:ln>
            </p:spPr>
            <p:txBody>
              <a:bodyPr rtlCol="0" anchor="ctr"/>
              <a:lstStyle/>
              <a:p>
                <a:pPr algn="ctr"/>
                <a:endParaRPr sz="3600"/>
              </a:p>
            </p:txBody>
          </p:sp>
          <p:sp>
            <p:nvSpPr>
              <p:cNvPr id="214" name="Rounded Rectangle 64">
                <a:extLst>
                  <a:ext uri="{FF2B5EF4-FFF2-40B4-BE49-F238E27FC236}">
                    <a16:creationId xmlns:a16="http://schemas.microsoft.com/office/drawing/2014/main" id="{9DA35E8B-D112-941A-9CDC-A26B14485AA7}"/>
                  </a:ext>
                </a:extLst>
              </p:cNvPr>
              <p:cNvSpPr/>
              <p:nvPr/>
            </p:nvSpPr>
            <p:spPr>
              <a:xfrm>
                <a:off x="2075542" y="5220304"/>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noFill/>
              <a:ln w="3930">
                <a:solidFill>
                  <a:srgbClr val="FFFFFF"/>
                </a:solidFill>
              </a:ln>
            </p:spPr>
            <p:txBody>
              <a:bodyPr rtlCol="0" anchor="ctr"/>
              <a:lstStyle/>
              <a:p>
                <a:pPr algn="ctr"/>
                <a:endParaRPr sz="3600"/>
              </a:p>
            </p:txBody>
          </p:sp>
          <p:sp>
            <p:nvSpPr>
              <p:cNvPr id="215" name="Rounded Rectangle 65">
                <a:extLst>
                  <a:ext uri="{FF2B5EF4-FFF2-40B4-BE49-F238E27FC236}">
                    <a16:creationId xmlns:a16="http://schemas.microsoft.com/office/drawing/2014/main" id="{75A7A9A7-5602-7E63-9C6E-0C5C45DD1C16}"/>
                  </a:ext>
                </a:extLst>
              </p:cNvPr>
              <p:cNvSpPr/>
              <p:nvPr/>
            </p:nvSpPr>
            <p:spPr>
              <a:xfrm>
                <a:off x="2075542" y="5408990"/>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noFill/>
              <a:ln w="3930">
                <a:solidFill>
                  <a:srgbClr val="FFFFFF"/>
                </a:solidFill>
              </a:ln>
            </p:spPr>
            <p:txBody>
              <a:bodyPr rtlCol="0" anchor="ctr"/>
              <a:lstStyle/>
              <a:p>
                <a:pPr algn="ctr"/>
                <a:endParaRPr sz="3600"/>
              </a:p>
            </p:txBody>
          </p:sp>
          <p:sp>
            <p:nvSpPr>
              <p:cNvPr id="216" name="Rounded Rectangle 66">
                <a:extLst>
                  <a:ext uri="{FF2B5EF4-FFF2-40B4-BE49-F238E27FC236}">
                    <a16:creationId xmlns:a16="http://schemas.microsoft.com/office/drawing/2014/main" id="{259825AC-2E28-C8FA-561C-30E8E3C25600}"/>
                  </a:ext>
                </a:extLst>
              </p:cNvPr>
              <p:cNvSpPr/>
              <p:nvPr/>
            </p:nvSpPr>
            <p:spPr>
              <a:xfrm>
                <a:off x="2641600" y="4842933"/>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noFill/>
              <a:ln w="3930">
                <a:solidFill>
                  <a:srgbClr val="FFFFFF"/>
                </a:solidFill>
              </a:ln>
            </p:spPr>
            <p:txBody>
              <a:bodyPr rtlCol="0" anchor="ctr"/>
              <a:lstStyle/>
              <a:p>
                <a:pPr algn="ctr"/>
                <a:endParaRPr sz="3600"/>
              </a:p>
            </p:txBody>
          </p:sp>
          <p:sp>
            <p:nvSpPr>
              <p:cNvPr id="217" name="Rounded Rectangle 67">
                <a:extLst>
                  <a:ext uri="{FF2B5EF4-FFF2-40B4-BE49-F238E27FC236}">
                    <a16:creationId xmlns:a16="http://schemas.microsoft.com/office/drawing/2014/main" id="{07B9805F-4EA5-BDD3-6CBE-0A339F6D0DC4}"/>
                  </a:ext>
                </a:extLst>
              </p:cNvPr>
              <p:cNvSpPr/>
              <p:nvPr/>
            </p:nvSpPr>
            <p:spPr>
              <a:xfrm>
                <a:off x="2452914" y="4842933"/>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noFill/>
              <a:ln w="3930">
                <a:solidFill>
                  <a:srgbClr val="FFFFFF"/>
                </a:solidFill>
              </a:ln>
            </p:spPr>
            <p:txBody>
              <a:bodyPr rtlCol="0" anchor="ctr"/>
              <a:lstStyle/>
              <a:p>
                <a:pPr algn="ctr"/>
                <a:endParaRPr sz="3600"/>
              </a:p>
            </p:txBody>
          </p:sp>
        </p:grpSp>
        <p:grpSp>
          <p:nvGrpSpPr>
            <p:cNvPr id="218" name="Group 217">
              <a:extLst>
                <a:ext uri="{FF2B5EF4-FFF2-40B4-BE49-F238E27FC236}">
                  <a16:creationId xmlns:a16="http://schemas.microsoft.com/office/drawing/2014/main" id="{1EA2EF8C-D14B-C44E-5239-9BA8486E3770}"/>
                </a:ext>
              </a:extLst>
            </p:cNvPr>
            <p:cNvGrpSpPr/>
            <p:nvPr/>
          </p:nvGrpSpPr>
          <p:grpSpPr>
            <a:xfrm>
              <a:off x="6165070" y="5431536"/>
              <a:ext cx="1097279" cy="658367"/>
              <a:chOff x="2641600" y="4842933"/>
              <a:chExt cx="943427" cy="566056"/>
            </a:xfrm>
          </p:grpSpPr>
          <p:sp>
            <p:nvSpPr>
              <p:cNvPr id="219" name="Rounded Rectangle 69">
                <a:extLst>
                  <a:ext uri="{FF2B5EF4-FFF2-40B4-BE49-F238E27FC236}">
                    <a16:creationId xmlns:a16="http://schemas.microsoft.com/office/drawing/2014/main" id="{646011BE-CDFB-52B2-5DC7-71C8EBB9DFC2}"/>
                  </a:ext>
                </a:extLst>
              </p:cNvPr>
              <p:cNvSpPr/>
              <p:nvPr/>
            </p:nvSpPr>
            <p:spPr>
              <a:xfrm>
                <a:off x="3396342" y="5031619"/>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solidFill>
                <a:srgbClr val="2093FF"/>
              </a:solidFill>
              <a:ln>
                <a:noFill/>
              </a:ln>
            </p:spPr>
            <p:txBody>
              <a:bodyPr rtlCol="0" anchor="ctr"/>
              <a:lstStyle/>
              <a:p>
                <a:pPr algn="ctr"/>
                <a:endParaRPr sz="3600"/>
              </a:p>
            </p:txBody>
          </p:sp>
          <p:sp>
            <p:nvSpPr>
              <p:cNvPr id="220" name="Rounded Rectangle 70">
                <a:extLst>
                  <a:ext uri="{FF2B5EF4-FFF2-40B4-BE49-F238E27FC236}">
                    <a16:creationId xmlns:a16="http://schemas.microsoft.com/office/drawing/2014/main" id="{D8443031-CF61-3029-7B37-662C013D0910}"/>
                  </a:ext>
                </a:extLst>
              </p:cNvPr>
              <p:cNvSpPr/>
              <p:nvPr/>
            </p:nvSpPr>
            <p:spPr>
              <a:xfrm>
                <a:off x="3396342" y="4842933"/>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solidFill>
                <a:srgbClr val="2093FF"/>
              </a:solidFill>
              <a:ln>
                <a:noFill/>
              </a:ln>
            </p:spPr>
            <p:txBody>
              <a:bodyPr rtlCol="0" anchor="ctr"/>
              <a:lstStyle/>
              <a:p>
                <a:pPr algn="ctr"/>
                <a:endParaRPr sz="3600"/>
              </a:p>
            </p:txBody>
          </p:sp>
          <p:sp>
            <p:nvSpPr>
              <p:cNvPr id="221" name="Rounded Rectangle 71">
                <a:extLst>
                  <a:ext uri="{FF2B5EF4-FFF2-40B4-BE49-F238E27FC236}">
                    <a16:creationId xmlns:a16="http://schemas.microsoft.com/office/drawing/2014/main" id="{D4732751-2488-B2FE-2870-81D4D13423CD}"/>
                  </a:ext>
                </a:extLst>
              </p:cNvPr>
              <p:cNvSpPr/>
              <p:nvPr/>
            </p:nvSpPr>
            <p:spPr>
              <a:xfrm>
                <a:off x="3207657" y="5031619"/>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solidFill>
                <a:srgbClr val="2093FF"/>
              </a:solidFill>
              <a:ln>
                <a:noFill/>
              </a:ln>
            </p:spPr>
            <p:txBody>
              <a:bodyPr rtlCol="0" anchor="ctr"/>
              <a:lstStyle/>
              <a:p>
                <a:pPr algn="ctr"/>
                <a:endParaRPr sz="3600"/>
              </a:p>
            </p:txBody>
          </p:sp>
          <p:sp>
            <p:nvSpPr>
              <p:cNvPr id="222" name="Rounded Rectangle 72">
                <a:extLst>
                  <a:ext uri="{FF2B5EF4-FFF2-40B4-BE49-F238E27FC236}">
                    <a16:creationId xmlns:a16="http://schemas.microsoft.com/office/drawing/2014/main" id="{6021731A-E8F6-BDD2-22E3-75180F871E64}"/>
                  </a:ext>
                </a:extLst>
              </p:cNvPr>
              <p:cNvSpPr/>
              <p:nvPr/>
            </p:nvSpPr>
            <p:spPr>
              <a:xfrm>
                <a:off x="3207657" y="4842933"/>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solidFill>
                <a:srgbClr val="2093FF"/>
              </a:solidFill>
              <a:ln>
                <a:noFill/>
              </a:ln>
            </p:spPr>
            <p:txBody>
              <a:bodyPr rtlCol="0" anchor="ctr"/>
              <a:lstStyle/>
              <a:p>
                <a:pPr algn="ctr"/>
                <a:endParaRPr sz="3600"/>
              </a:p>
            </p:txBody>
          </p:sp>
          <p:sp>
            <p:nvSpPr>
              <p:cNvPr id="223" name="Rounded Rectangle 73">
                <a:extLst>
                  <a:ext uri="{FF2B5EF4-FFF2-40B4-BE49-F238E27FC236}">
                    <a16:creationId xmlns:a16="http://schemas.microsoft.com/office/drawing/2014/main" id="{CAD471A1-046D-5499-B2C1-2A8D76F43E62}"/>
                  </a:ext>
                </a:extLst>
              </p:cNvPr>
              <p:cNvSpPr/>
              <p:nvPr/>
            </p:nvSpPr>
            <p:spPr>
              <a:xfrm>
                <a:off x="2641600" y="5220304"/>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solidFill>
                <a:srgbClr val="2093FF"/>
              </a:solidFill>
              <a:ln>
                <a:noFill/>
              </a:ln>
            </p:spPr>
            <p:txBody>
              <a:bodyPr rtlCol="0" anchor="ctr"/>
              <a:lstStyle/>
              <a:p>
                <a:pPr algn="ctr"/>
                <a:endParaRPr sz="3600"/>
              </a:p>
            </p:txBody>
          </p:sp>
          <p:sp>
            <p:nvSpPr>
              <p:cNvPr id="224" name="Rounded Rectangle 74">
                <a:extLst>
                  <a:ext uri="{FF2B5EF4-FFF2-40B4-BE49-F238E27FC236}">
                    <a16:creationId xmlns:a16="http://schemas.microsoft.com/office/drawing/2014/main" id="{34AE1C19-3A81-AEB8-A0BF-60E21F982408}"/>
                  </a:ext>
                </a:extLst>
              </p:cNvPr>
              <p:cNvSpPr/>
              <p:nvPr/>
            </p:nvSpPr>
            <p:spPr>
              <a:xfrm>
                <a:off x="2641600" y="5031619"/>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solidFill>
                <a:srgbClr val="2093FF"/>
              </a:solidFill>
              <a:ln>
                <a:noFill/>
              </a:ln>
            </p:spPr>
            <p:txBody>
              <a:bodyPr rtlCol="0" anchor="ctr"/>
              <a:lstStyle/>
              <a:p>
                <a:pPr algn="ctr"/>
                <a:endParaRPr sz="3600"/>
              </a:p>
            </p:txBody>
          </p:sp>
          <p:sp>
            <p:nvSpPr>
              <p:cNvPr id="225" name="Rounded Rectangle 75">
                <a:extLst>
                  <a:ext uri="{FF2B5EF4-FFF2-40B4-BE49-F238E27FC236}">
                    <a16:creationId xmlns:a16="http://schemas.microsoft.com/office/drawing/2014/main" id="{3C3518AC-7EB4-6E4A-FEB4-44ED5498E42D}"/>
                  </a:ext>
                </a:extLst>
              </p:cNvPr>
              <p:cNvSpPr/>
              <p:nvPr/>
            </p:nvSpPr>
            <p:spPr>
              <a:xfrm>
                <a:off x="3396342" y="5031619"/>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noFill/>
              <a:ln w="3930">
                <a:solidFill>
                  <a:srgbClr val="FFFFFF"/>
                </a:solidFill>
              </a:ln>
            </p:spPr>
            <p:txBody>
              <a:bodyPr rtlCol="0" anchor="ctr"/>
              <a:lstStyle/>
              <a:p>
                <a:pPr algn="ctr"/>
                <a:endParaRPr sz="3600"/>
              </a:p>
            </p:txBody>
          </p:sp>
          <p:sp>
            <p:nvSpPr>
              <p:cNvPr id="226" name="Rounded Rectangle 76">
                <a:extLst>
                  <a:ext uri="{FF2B5EF4-FFF2-40B4-BE49-F238E27FC236}">
                    <a16:creationId xmlns:a16="http://schemas.microsoft.com/office/drawing/2014/main" id="{FA84247D-6C3E-976F-7F60-4B2AF5892A8B}"/>
                  </a:ext>
                </a:extLst>
              </p:cNvPr>
              <p:cNvSpPr/>
              <p:nvPr/>
            </p:nvSpPr>
            <p:spPr>
              <a:xfrm>
                <a:off x="3396342" y="4842933"/>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noFill/>
              <a:ln w="3930">
                <a:solidFill>
                  <a:srgbClr val="FFFFFF"/>
                </a:solidFill>
              </a:ln>
            </p:spPr>
            <p:txBody>
              <a:bodyPr rtlCol="0" anchor="ctr"/>
              <a:lstStyle/>
              <a:p>
                <a:pPr algn="ctr"/>
                <a:endParaRPr sz="3600"/>
              </a:p>
            </p:txBody>
          </p:sp>
          <p:sp>
            <p:nvSpPr>
              <p:cNvPr id="227" name="Rounded Rectangle 77">
                <a:extLst>
                  <a:ext uri="{FF2B5EF4-FFF2-40B4-BE49-F238E27FC236}">
                    <a16:creationId xmlns:a16="http://schemas.microsoft.com/office/drawing/2014/main" id="{171F222F-E2D5-A677-7D87-9E736E490725}"/>
                  </a:ext>
                </a:extLst>
              </p:cNvPr>
              <p:cNvSpPr/>
              <p:nvPr/>
            </p:nvSpPr>
            <p:spPr>
              <a:xfrm>
                <a:off x="3207657" y="5031619"/>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noFill/>
              <a:ln w="3930">
                <a:solidFill>
                  <a:srgbClr val="FFFFFF"/>
                </a:solidFill>
              </a:ln>
            </p:spPr>
            <p:txBody>
              <a:bodyPr rtlCol="0" anchor="ctr"/>
              <a:lstStyle/>
              <a:p>
                <a:pPr algn="ctr"/>
                <a:endParaRPr sz="3600"/>
              </a:p>
            </p:txBody>
          </p:sp>
          <p:sp>
            <p:nvSpPr>
              <p:cNvPr id="228" name="Rounded Rectangle 78">
                <a:extLst>
                  <a:ext uri="{FF2B5EF4-FFF2-40B4-BE49-F238E27FC236}">
                    <a16:creationId xmlns:a16="http://schemas.microsoft.com/office/drawing/2014/main" id="{5F4ACB20-2D5D-C8BC-8B6F-D7158014547E}"/>
                  </a:ext>
                </a:extLst>
              </p:cNvPr>
              <p:cNvSpPr/>
              <p:nvPr/>
            </p:nvSpPr>
            <p:spPr>
              <a:xfrm>
                <a:off x="3207657" y="4842933"/>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noFill/>
              <a:ln w="3930">
                <a:solidFill>
                  <a:srgbClr val="FFFFFF"/>
                </a:solidFill>
              </a:ln>
            </p:spPr>
            <p:txBody>
              <a:bodyPr rtlCol="0" anchor="ctr"/>
              <a:lstStyle/>
              <a:p>
                <a:pPr algn="ctr"/>
                <a:endParaRPr sz="3600"/>
              </a:p>
            </p:txBody>
          </p:sp>
          <p:sp>
            <p:nvSpPr>
              <p:cNvPr id="229" name="Rounded Rectangle 79">
                <a:extLst>
                  <a:ext uri="{FF2B5EF4-FFF2-40B4-BE49-F238E27FC236}">
                    <a16:creationId xmlns:a16="http://schemas.microsoft.com/office/drawing/2014/main" id="{CE0F7F9A-E1D3-C945-384C-05C504B4BAFB}"/>
                  </a:ext>
                </a:extLst>
              </p:cNvPr>
              <p:cNvSpPr/>
              <p:nvPr/>
            </p:nvSpPr>
            <p:spPr>
              <a:xfrm>
                <a:off x="2641600" y="5220304"/>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noFill/>
              <a:ln w="3930">
                <a:solidFill>
                  <a:srgbClr val="FFFFFF"/>
                </a:solidFill>
              </a:ln>
            </p:spPr>
            <p:txBody>
              <a:bodyPr rtlCol="0" anchor="ctr"/>
              <a:lstStyle/>
              <a:p>
                <a:pPr algn="ctr"/>
                <a:endParaRPr sz="3600"/>
              </a:p>
            </p:txBody>
          </p:sp>
          <p:sp>
            <p:nvSpPr>
              <p:cNvPr id="230" name="Rounded Rectangle 80">
                <a:extLst>
                  <a:ext uri="{FF2B5EF4-FFF2-40B4-BE49-F238E27FC236}">
                    <a16:creationId xmlns:a16="http://schemas.microsoft.com/office/drawing/2014/main" id="{C14FBE3E-D75E-A7AA-3983-9D36E9504F72}"/>
                  </a:ext>
                </a:extLst>
              </p:cNvPr>
              <p:cNvSpPr/>
              <p:nvPr/>
            </p:nvSpPr>
            <p:spPr>
              <a:xfrm>
                <a:off x="2641600" y="5031619"/>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noFill/>
              <a:ln w="3930">
                <a:solidFill>
                  <a:srgbClr val="FFFFFF"/>
                </a:solidFill>
              </a:ln>
            </p:spPr>
            <p:txBody>
              <a:bodyPr rtlCol="0" anchor="ctr"/>
              <a:lstStyle/>
              <a:p>
                <a:pPr algn="ctr"/>
                <a:endParaRPr sz="3600"/>
              </a:p>
            </p:txBody>
          </p:sp>
        </p:grpSp>
        <p:grpSp>
          <p:nvGrpSpPr>
            <p:cNvPr id="231" name="Group 230">
              <a:extLst>
                <a:ext uri="{FF2B5EF4-FFF2-40B4-BE49-F238E27FC236}">
                  <a16:creationId xmlns:a16="http://schemas.microsoft.com/office/drawing/2014/main" id="{76C7C4C3-62BB-52BB-ADC2-648015EB7E78}"/>
                </a:ext>
              </a:extLst>
            </p:cNvPr>
            <p:cNvGrpSpPr/>
            <p:nvPr/>
          </p:nvGrpSpPr>
          <p:grpSpPr>
            <a:xfrm>
              <a:off x="5067789" y="5650992"/>
              <a:ext cx="1975105" cy="658367"/>
              <a:chOff x="1698171" y="5031619"/>
              <a:chExt cx="1698171" cy="566056"/>
            </a:xfrm>
          </p:grpSpPr>
          <p:sp>
            <p:nvSpPr>
              <p:cNvPr id="232" name="Rounded Rectangle 82">
                <a:extLst>
                  <a:ext uri="{FF2B5EF4-FFF2-40B4-BE49-F238E27FC236}">
                    <a16:creationId xmlns:a16="http://schemas.microsoft.com/office/drawing/2014/main" id="{27A62881-0A0B-1535-9869-957C5139754F}"/>
                  </a:ext>
                </a:extLst>
              </p:cNvPr>
              <p:cNvSpPr/>
              <p:nvPr/>
            </p:nvSpPr>
            <p:spPr>
              <a:xfrm>
                <a:off x="1886857" y="5408990"/>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solidFill>
                <a:srgbClr val="128DFF"/>
              </a:solidFill>
              <a:ln>
                <a:noFill/>
              </a:ln>
            </p:spPr>
            <p:txBody>
              <a:bodyPr rtlCol="0" anchor="ctr"/>
              <a:lstStyle/>
              <a:p>
                <a:pPr algn="ctr"/>
                <a:endParaRPr sz="3600"/>
              </a:p>
            </p:txBody>
          </p:sp>
          <p:sp>
            <p:nvSpPr>
              <p:cNvPr id="233" name="Rounded Rectangle 83">
                <a:extLst>
                  <a:ext uri="{FF2B5EF4-FFF2-40B4-BE49-F238E27FC236}">
                    <a16:creationId xmlns:a16="http://schemas.microsoft.com/office/drawing/2014/main" id="{8CC5D720-3B6E-32AA-0401-6641CE85E159}"/>
                  </a:ext>
                </a:extLst>
              </p:cNvPr>
              <p:cNvSpPr/>
              <p:nvPr/>
            </p:nvSpPr>
            <p:spPr>
              <a:xfrm>
                <a:off x="1698171" y="5220304"/>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solidFill>
                <a:srgbClr val="128DFF"/>
              </a:solidFill>
              <a:ln>
                <a:noFill/>
              </a:ln>
            </p:spPr>
            <p:txBody>
              <a:bodyPr rtlCol="0" anchor="ctr"/>
              <a:lstStyle/>
              <a:p>
                <a:pPr algn="ctr"/>
                <a:endParaRPr sz="3600"/>
              </a:p>
            </p:txBody>
          </p:sp>
          <p:sp>
            <p:nvSpPr>
              <p:cNvPr id="234" name="Rounded Rectangle 84">
                <a:extLst>
                  <a:ext uri="{FF2B5EF4-FFF2-40B4-BE49-F238E27FC236}">
                    <a16:creationId xmlns:a16="http://schemas.microsoft.com/office/drawing/2014/main" id="{F9661137-640F-C0A1-04AC-7CBE681BBC05}"/>
                  </a:ext>
                </a:extLst>
              </p:cNvPr>
              <p:cNvSpPr/>
              <p:nvPr/>
            </p:nvSpPr>
            <p:spPr>
              <a:xfrm>
                <a:off x="1698171" y="5408990"/>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solidFill>
                <a:srgbClr val="128DFF"/>
              </a:solidFill>
              <a:ln>
                <a:noFill/>
              </a:ln>
            </p:spPr>
            <p:txBody>
              <a:bodyPr rtlCol="0" anchor="ctr"/>
              <a:lstStyle/>
              <a:p>
                <a:pPr algn="ctr"/>
                <a:endParaRPr sz="3600"/>
              </a:p>
            </p:txBody>
          </p:sp>
          <p:sp>
            <p:nvSpPr>
              <p:cNvPr id="235" name="Rounded Rectangle 85">
                <a:extLst>
                  <a:ext uri="{FF2B5EF4-FFF2-40B4-BE49-F238E27FC236}">
                    <a16:creationId xmlns:a16="http://schemas.microsoft.com/office/drawing/2014/main" id="{F4CB9306-71C7-AB0B-EC33-C0C9F78EFEB8}"/>
                  </a:ext>
                </a:extLst>
              </p:cNvPr>
              <p:cNvSpPr/>
              <p:nvPr/>
            </p:nvSpPr>
            <p:spPr>
              <a:xfrm>
                <a:off x="3207657" y="5220304"/>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solidFill>
                <a:srgbClr val="128DFF"/>
              </a:solidFill>
              <a:ln>
                <a:noFill/>
              </a:ln>
            </p:spPr>
            <p:txBody>
              <a:bodyPr rtlCol="0" anchor="ctr"/>
              <a:lstStyle/>
              <a:p>
                <a:pPr algn="ctr"/>
                <a:endParaRPr sz="3600"/>
              </a:p>
            </p:txBody>
          </p:sp>
          <p:sp>
            <p:nvSpPr>
              <p:cNvPr id="236" name="Rounded Rectangle 86">
                <a:extLst>
                  <a:ext uri="{FF2B5EF4-FFF2-40B4-BE49-F238E27FC236}">
                    <a16:creationId xmlns:a16="http://schemas.microsoft.com/office/drawing/2014/main" id="{B8FFD9DA-0AE2-5F46-7081-58EF2DAD53C3}"/>
                  </a:ext>
                </a:extLst>
              </p:cNvPr>
              <p:cNvSpPr/>
              <p:nvPr/>
            </p:nvSpPr>
            <p:spPr>
              <a:xfrm>
                <a:off x="3018971" y="5220304"/>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solidFill>
                <a:srgbClr val="128DFF"/>
              </a:solidFill>
              <a:ln>
                <a:noFill/>
              </a:ln>
            </p:spPr>
            <p:txBody>
              <a:bodyPr rtlCol="0" anchor="ctr"/>
              <a:lstStyle/>
              <a:p>
                <a:pPr algn="ctr"/>
                <a:endParaRPr sz="3600"/>
              </a:p>
            </p:txBody>
          </p:sp>
          <p:sp>
            <p:nvSpPr>
              <p:cNvPr id="237" name="Rounded Rectangle 87">
                <a:extLst>
                  <a:ext uri="{FF2B5EF4-FFF2-40B4-BE49-F238E27FC236}">
                    <a16:creationId xmlns:a16="http://schemas.microsoft.com/office/drawing/2014/main" id="{91CB9E6E-C936-E568-FD00-16622BDBE00B}"/>
                  </a:ext>
                </a:extLst>
              </p:cNvPr>
              <p:cNvSpPr/>
              <p:nvPr/>
            </p:nvSpPr>
            <p:spPr>
              <a:xfrm>
                <a:off x="3018971" y="5408990"/>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solidFill>
                <a:srgbClr val="128DFF"/>
              </a:solidFill>
              <a:ln>
                <a:noFill/>
              </a:ln>
            </p:spPr>
            <p:txBody>
              <a:bodyPr rtlCol="0" anchor="ctr"/>
              <a:lstStyle/>
              <a:p>
                <a:pPr algn="ctr"/>
                <a:endParaRPr sz="3600"/>
              </a:p>
            </p:txBody>
          </p:sp>
          <p:sp>
            <p:nvSpPr>
              <p:cNvPr id="238" name="Rounded Rectangle 88">
                <a:extLst>
                  <a:ext uri="{FF2B5EF4-FFF2-40B4-BE49-F238E27FC236}">
                    <a16:creationId xmlns:a16="http://schemas.microsoft.com/office/drawing/2014/main" id="{3ED7C4DA-1D22-C5E9-F7C8-0E3EB0C2CF8C}"/>
                  </a:ext>
                </a:extLst>
              </p:cNvPr>
              <p:cNvSpPr/>
              <p:nvPr/>
            </p:nvSpPr>
            <p:spPr>
              <a:xfrm>
                <a:off x="3018971" y="5031619"/>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solidFill>
                <a:srgbClr val="128DFF"/>
              </a:solidFill>
              <a:ln>
                <a:noFill/>
              </a:ln>
            </p:spPr>
            <p:txBody>
              <a:bodyPr rtlCol="0" anchor="ctr"/>
              <a:lstStyle/>
              <a:p>
                <a:pPr algn="ctr"/>
                <a:endParaRPr sz="3600"/>
              </a:p>
            </p:txBody>
          </p:sp>
          <p:sp>
            <p:nvSpPr>
              <p:cNvPr id="239" name="Rounded Rectangle 89">
                <a:extLst>
                  <a:ext uri="{FF2B5EF4-FFF2-40B4-BE49-F238E27FC236}">
                    <a16:creationId xmlns:a16="http://schemas.microsoft.com/office/drawing/2014/main" id="{12507E63-E9AC-C6F7-5B8D-F4068AF1DA67}"/>
                  </a:ext>
                </a:extLst>
              </p:cNvPr>
              <p:cNvSpPr/>
              <p:nvPr/>
            </p:nvSpPr>
            <p:spPr>
              <a:xfrm>
                <a:off x="1886857" y="5408990"/>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noFill/>
              <a:ln w="3930">
                <a:solidFill>
                  <a:srgbClr val="FFFFFF"/>
                </a:solidFill>
              </a:ln>
            </p:spPr>
            <p:txBody>
              <a:bodyPr rtlCol="0" anchor="ctr"/>
              <a:lstStyle/>
              <a:p>
                <a:pPr algn="ctr"/>
                <a:endParaRPr sz="3600"/>
              </a:p>
            </p:txBody>
          </p:sp>
          <p:sp>
            <p:nvSpPr>
              <p:cNvPr id="240" name="Rounded Rectangle 90">
                <a:extLst>
                  <a:ext uri="{FF2B5EF4-FFF2-40B4-BE49-F238E27FC236}">
                    <a16:creationId xmlns:a16="http://schemas.microsoft.com/office/drawing/2014/main" id="{9C1B6317-15E1-4C98-5BB0-869320A580D4}"/>
                  </a:ext>
                </a:extLst>
              </p:cNvPr>
              <p:cNvSpPr/>
              <p:nvPr/>
            </p:nvSpPr>
            <p:spPr>
              <a:xfrm>
                <a:off x="1698171" y="5220304"/>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noFill/>
              <a:ln w="3930">
                <a:solidFill>
                  <a:srgbClr val="FFFFFF"/>
                </a:solidFill>
              </a:ln>
            </p:spPr>
            <p:txBody>
              <a:bodyPr rtlCol="0" anchor="ctr"/>
              <a:lstStyle/>
              <a:p>
                <a:pPr algn="ctr"/>
                <a:endParaRPr sz="3600"/>
              </a:p>
            </p:txBody>
          </p:sp>
          <p:sp>
            <p:nvSpPr>
              <p:cNvPr id="241" name="Rounded Rectangle 91">
                <a:extLst>
                  <a:ext uri="{FF2B5EF4-FFF2-40B4-BE49-F238E27FC236}">
                    <a16:creationId xmlns:a16="http://schemas.microsoft.com/office/drawing/2014/main" id="{F1B21C72-ACAC-8775-03A6-06042618E2B4}"/>
                  </a:ext>
                </a:extLst>
              </p:cNvPr>
              <p:cNvSpPr/>
              <p:nvPr/>
            </p:nvSpPr>
            <p:spPr>
              <a:xfrm>
                <a:off x="1698171" y="5408990"/>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noFill/>
              <a:ln w="3930">
                <a:solidFill>
                  <a:srgbClr val="FFFFFF"/>
                </a:solidFill>
              </a:ln>
            </p:spPr>
            <p:txBody>
              <a:bodyPr rtlCol="0" anchor="ctr"/>
              <a:lstStyle/>
              <a:p>
                <a:pPr algn="ctr"/>
                <a:endParaRPr sz="3600"/>
              </a:p>
            </p:txBody>
          </p:sp>
          <p:sp>
            <p:nvSpPr>
              <p:cNvPr id="242" name="Rounded Rectangle 92">
                <a:extLst>
                  <a:ext uri="{FF2B5EF4-FFF2-40B4-BE49-F238E27FC236}">
                    <a16:creationId xmlns:a16="http://schemas.microsoft.com/office/drawing/2014/main" id="{45E74021-82EF-332D-02D8-B7C2E926A333}"/>
                  </a:ext>
                </a:extLst>
              </p:cNvPr>
              <p:cNvSpPr/>
              <p:nvPr/>
            </p:nvSpPr>
            <p:spPr>
              <a:xfrm>
                <a:off x="3207657" y="5220304"/>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noFill/>
              <a:ln w="3930">
                <a:solidFill>
                  <a:srgbClr val="FFFFFF"/>
                </a:solidFill>
              </a:ln>
            </p:spPr>
            <p:txBody>
              <a:bodyPr rtlCol="0" anchor="ctr"/>
              <a:lstStyle/>
              <a:p>
                <a:pPr algn="ctr"/>
                <a:endParaRPr sz="3600"/>
              </a:p>
            </p:txBody>
          </p:sp>
          <p:sp>
            <p:nvSpPr>
              <p:cNvPr id="243" name="Rounded Rectangle 93">
                <a:extLst>
                  <a:ext uri="{FF2B5EF4-FFF2-40B4-BE49-F238E27FC236}">
                    <a16:creationId xmlns:a16="http://schemas.microsoft.com/office/drawing/2014/main" id="{C5CC367F-4683-D23C-DC26-A2DDBB1DF6FC}"/>
                  </a:ext>
                </a:extLst>
              </p:cNvPr>
              <p:cNvSpPr/>
              <p:nvPr/>
            </p:nvSpPr>
            <p:spPr>
              <a:xfrm>
                <a:off x="3018971" y="5220304"/>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noFill/>
              <a:ln w="3930">
                <a:solidFill>
                  <a:srgbClr val="FFFFFF"/>
                </a:solidFill>
              </a:ln>
            </p:spPr>
            <p:txBody>
              <a:bodyPr rtlCol="0" anchor="ctr"/>
              <a:lstStyle/>
              <a:p>
                <a:pPr algn="ctr"/>
                <a:endParaRPr sz="3600"/>
              </a:p>
            </p:txBody>
          </p:sp>
          <p:sp>
            <p:nvSpPr>
              <p:cNvPr id="244" name="Rounded Rectangle 94">
                <a:extLst>
                  <a:ext uri="{FF2B5EF4-FFF2-40B4-BE49-F238E27FC236}">
                    <a16:creationId xmlns:a16="http://schemas.microsoft.com/office/drawing/2014/main" id="{576410FE-B050-4FA3-973B-E3C1A0C1FA08}"/>
                  </a:ext>
                </a:extLst>
              </p:cNvPr>
              <p:cNvSpPr/>
              <p:nvPr/>
            </p:nvSpPr>
            <p:spPr>
              <a:xfrm>
                <a:off x="3018971" y="5408990"/>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noFill/>
              <a:ln w="3930">
                <a:solidFill>
                  <a:srgbClr val="FFFFFF"/>
                </a:solidFill>
              </a:ln>
            </p:spPr>
            <p:txBody>
              <a:bodyPr rtlCol="0" anchor="ctr"/>
              <a:lstStyle/>
              <a:p>
                <a:pPr algn="ctr"/>
                <a:endParaRPr sz="3600"/>
              </a:p>
            </p:txBody>
          </p:sp>
          <p:sp>
            <p:nvSpPr>
              <p:cNvPr id="245" name="Rounded Rectangle 95">
                <a:extLst>
                  <a:ext uri="{FF2B5EF4-FFF2-40B4-BE49-F238E27FC236}">
                    <a16:creationId xmlns:a16="http://schemas.microsoft.com/office/drawing/2014/main" id="{6D4101A4-9E6F-FD67-4F54-EEAA6A67374C}"/>
                  </a:ext>
                </a:extLst>
              </p:cNvPr>
              <p:cNvSpPr/>
              <p:nvPr/>
            </p:nvSpPr>
            <p:spPr>
              <a:xfrm>
                <a:off x="3018971" y="5031619"/>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noFill/>
              <a:ln w="3930">
                <a:solidFill>
                  <a:srgbClr val="FFFFFF"/>
                </a:solidFill>
              </a:ln>
            </p:spPr>
            <p:txBody>
              <a:bodyPr rtlCol="0" anchor="ctr"/>
              <a:lstStyle/>
              <a:p>
                <a:pPr algn="ctr"/>
                <a:endParaRPr sz="3600"/>
              </a:p>
            </p:txBody>
          </p:sp>
        </p:grpSp>
        <p:grpSp>
          <p:nvGrpSpPr>
            <p:cNvPr id="246" name="Group 245">
              <a:extLst>
                <a:ext uri="{FF2B5EF4-FFF2-40B4-BE49-F238E27FC236}">
                  <a16:creationId xmlns:a16="http://schemas.microsoft.com/office/drawing/2014/main" id="{6BA5DE04-3F4F-1336-8CE4-0471C1DC247C}"/>
                </a:ext>
              </a:extLst>
            </p:cNvPr>
            <p:cNvGrpSpPr/>
            <p:nvPr/>
          </p:nvGrpSpPr>
          <p:grpSpPr>
            <a:xfrm>
              <a:off x="5726157" y="6089904"/>
              <a:ext cx="877824" cy="219455"/>
              <a:chOff x="2264228" y="5408990"/>
              <a:chExt cx="754742" cy="188685"/>
            </a:xfrm>
          </p:grpSpPr>
          <p:sp>
            <p:nvSpPr>
              <p:cNvPr id="247" name="Rounded Rectangle 97">
                <a:extLst>
                  <a:ext uri="{FF2B5EF4-FFF2-40B4-BE49-F238E27FC236}">
                    <a16:creationId xmlns:a16="http://schemas.microsoft.com/office/drawing/2014/main" id="{6C04C920-3A94-9F05-6CC7-DCC9FF9BFD4F}"/>
                  </a:ext>
                </a:extLst>
              </p:cNvPr>
              <p:cNvSpPr/>
              <p:nvPr/>
            </p:nvSpPr>
            <p:spPr>
              <a:xfrm>
                <a:off x="2830285" y="5408990"/>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solidFill>
                <a:srgbClr val="0486FF"/>
              </a:solidFill>
              <a:ln>
                <a:noFill/>
              </a:ln>
            </p:spPr>
            <p:txBody>
              <a:bodyPr rtlCol="0" anchor="ctr"/>
              <a:lstStyle/>
              <a:p>
                <a:pPr algn="ctr"/>
                <a:endParaRPr sz="3600"/>
              </a:p>
            </p:txBody>
          </p:sp>
          <p:sp>
            <p:nvSpPr>
              <p:cNvPr id="248" name="Rounded Rectangle 98">
                <a:extLst>
                  <a:ext uri="{FF2B5EF4-FFF2-40B4-BE49-F238E27FC236}">
                    <a16:creationId xmlns:a16="http://schemas.microsoft.com/office/drawing/2014/main" id="{1C2A15A1-344B-28CC-B54B-BA0B15C999C6}"/>
                  </a:ext>
                </a:extLst>
              </p:cNvPr>
              <p:cNvSpPr/>
              <p:nvPr/>
            </p:nvSpPr>
            <p:spPr>
              <a:xfrm>
                <a:off x="2641600" y="5408990"/>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solidFill>
                <a:srgbClr val="0486FF"/>
              </a:solidFill>
              <a:ln>
                <a:noFill/>
              </a:ln>
            </p:spPr>
            <p:txBody>
              <a:bodyPr rtlCol="0" anchor="ctr"/>
              <a:lstStyle/>
              <a:p>
                <a:pPr algn="ctr"/>
                <a:endParaRPr sz="3600"/>
              </a:p>
            </p:txBody>
          </p:sp>
          <p:sp>
            <p:nvSpPr>
              <p:cNvPr id="249" name="Rounded Rectangle 99">
                <a:extLst>
                  <a:ext uri="{FF2B5EF4-FFF2-40B4-BE49-F238E27FC236}">
                    <a16:creationId xmlns:a16="http://schemas.microsoft.com/office/drawing/2014/main" id="{44FF0290-2686-8BCE-021E-ADB0A5AD1F7A}"/>
                  </a:ext>
                </a:extLst>
              </p:cNvPr>
              <p:cNvSpPr/>
              <p:nvPr/>
            </p:nvSpPr>
            <p:spPr>
              <a:xfrm>
                <a:off x="2452914" y="5408990"/>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solidFill>
                <a:srgbClr val="0486FF"/>
              </a:solidFill>
              <a:ln>
                <a:noFill/>
              </a:ln>
            </p:spPr>
            <p:txBody>
              <a:bodyPr rtlCol="0" anchor="ctr"/>
              <a:lstStyle/>
              <a:p>
                <a:pPr algn="ctr"/>
                <a:endParaRPr sz="3600"/>
              </a:p>
            </p:txBody>
          </p:sp>
          <p:sp>
            <p:nvSpPr>
              <p:cNvPr id="250" name="Rounded Rectangle 100">
                <a:extLst>
                  <a:ext uri="{FF2B5EF4-FFF2-40B4-BE49-F238E27FC236}">
                    <a16:creationId xmlns:a16="http://schemas.microsoft.com/office/drawing/2014/main" id="{6F8612BA-7280-0B50-A971-DD5FFA9390FE}"/>
                  </a:ext>
                </a:extLst>
              </p:cNvPr>
              <p:cNvSpPr/>
              <p:nvPr/>
            </p:nvSpPr>
            <p:spPr>
              <a:xfrm>
                <a:off x="2264228" y="5408990"/>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solidFill>
                <a:srgbClr val="0486FF"/>
              </a:solidFill>
              <a:ln>
                <a:noFill/>
              </a:ln>
            </p:spPr>
            <p:txBody>
              <a:bodyPr rtlCol="0" anchor="ctr"/>
              <a:lstStyle/>
              <a:p>
                <a:pPr algn="ctr"/>
                <a:endParaRPr sz="3600"/>
              </a:p>
            </p:txBody>
          </p:sp>
          <p:sp>
            <p:nvSpPr>
              <p:cNvPr id="251" name="Rounded Rectangle 101">
                <a:extLst>
                  <a:ext uri="{FF2B5EF4-FFF2-40B4-BE49-F238E27FC236}">
                    <a16:creationId xmlns:a16="http://schemas.microsoft.com/office/drawing/2014/main" id="{F3A928E0-1C0F-DE71-E8E3-BD258D117FDB}"/>
                  </a:ext>
                </a:extLst>
              </p:cNvPr>
              <p:cNvSpPr/>
              <p:nvPr/>
            </p:nvSpPr>
            <p:spPr>
              <a:xfrm>
                <a:off x="2830285" y="5408990"/>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noFill/>
              <a:ln w="3930">
                <a:solidFill>
                  <a:srgbClr val="FFFFFF"/>
                </a:solidFill>
              </a:ln>
            </p:spPr>
            <p:txBody>
              <a:bodyPr rtlCol="0" anchor="ctr"/>
              <a:lstStyle/>
              <a:p>
                <a:pPr algn="ctr"/>
                <a:endParaRPr sz="3600"/>
              </a:p>
            </p:txBody>
          </p:sp>
          <p:sp>
            <p:nvSpPr>
              <p:cNvPr id="252" name="Rounded Rectangle 102">
                <a:extLst>
                  <a:ext uri="{FF2B5EF4-FFF2-40B4-BE49-F238E27FC236}">
                    <a16:creationId xmlns:a16="http://schemas.microsoft.com/office/drawing/2014/main" id="{D2AE7AC7-58F2-4B2A-7224-8EDEB0E4A79A}"/>
                  </a:ext>
                </a:extLst>
              </p:cNvPr>
              <p:cNvSpPr/>
              <p:nvPr/>
            </p:nvSpPr>
            <p:spPr>
              <a:xfrm>
                <a:off x="2641600" y="5408990"/>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noFill/>
              <a:ln w="3930">
                <a:solidFill>
                  <a:srgbClr val="FFFFFF"/>
                </a:solidFill>
              </a:ln>
            </p:spPr>
            <p:txBody>
              <a:bodyPr rtlCol="0" anchor="ctr"/>
              <a:lstStyle/>
              <a:p>
                <a:pPr algn="ctr"/>
                <a:endParaRPr sz="3600"/>
              </a:p>
            </p:txBody>
          </p:sp>
          <p:sp>
            <p:nvSpPr>
              <p:cNvPr id="253" name="Rounded Rectangle 103">
                <a:extLst>
                  <a:ext uri="{FF2B5EF4-FFF2-40B4-BE49-F238E27FC236}">
                    <a16:creationId xmlns:a16="http://schemas.microsoft.com/office/drawing/2014/main" id="{6F316C27-98F8-4E8C-F7D9-56126766825E}"/>
                  </a:ext>
                </a:extLst>
              </p:cNvPr>
              <p:cNvSpPr/>
              <p:nvPr/>
            </p:nvSpPr>
            <p:spPr>
              <a:xfrm>
                <a:off x="2452914" y="5408990"/>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noFill/>
              <a:ln w="3930">
                <a:solidFill>
                  <a:srgbClr val="FFFFFF"/>
                </a:solidFill>
              </a:ln>
            </p:spPr>
            <p:txBody>
              <a:bodyPr rtlCol="0" anchor="ctr"/>
              <a:lstStyle/>
              <a:p>
                <a:pPr algn="ctr"/>
                <a:endParaRPr sz="3600"/>
              </a:p>
            </p:txBody>
          </p:sp>
          <p:sp>
            <p:nvSpPr>
              <p:cNvPr id="254" name="Rounded Rectangle 104">
                <a:extLst>
                  <a:ext uri="{FF2B5EF4-FFF2-40B4-BE49-F238E27FC236}">
                    <a16:creationId xmlns:a16="http://schemas.microsoft.com/office/drawing/2014/main" id="{57AE6E3B-5BB0-CAC5-4E34-B8D666C2B5DA}"/>
                  </a:ext>
                </a:extLst>
              </p:cNvPr>
              <p:cNvSpPr/>
              <p:nvPr/>
            </p:nvSpPr>
            <p:spPr>
              <a:xfrm>
                <a:off x="2264228" y="5408990"/>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noFill/>
              <a:ln w="3930">
                <a:solidFill>
                  <a:srgbClr val="FFFFFF"/>
                </a:solidFill>
              </a:ln>
            </p:spPr>
            <p:txBody>
              <a:bodyPr rtlCol="0" anchor="ctr"/>
              <a:lstStyle/>
              <a:p>
                <a:pPr algn="ctr"/>
                <a:endParaRPr sz="3600"/>
              </a:p>
            </p:txBody>
          </p:sp>
        </p:grpSp>
        <p:grpSp>
          <p:nvGrpSpPr>
            <p:cNvPr id="255" name="Group 254">
              <a:extLst>
                <a:ext uri="{FF2B5EF4-FFF2-40B4-BE49-F238E27FC236}">
                  <a16:creationId xmlns:a16="http://schemas.microsoft.com/office/drawing/2014/main" id="{111D1B7A-E64A-595F-A8B5-056B8C78AA58}"/>
                </a:ext>
              </a:extLst>
            </p:cNvPr>
            <p:cNvGrpSpPr/>
            <p:nvPr/>
          </p:nvGrpSpPr>
          <p:grpSpPr>
            <a:xfrm>
              <a:off x="5067789" y="5431536"/>
              <a:ext cx="1755648" cy="658367"/>
              <a:chOff x="1698171" y="4842933"/>
              <a:chExt cx="1509485" cy="566056"/>
            </a:xfrm>
          </p:grpSpPr>
          <p:sp>
            <p:nvSpPr>
              <p:cNvPr id="256" name="Rounded Rectangle 106">
                <a:extLst>
                  <a:ext uri="{FF2B5EF4-FFF2-40B4-BE49-F238E27FC236}">
                    <a16:creationId xmlns:a16="http://schemas.microsoft.com/office/drawing/2014/main" id="{F5AFDB95-EF08-645E-47BD-8740D6E1D8BC}"/>
                  </a:ext>
                </a:extLst>
              </p:cNvPr>
              <p:cNvSpPr/>
              <p:nvPr/>
            </p:nvSpPr>
            <p:spPr>
              <a:xfrm>
                <a:off x="1698171" y="4842933"/>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solidFill>
                <a:srgbClr val="1072CE"/>
              </a:solidFill>
              <a:ln>
                <a:noFill/>
              </a:ln>
            </p:spPr>
            <p:txBody>
              <a:bodyPr rtlCol="0" anchor="ctr"/>
              <a:lstStyle/>
              <a:p>
                <a:pPr algn="ctr"/>
                <a:endParaRPr sz="3600"/>
              </a:p>
            </p:txBody>
          </p:sp>
          <p:sp>
            <p:nvSpPr>
              <p:cNvPr id="257" name="Rounded Rectangle 107">
                <a:extLst>
                  <a:ext uri="{FF2B5EF4-FFF2-40B4-BE49-F238E27FC236}">
                    <a16:creationId xmlns:a16="http://schemas.microsoft.com/office/drawing/2014/main" id="{4729AB97-FB71-08A4-B362-4430E0E7CCB3}"/>
                  </a:ext>
                </a:extLst>
              </p:cNvPr>
              <p:cNvSpPr/>
              <p:nvPr/>
            </p:nvSpPr>
            <p:spPr>
              <a:xfrm>
                <a:off x="1886857" y="5220304"/>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solidFill>
                <a:srgbClr val="1072CE"/>
              </a:solidFill>
              <a:ln>
                <a:noFill/>
              </a:ln>
            </p:spPr>
            <p:txBody>
              <a:bodyPr rtlCol="0" anchor="ctr"/>
              <a:lstStyle/>
              <a:p>
                <a:pPr algn="ctr"/>
                <a:endParaRPr sz="3600"/>
              </a:p>
            </p:txBody>
          </p:sp>
          <p:sp>
            <p:nvSpPr>
              <p:cNvPr id="258" name="Rounded Rectangle 108">
                <a:extLst>
                  <a:ext uri="{FF2B5EF4-FFF2-40B4-BE49-F238E27FC236}">
                    <a16:creationId xmlns:a16="http://schemas.microsoft.com/office/drawing/2014/main" id="{02F9ADAF-6B44-CD62-8079-2CA394E9E2F8}"/>
                  </a:ext>
                </a:extLst>
              </p:cNvPr>
              <p:cNvSpPr/>
              <p:nvPr/>
            </p:nvSpPr>
            <p:spPr>
              <a:xfrm>
                <a:off x="1886857" y="5031619"/>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solidFill>
                <a:srgbClr val="1072CE"/>
              </a:solidFill>
              <a:ln>
                <a:noFill/>
              </a:ln>
            </p:spPr>
            <p:txBody>
              <a:bodyPr rtlCol="0" anchor="ctr"/>
              <a:lstStyle/>
              <a:p>
                <a:pPr algn="ctr"/>
                <a:endParaRPr sz="3600"/>
              </a:p>
            </p:txBody>
          </p:sp>
          <p:sp>
            <p:nvSpPr>
              <p:cNvPr id="259" name="Rounded Rectangle 109">
                <a:extLst>
                  <a:ext uri="{FF2B5EF4-FFF2-40B4-BE49-F238E27FC236}">
                    <a16:creationId xmlns:a16="http://schemas.microsoft.com/office/drawing/2014/main" id="{E57E89AA-5C7C-BA48-22E9-77950450D262}"/>
                  </a:ext>
                </a:extLst>
              </p:cNvPr>
              <p:cNvSpPr/>
              <p:nvPr/>
            </p:nvSpPr>
            <p:spPr>
              <a:xfrm>
                <a:off x="1698171" y="5031619"/>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solidFill>
                <a:srgbClr val="1072CE"/>
              </a:solidFill>
              <a:ln>
                <a:noFill/>
              </a:ln>
            </p:spPr>
            <p:txBody>
              <a:bodyPr rtlCol="0" anchor="ctr"/>
              <a:lstStyle/>
              <a:p>
                <a:pPr algn="ctr"/>
                <a:endParaRPr sz="3600"/>
              </a:p>
            </p:txBody>
          </p:sp>
          <p:sp>
            <p:nvSpPr>
              <p:cNvPr id="260" name="Rounded Rectangle 110">
                <a:extLst>
                  <a:ext uri="{FF2B5EF4-FFF2-40B4-BE49-F238E27FC236}">
                    <a16:creationId xmlns:a16="http://schemas.microsoft.com/office/drawing/2014/main" id="{2C31C24E-F6C5-81FB-F7A4-CCB248FBB089}"/>
                  </a:ext>
                </a:extLst>
              </p:cNvPr>
              <p:cNvSpPr/>
              <p:nvPr/>
            </p:nvSpPr>
            <p:spPr>
              <a:xfrm>
                <a:off x="3018971" y="4842933"/>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solidFill>
                <a:srgbClr val="1072CE"/>
              </a:solidFill>
              <a:ln>
                <a:noFill/>
              </a:ln>
            </p:spPr>
            <p:txBody>
              <a:bodyPr rtlCol="0" anchor="ctr"/>
              <a:lstStyle/>
              <a:p>
                <a:pPr algn="ctr"/>
                <a:endParaRPr sz="3600"/>
              </a:p>
            </p:txBody>
          </p:sp>
          <p:sp>
            <p:nvSpPr>
              <p:cNvPr id="261" name="Rounded Rectangle 111">
                <a:extLst>
                  <a:ext uri="{FF2B5EF4-FFF2-40B4-BE49-F238E27FC236}">
                    <a16:creationId xmlns:a16="http://schemas.microsoft.com/office/drawing/2014/main" id="{7872DD2E-1633-87A4-3C33-9B64B5C910E0}"/>
                  </a:ext>
                </a:extLst>
              </p:cNvPr>
              <p:cNvSpPr/>
              <p:nvPr/>
            </p:nvSpPr>
            <p:spPr>
              <a:xfrm>
                <a:off x="2830285" y="4842933"/>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solidFill>
                <a:srgbClr val="1072CE"/>
              </a:solidFill>
              <a:ln>
                <a:noFill/>
              </a:ln>
            </p:spPr>
            <p:txBody>
              <a:bodyPr rtlCol="0" anchor="ctr"/>
              <a:lstStyle/>
              <a:p>
                <a:pPr algn="ctr"/>
                <a:endParaRPr sz="3600"/>
              </a:p>
            </p:txBody>
          </p:sp>
          <p:sp>
            <p:nvSpPr>
              <p:cNvPr id="262" name="Rounded Rectangle 112">
                <a:extLst>
                  <a:ext uri="{FF2B5EF4-FFF2-40B4-BE49-F238E27FC236}">
                    <a16:creationId xmlns:a16="http://schemas.microsoft.com/office/drawing/2014/main" id="{54DC13F6-C99F-6D8D-43E6-F71824572AC8}"/>
                  </a:ext>
                </a:extLst>
              </p:cNvPr>
              <p:cNvSpPr/>
              <p:nvPr/>
            </p:nvSpPr>
            <p:spPr>
              <a:xfrm>
                <a:off x="2830285" y="5220304"/>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solidFill>
                <a:srgbClr val="1072CE"/>
              </a:solidFill>
              <a:ln>
                <a:noFill/>
              </a:ln>
            </p:spPr>
            <p:txBody>
              <a:bodyPr rtlCol="0" anchor="ctr"/>
              <a:lstStyle/>
              <a:p>
                <a:pPr algn="ctr"/>
                <a:endParaRPr sz="3600"/>
              </a:p>
            </p:txBody>
          </p:sp>
          <p:sp>
            <p:nvSpPr>
              <p:cNvPr id="263" name="Rounded Rectangle 113">
                <a:extLst>
                  <a:ext uri="{FF2B5EF4-FFF2-40B4-BE49-F238E27FC236}">
                    <a16:creationId xmlns:a16="http://schemas.microsoft.com/office/drawing/2014/main" id="{F1062711-8049-FBB4-A558-D4F20A37463C}"/>
                  </a:ext>
                </a:extLst>
              </p:cNvPr>
              <p:cNvSpPr/>
              <p:nvPr/>
            </p:nvSpPr>
            <p:spPr>
              <a:xfrm>
                <a:off x="2830285" y="5031619"/>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solidFill>
                <a:srgbClr val="1072CE"/>
              </a:solidFill>
              <a:ln>
                <a:noFill/>
              </a:ln>
            </p:spPr>
            <p:txBody>
              <a:bodyPr rtlCol="0" anchor="ctr"/>
              <a:lstStyle/>
              <a:p>
                <a:pPr algn="ctr"/>
                <a:endParaRPr sz="3600"/>
              </a:p>
            </p:txBody>
          </p:sp>
          <p:sp>
            <p:nvSpPr>
              <p:cNvPr id="264" name="Rounded Rectangle 114">
                <a:extLst>
                  <a:ext uri="{FF2B5EF4-FFF2-40B4-BE49-F238E27FC236}">
                    <a16:creationId xmlns:a16="http://schemas.microsoft.com/office/drawing/2014/main" id="{AED8316D-ACC5-DDD4-0BCD-578B21075C27}"/>
                  </a:ext>
                </a:extLst>
              </p:cNvPr>
              <p:cNvSpPr/>
              <p:nvPr/>
            </p:nvSpPr>
            <p:spPr>
              <a:xfrm>
                <a:off x="1698171" y="4842933"/>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noFill/>
              <a:ln w="3930">
                <a:solidFill>
                  <a:srgbClr val="FFFFFF"/>
                </a:solidFill>
              </a:ln>
            </p:spPr>
            <p:txBody>
              <a:bodyPr rtlCol="0" anchor="ctr"/>
              <a:lstStyle/>
              <a:p>
                <a:pPr algn="ctr"/>
                <a:endParaRPr sz="3600"/>
              </a:p>
            </p:txBody>
          </p:sp>
          <p:sp>
            <p:nvSpPr>
              <p:cNvPr id="265" name="Rounded Rectangle 115">
                <a:extLst>
                  <a:ext uri="{FF2B5EF4-FFF2-40B4-BE49-F238E27FC236}">
                    <a16:creationId xmlns:a16="http://schemas.microsoft.com/office/drawing/2014/main" id="{5567395D-F46F-4BB6-397F-B844601E0015}"/>
                  </a:ext>
                </a:extLst>
              </p:cNvPr>
              <p:cNvSpPr/>
              <p:nvPr/>
            </p:nvSpPr>
            <p:spPr>
              <a:xfrm>
                <a:off x="1886857" y="5220304"/>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noFill/>
              <a:ln w="3930">
                <a:solidFill>
                  <a:srgbClr val="FFFFFF"/>
                </a:solidFill>
              </a:ln>
            </p:spPr>
            <p:txBody>
              <a:bodyPr rtlCol="0" anchor="ctr"/>
              <a:lstStyle/>
              <a:p>
                <a:pPr algn="ctr"/>
                <a:endParaRPr sz="3600"/>
              </a:p>
            </p:txBody>
          </p:sp>
          <p:sp>
            <p:nvSpPr>
              <p:cNvPr id="266" name="Rounded Rectangle 116">
                <a:extLst>
                  <a:ext uri="{FF2B5EF4-FFF2-40B4-BE49-F238E27FC236}">
                    <a16:creationId xmlns:a16="http://schemas.microsoft.com/office/drawing/2014/main" id="{827BBA67-4236-12E3-5E04-C1FE81E2B33E}"/>
                  </a:ext>
                </a:extLst>
              </p:cNvPr>
              <p:cNvSpPr/>
              <p:nvPr/>
            </p:nvSpPr>
            <p:spPr>
              <a:xfrm>
                <a:off x="1886857" y="5031619"/>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noFill/>
              <a:ln w="3930">
                <a:solidFill>
                  <a:srgbClr val="FFFFFF"/>
                </a:solidFill>
              </a:ln>
            </p:spPr>
            <p:txBody>
              <a:bodyPr rtlCol="0" anchor="ctr"/>
              <a:lstStyle/>
              <a:p>
                <a:pPr algn="ctr"/>
                <a:endParaRPr sz="3600"/>
              </a:p>
            </p:txBody>
          </p:sp>
          <p:sp>
            <p:nvSpPr>
              <p:cNvPr id="267" name="Rounded Rectangle 117">
                <a:extLst>
                  <a:ext uri="{FF2B5EF4-FFF2-40B4-BE49-F238E27FC236}">
                    <a16:creationId xmlns:a16="http://schemas.microsoft.com/office/drawing/2014/main" id="{EB114B44-65DA-DEF8-4D9C-B7558349FD1E}"/>
                  </a:ext>
                </a:extLst>
              </p:cNvPr>
              <p:cNvSpPr/>
              <p:nvPr/>
            </p:nvSpPr>
            <p:spPr>
              <a:xfrm>
                <a:off x="1698171" y="5031619"/>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noFill/>
              <a:ln w="3930">
                <a:solidFill>
                  <a:srgbClr val="FFFFFF"/>
                </a:solidFill>
              </a:ln>
            </p:spPr>
            <p:txBody>
              <a:bodyPr rtlCol="0" anchor="ctr"/>
              <a:lstStyle/>
              <a:p>
                <a:pPr algn="ctr"/>
                <a:endParaRPr sz="3600"/>
              </a:p>
            </p:txBody>
          </p:sp>
          <p:sp>
            <p:nvSpPr>
              <p:cNvPr id="268" name="Rounded Rectangle 118">
                <a:extLst>
                  <a:ext uri="{FF2B5EF4-FFF2-40B4-BE49-F238E27FC236}">
                    <a16:creationId xmlns:a16="http://schemas.microsoft.com/office/drawing/2014/main" id="{D77A7C5E-4676-A2A1-A8A5-A264DA48F0D4}"/>
                  </a:ext>
                </a:extLst>
              </p:cNvPr>
              <p:cNvSpPr/>
              <p:nvPr/>
            </p:nvSpPr>
            <p:spPr>
              <a:xfrm>
                <a:off x="3018971" y="4842933"/>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noFill/>
              <a:ln w="3930">
                <a:solidFill>
                  <a:srgbClr val="FFFFFF"/>
                </a:solidFill>
              </a:ln>
            </p:spPr>
            <p:txBody>
              <a:bodyPr rtlCol="0" anchor="ctr"/>
              <a:lstStyle/>
              <a:p>
                <a:pPr algn="ctr"/>
                <a:endParaRPr sz="3600"/>
              </a:p>
            </p:txBody>
          </p:sp>
          <p:sp>
            <p:nvSpPr>
              <p:cNvPr id="269" name="Rounded Rectangle 119">
                <a:extLst>
                  <a:ext uri="{FF2B5EF4-FFF2-40B4-BE49-F238E27FC236}">
                    <a16:creationId xmlns:a16="http://schemas.microsoft.com/office/drawing/2014/main" id="{4FB343E0-46AD-C8EF-628E-E13C0F96B36A}"/>
                  </a:ext>
                </a:extLst>
              </p:cNvPr>
              <p:cNvSpPr/>
              <p:nvPr/>
            </p:nvSpPr>
            <p:spPr>
              <a:xfrm>
                <a:off x="2830285" y="4842933"/>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noFill/>
              <a:ln w="3930">
                <a:solidFill>
                  <a:srgbClr val="FFFFFF"/>
                </a:solidFill>
              </a:ln>
            </p:spPr>
            <p:txBody>
              <a:bodyPr rtlCol="0" anchor="ctr"/>
              <a:lstStyle/>
              <a:p>
                <a:pPr algn="ctr"/>
                <a:endParaRPr sz="3600"/>
              </a:p>
            </p:txBody>
          </p:sp>
          <p:sp>
            <p:nvSpPr>
              <p:cNvPr id="270" name="Rounded Rectangle 120">
                <a:extLst>
                  <a:ext uri="{FF2B5EF4-FFF2-40B4-BE49-F238E27FC236}">
                    <a16:creationId xmlns:a16="http://schemas.microsoft.com/office/drawing/2014/main" id="{F99963A4-348A-C669-E1D5-2A2FE14732E3}"/>
                  </a:ext>
                </a:extLst>
              </p:cNvPr>
              <p:cNvSpPr/>
              <p:nvPr/>
            </p:nvSpPr>
            <p:spPr>
              <a:xfrm>
                <a:off x="2830285" y="5220304"/>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noFill/>
              <a:ln w="3930">
                <a:solidFill>
                  <a:srgbClr val="FFFFFF"/>
                </a:solidFill>
              </a:ln>
            </p:spPr>
            <p:txBody>
              <a:bodyPr rtlCol="0" anchor="ctr"/>
              <a:lstStyle/>
              <a:p>
                <a:pPr algn="ctr"/>
                <a:endParaRPr sz="3600"/>
              </a:p>
            </p:txBody>
          </p:sp>
          <p:sp>
            <p:nvSpPr>
              <p:cNvPr id="271" name="Rounded Rectangle 121">
                <a:extLst>
                  <a:ext uri="{FF2B5EF4-FFF2-40B4-BE49-F238E27FC236}">
                    <a16:creationId xmlns:a16="http://schemas.microsoft.com/office/drawing/2014/main" id="{31C4114F-EB15-BC43-86B4-259C3922C161}"/>
                  </a:ext>
                </a:extLst>
              </p:cNvPr>
              <p:cNvSpPr/>
              <p:nvPr/>
            </p:nvSpPr>
            <p:spPr>
              <a:xfrm>
                <a:off x="2830285" y="5031619"/>
                <a:ext cx="188685" cy="188685"/>
              </a:xfrm>
              <a:custGeom>
                <a:avLst/>
                <a:gdLst/>
                <a:ahLst/>
                <a:cxnLst/>
                <a:rect l="0" t="0" r="0" b="0"/>
                <a:pathLst>
                  <a:path w="188685" h="188685">
                    <a:moveTo>
                      <a:pt x="0" y="0"/>
                    </a:moveTo>
                    <a:lnTo>
                      <a:pt x="188685" y="0"/>
                    </a:lnTo>
                    <a:lnTo>
                      <a:pt x="188685" y="188685"/>
                    </a:lnTo>
                    <a:lnTo>
                      <a:pt x="0" y="188685"/>
                    </a:lnTo>
                    <a:lnTo>
                      <a:pt x="0" y="0"/>
                    </a:lnTo>
                    <a:close/>
                  </a:path>
                </a:pathLst>
              </a:custGeom>
              <a:noFill/>
              <a:ln w="3930">
                <a:solidFill>
                  <a:srgbClr val="FFFFFF"/>
                </a:solidFill>
              </a:ln>
            </p:spPr>
            <p:txBody>
              <a:bodyPr rtlCol="0" anchor="ctr"/>
              <a:lstStyle/>
              <a:p>
                <a:pPr algn="ctr"/>
                <a:endParaRPr sz="3600"/>
              </a:p>
            </p:txBody>
          </p:sp>
        </p:grpSp>
        <p:sp>
          <p:nvSpPr>
            <p:cNvPr id="272" name="TextBox 271">
              <a:extLst>
                <a:ext uri="{FF2B5EF4-FFF2-40B4-BE49-F238E27FC236}">
                  <a16:creationId xmlns:a16="http://schemas.microsoft.com/office/drawing/2014/main" id="{48C338DC-277E-EBD6-6614-63D6F005CBCA}"/>
                </a:ext>
              </a:extLst>
            </p:cNvPr>
            <p:cNvSpPr txBox="1"/>
            <p:nvPr/>
          </p:nvSpPr>
          <p:spPr>
            <a:xfrm>
              <a:off x="3015207" y="2903075"/>
              <a:ext cx="1328696" cy="184666"/>
            </a:xfrm>
            <a:prstGeom prst="rect">
              <a:avLst/>
            </a:prstGeom>
            <a:noFill/>
            <a:ln>
              <a:noFill/>
            </a:ln>
          </p:spPr>
          <p:txBody>
            <a:bodyPr wrap="none" lIns="0" tIns="0" rIns="0" bIns="0" anchor="t">
              <a:spAutoFit/>
            </a:bodyPr>
            <a:lstStyle/>
            <a:p>
              <a:pPr algn="r"/>
              <a:r>
                <a:rPr sz="1200" b="1">
                  <a:solidFill>
                    <a:srgbClr val="1A1A1A"/>
                  </a:solidFill>
                  <a:latin typeface="Arial"/>
                </a:rPr>
                <a:t>Technical Barriers</a:t>
              </a:r>
            </a:p>
          </p:txBody>
        </p:sp>
        <p:sp>
          <p:nvSpPr>
            <p:cNvPr id="273" name="TextBox 272">
              <a:extLst>
                <a:ext uri="{FF2B5EF4-FFF2-40B4-BE49-F238E27FC236}">
                  <a16:creationId xmlns:a16="http://schemas.microsoft.com/office/drawing/2014/main" id="{6DD86CFF-73F0-C38F-785F-C82931D486EA}"/>
                </a:ext>
              </a:extLst>
            </p:cNvPr>
            <p:cNvSpPr txBox="1"/>
            <p:nvPr/>
          </p:nvSpPr>
          <p:spPr>
            <a:xfrm>
              <a:off x="2046797" y="3094617"/>
              <a:ext cx="2297104" cy="161583"/>
            </a:xfrm>
            <a:prstGeom prst="rect">
              <a:avLst/>
            </a:prstGeom>
            <a:noFill/>
            <a:ln>
              <a:noFill/>
            </a:ln>
          </p:spPr>
          <p:txBody>
            <a:bodyPr wrap="none" lIns="0" tIns="0" rIns="0" bIns="0" anchor="t">
              <a:spAutoFit/>
            </a:bodyPr>
            <a:lstStyle/>
            <a:p>
              <a:pPr algn="r"/>
              <a:r>
                <a:rPr sz="1050" b="0">
                  <a:solidFill>
                    <a:srgbClr val="1A1A1A"/>
                  </a:solidFill>
                  <a:latin typeface="Arial"/>
                </a:rPr>
                <a:t>Programming expertise</a:t>
              </a:r>
              <a:r>
                <a:rPr lang="en-US" sz="1050" b="0">
                  <a:solidFill>
                    <a:srgbClr val="1A1A1A"/>
                  </a:solidFill>
                  <a:latin typeface="Arial"/>
                </a:rPr>
                <a:t> </a:t>
              </a:r>
              <a:r>
                <a:rPr sz="1050" b="0">
                  <a:solidFill>
                    <a:srgbClr val="1A1A1A"/>
                  </a:solidFill>
                  <a:latin typeface="Arial"/>
                </a:rPr>
                <a:t>limits adoption</a:t>
              </a:r>
            </a:p>
          </p:txBody>
        </p:sp>
        <p:sp>
          <p:nvSpPr>
            <p:cNvPr id="274" name="TextBox 273">
              <a:extLst>
                <a:ext uri="{FF2B5EF4-FFF2-40B4-BE49-F238E27FC236}">
                  <a16:creationId xmlns:a16="http://schemas.microsoft.com/office/drawing/2014/main" id="{D9615D5B-824A-7F00-0AC2-309C0BE46883}"/>
                </a:ext>
              </a:extLst>
            </p:cNvPr>
            <p:cNvSpPr txBox="1"/>
            <p:nvPr/>
          </p:nvSpPr>
          <p:spPr>
            <a:xfrm>
              <a:off x="7986219" y="2732887"/>
              <a:ext cx="2409314" cy="161583"/>
            </a:xfrm>
            <a:prstGeom prst="rect">
              <a:avLst/>
            </a:prstGeom>
            <a:noFill/>
            <a:ln>
              <a:noFill/>
            </a:ln>
          </p:spPr>
          <p:txBody>
            <a:bodyPr wrap="none" lIns="0" tIns="0" rIns="0" bIns="0" anchor="t">
              <a:spAutoFit/>
            </a:bodyPr>
            <a:lstStyle/>
            <a:p>
              <a:pPr algn="l"/>
              <a:r>
                <a:rPr sz="1050" b="0">
                  <a:solidFill>
                    <a:srgbClr val="1A1A1A"/>
                  </a:solidFill>
                  <a:latin typeface="Arial"/>
                </a:rPr>
                <a:t>Fragmented architectures</a:t>
              </a:r>
              <a:r>
                <a:rPr lang="en-US" sz="1050" b="0">
                  <a:solidFill>
                    <a:srgbClr val="1A1A1A"/>
                  </a:solidFill>
                  <a:latin typeface="Arial"/>
                </a:rPr>
                <a:t> </a:t>
              </a:r>
              <a:r>
                <a:rPr sz="1050" b="0">
                  <a:solidFill>
                    <a:srgbClr val="1A1A1A"/>
                  </a:solidFill>
                  <a:latin typeface="Arial"/>
                </a:rPr>
                <a:t>hinder scaling</a:t>
              </a:r>
            </a:p>
          </p:txBody>
        </p:sp>
        <p:sp>
          <p:nvSpPr>
            <p:cNvPr id="275" name="TextBox 274">
              <a:extLst>
                <a:ext uri="{FF2B5EF4-FFF2-40B4-BE49-F238E27FC236}">
                  <a16:creationId xmlns:a16="http://schemas.microsoft.com/office/drawing/2014/main" id="{5AF09D58-6529-9B19-7A3F-953EDEF87D9F}"/>
                </a:ext>
              </a:extLst>
            </p:cNvPr>
            <p:cNvSpPr txBox="1"/>
            <p:nvPr/>
          </p:nvSpPr>
          <p:spPr>
            <a:xfrm>
              <a:off x="7986219" y="3248678"/>
              <a:ext cx="998222" cy="369332"/>
            </a:xfrm>
            <a:prstGeom prst="rect">
              <a:avLst/>
            </a:prstGeom>
            <a:noFill/>
            <a:ln>
              <a:noFill/>
            </a:ln>
          </p:spPr>
          <p:txBody>
            <a:bodyPr wrap="none" lIns="0" tIns="0" rIns="0" bIns="0" anchor="t">
              <a:spAutoFit/>
            </a:bodyPr>
            <a:lstStyle/>
            <a:p>
              <a:pPr algn="l"/>
              <a:r>
                <a:rPr sz="1200" b="1">
                  <a:solidFill>
                    <a:srgbClr val="1A1A1A"/>
                  </a:solidFill>
                  <a:latin typeface="Arial"/>
                </a:rPr>
                <a:t>Trust and
Transparency</a:t>
              </a:r>
            </a:p>
          </p:txBody>
        </p:sp>
        <p:sp>
          <p:nvSpPr>
            <p:cNvPr id="276" name="TextBox 275">
              <a:extLst>
                <a:ext uri="{FF2B5EF4-FFF2-40B4-BE49-F238E27FC236}">
                  <a16:creationId xmlns:a16="http://schemas.microsoft.com/office/drawing/2014/main" id="{274D28FF-0B56-050B-4585-B413370C7AF5}"/>
                </a:ext>
              </a:extLst>
            </p:cNvPr>
            <p:cNvSpPr txBox="1"/>
            <p:nvPr/>
          </p:nvSpPr>
          <p:spPr>
            <a:xfrm>
              <a:off x="7986219" y="3629677"/>
              <a:ext cx="1585370" cy="161583"/>
            </a:xfrm>
            <a:prstGeom prst="rect">
              <a:avLst/>
            </a:prstGeom>
            <a:noFill/>
            <a:ln>
              <a:noFill/>
            </a:ln>
          </p:spPr>
          <p:txBody>
            <a:bodyPr wrap="none" lIns="0" tIns="0" rIns="0" bIns="0" anchor="t">
              <a:spAutoFit/>
            </a:bodyPr>
            <a:lstStyle/>
            <a:p>
              <a:pPr algn="l"/>
              <a:r>
                <a:rPr sz="1050" b="0">
                  <a:solidFill>
                    <a:srgbClr val="1A1A1A"/>
                  </a:solidFill>
                  <a:latin typeface="Arial"/>
                </a:rPr>
                <a:t>Decision visibility is limited</a:t>
              </a:r>
            </a:p>
          </p:txBody>
        </p:sp>
        <p:sp>
          <p:nvSpPr>
            <p:cNvPr id="277" name="TextBox 276">
              <a:extLst>
                <a:ext uri="{FF2B5EF4-FFF2-40B4-BE49-F238E27FC236}">
                  <a16:creationId xmlns:a16="http://schemas.microsoft.com/office/drawing/2014/main" id="{9B2CE44F-FFE1-27AB-D2D5-9B024B4B4E1A}"/>
                </a:ext>
              </a:extLst>
            </p:cNvPr>
            <p:cNvSpPr txBox="1"/>
            <p:nvPr/>
          </p:nvSpPr>
          <p:spPr>
            <a:xfrm>
              <a:off x="3205769" y="3760741"/>
              <a:ext cx="1138132" cy="369332"/>
            </a:xfrm>
            <a:prstGeom prst="rect">
              <a:avLst/>
            </a:prstGeom>
            <a:noFill/>
            <a:ln>
              <a:noFill/>
            </a:ln>
          </p:spPr>
          <p:txBody>
            <a:bodyPr wrap="none" lIns="0" tIns="0" rIns="0" bIns="0" anchor="t">
              <a:spAutoFit/>
            </a:bodyPr>
            <a:lstStyle/>
            <a:p>
              <a:pPr algn="r"/>
              <a:r>
                <a:rPr sz="1200" b="1">
                  <a:solidFill>
                    <a:srgbClr val="1A1A1A"/>
                  </a:solidFill>
                  <a:latin typeface="Arial"/>
                </a:rPr>
                <a:t>Data and Model
Dependency</a:t>
              </a:r>
            </a:p>
          </p:txBody>
        </p:sp>
        <p:sp>
          <p:nvSpPr>
            <p:cNvPr id="278" name="TextBox 277">
              <a:extLst>
                <a:ext uri="{FF2B5EF4-FFF2-40B4-BE49-F238E27FC236}">
                  <a16:creationId xmlns:a16="http://schemas.microsoft.com/office/drawing/2014/main" id="{3532F0B6-974D-736A-4FCE-E2AE58EAAE6E}"/>
                </a:ext>
              </a:extLst>
            </p:cNvPr>
            <p:cNvSpPr txBox="1"/>
            <p:nvPr/>
          </p:nvSpPr>
          <p:spPr>
            <a:xfrm>
              <a:off x="2505294" y="4123454"/>
              <a:ext cx="1838645" cy="161583"/>
            </a:xfrm>
            <a:prstGeom prst="rect">
              <a:avLst/>
            </a:prstGeom>
            <a:noFill/>
            <a:ln>
              <a:noFill/>
            </a:ln>
          </p:spPr>
          <p:txBody>
            <a:bodyPr wrap="none" lIns="0" tIns="0" rIns="0" bIns="0" anchor="t">
              <a:spAutoFit/>
            </a:bodyPr>
            <a:lstStyle/>
            <a:p>
              <a:pPr algn="r"/>
              <a:r>
                <a:rPr sz="1050" b="0">
                  <a:solidFill>
                    <a:srgbClr val="1A1A1A"/>
                  </a:solidFill>
                  <a:latin typeface="Arial"/>
                </a:rPr>
                <a:t>Flawed data propagates</a:t>
              </a:r>
              <a:r>
                <a:rPr lang="en-US" sz="1050" b="0">
                  <a:solidFill>
                    <a:srgbClr val="1A1A1A"/>
                  </a:solidFill>
                  <a:latin typeface="Arial"/>
                </a:rPr>
                <a:t> </a:t>
              </a:r>
              <a:r>
                <a:rPr sz="1050" b="0">
                  <a:solidFill>
                    <a:srgbClr val="1A1A1A"/>
                  </a:solidFill>
                  <a:latin typeface="Arial"/>
                </a:rPr>
                <a:t>errors</a:t>
              </a:r>
            </a:p>
          </p:txBody>
        </p:sp>
        <p:sp>
          <p:nvSpPr>
            <p:cNvPr id="279" name="TextBox 278">
              <a:extLst>
                <a:ext uri="{FF2B5EF4-FFF2-40B4-BE49-F238E27FC236}">
                  <a16:creationId xmlns:a16="http://schemas.microsoft.com/office/drawing/2014/main" id="{FB938CE4-62C9-AB7C-BF2B-EEA35B01F3B3}"/>
                </a:ext>
              </a:extLst>
            </p:cNvPr>
            <p:cNvSpPr txBox="1"/>
            <p:nvPr/>
          </p:nvSpPr>
          <p:spPr>
            <a:xfrm>
              <a:off x="7986219" y="2317859"/>
              <a:ext cx="1114088" cy="369332"/>
            </a:xfrm>
            <a:prstGeom prst="rect">
              <a:avLst/>
            </a:prstGeom>
            <a:noFill/>
            <a:ln>
              <a:noFill/>
            </a:ln>
          </p:spPr>
          <p:txBody>
            <a:bodyPr wrap="none" lIns="0" tIns="0" rIns="0" bIns="0" anchor="t">
              <a:spAutoFit/>
            </a:bodyPr>
            <a:lstStyle/>
            <a:p>
              <a:pPr algn="l"/>
              <a:r>
                <a:rPr sz="1200" b="1">
                  <a:solidFill>
                    <a:srgbClr val="1A1A1A"/>
                  </a:solidFill>
                  <a:latin typeface="Arial"/>
                </a:rPr>
                <a:t>Integration and
Scalability</a:t>
              </a:r>
            </a:p>
          </p:txBody>
        </p:sp>
        <p:sp>
          <p:nvSpPr>
            <p:cNvPr id="280" name="TextBox 279">
              <a:extLst>
                <a:ext uri="{FF2B5EF4-FFF2-40B4-BE49-F238E27FC236}">
                  <a16:creationId xmlns:a16="http://schemas.microsoft.com/office/drawing/2014/main" id="{DDDFFE10-FFFF-2B4C-D365-FD6BBA2F2389}"/>
                </a:ext>
              </a:extLst>
            </p:cNvPr>
            <p:cNvSpPr txBox="1"/>
            <p:nvPr/>
          </p:nvSpPr>
          <p:spPr>
            <a:xfrm>
              <a:off x="7986219" y="4122018"/>
              <a:ext cx="960198" cy="369332"/>
            </a:xfrm>
            <a:prstGeom prst="rect">
              <a:avLst/>
            </a:prstGeom>
            <a:noFill/>
            <a:ln>
              <a:noFill/>
            </a:ln>
          </p:spPr>
          <p:txBody>
            <a:bodyPr wrap="none" lIns="0" tIns="0" rIns="0" bIns="0" anchor="t">
              <a:spAutoFit/>
            </a:bodyPr>
            <a:lstStyle/>
            <a:p>
              <a:pPr algn="l"/>
              <a:r>
                <a:rPr sz="1200" b="1">
                  <a:solidFill>
                    <a:srgbClr val="1A1A1A"/>
                  </a:solidFill>
                  <a:latin typeface="Arial"/>
                </a:rPr>
                <a:t>Coordination
Complexity</a:t>
              </a:r>
            </a:p>
          </p:txBody>
        </p:sp>
        <p:sp>
          <p:nvSpPr>
            <p:cNvPr id="281" name="TextBox 280">
              <a:extLst>
                <a:ext uri="{FF2B5EF4-FFF2-40B4-BE49-F238E27FC236}">
                  <a16:creationId xmlns:a16="http://schemas.microsoft.com/office/drawing/2014/main" id="{E7FB53A9-2DBC-B047-8BB7-5D1ADC8936C2}"/>
                </a:ext>
              </a:extLst>
            </p:cNvPr>
            <p:cNvSpPr txBox="1"/>
            <p:nvPr/>
          </p:nvSpPr>
          <p:spPr>
            <a:xfrm>
              <a:off x="7986219" y="4503018"/>
              <a:ext cx="2787623" cy="323165"/>
            </a:xfrm>
            <a:prstGeom prst="rect">
              <a:avLst/>
            </a:prstGeom>
            <a:noFill/>
            <a:ln>
              <a:noFill/>
            </a:ln>
          </p:spPr>
          <p:txBody>
            <a:bodyPr wrap="none" lIns="0" tIns="0" rIns="0" bIns="0" anchor="t">
              <a:spAutoFit/>
            </a:bodyPr>
            <a:lstStyle/>
            <a:p>
              <a:pPr algn="l"/>
              <a:r>
                <a:rPr sz="1050" b="0">
                  <a:solidFill>
                    <a:srgbClr val="1A1A1A"/>
                  </a:solidFill>
                  <a:latin typeface="Arial"/>
                </a:rPr>
                <a:t>Collaboration bottlenecks</a:t>
              </a:r>
              <a:r>
                <a:rPr lang="en-US" sz="1050" b="0">
                  <a:solidFill>
                    <a:srgbClr val="1A1A1A"/>
                  </a:solidFill>
                  <a:latin typeface="Arial"/>
                </a:rPr>
                <a:t> </a:t>
              </a:r>
              <a:r>
                <a:rPr sz="1050" b="0">
                  <a:solidFill>
                    <a:srgbClr val="1A1A1A"/>
                  </a:solidFill>
                  <a:latin typeface="Arial"/>
                </a:rPr>
                <a:t>become increasingly
difficult</a:t>
              </a:r>
            </a:p>
          </p:txBody>
        </p:sp>
        <p:sp>
          <p:nvSpPr>
            <p:cNvPr id="282" name="TextBox 281">
              <a:extLst>
                <a:ext uri="{FF2B5EF4-FFF2-40B4-BE49-F238E27FC236}">
                  <a16:creationId xmlns:a16="http://schemas.microsoft.com/office/drawing/2014/main" id="{93E58B7F-E590-9727-4E48-2AC77B409D13}"/>
                </a:ext>
              </a:extLst>
            </p:cNvPr>
            <p:cNvSpPr txBox="1"/>
            <p:nvPr/>
          </p:nvSpPr>
          <p:spPr>
            <a:xfrm>
              <a:off x="2208170" y="2230153"/>
              <a:ext cx="2135731" cy="161583"/>
            </a:xfrm>
            <a:prstGeom prst="rect">
              <a:avLst/>
            </a:prstGeom>
            <a:noFill/>
            <a:ln>
              <a:noFill/>
            </a:ln>
          </p:spPr>
          <p:txBody>
            <a:bodyPr wrap="square" lIns="0" tIns="0" rIns="0" bIns="0" anchor="t">
              <a:spAutoFit/>
            </a:bodyPr>
            <a:lstStyle/>
            <a:p>
              <a:pPr algn="r"/>
              <a:r>
                <a:rPr sz="1050" b="0">
                  <a:solidFill>
                    <a:srgbClr val="1A1A1A"/>
                  </a:solidFill>
                  <a:latin typeface="Arial"/>
                </a:rPr>
                <a:t>Rigid templates limit</a:t>
              </a:r>
              <a:r>
                <a:rPr lang="en-US" sz="1050" b="0">
                  <a:solidFill>
                    <a:srgbClr val="1A1A1A"/>
                  </a:solidFill>
                  <a:latin typeface="Arial"/>
                </a:rPr>
                <a:t> </a:t>
              </a:r>
              <a:r>
                <a:rPr sz="1050" b="0">
                  <a:solidFill>
                    <a:srgbClr val="1A1A1A"/>
                  </a:solidFill>
                  <a:latin typeface="Arial"/>
                </a:rPr>
                <a:t>adaptation</a:t>
              </a:r>
            </a:p>
          </p:txBody>
        </p:sp>
        <p:sp>
          <p:nvSpPr>
            <p:cNvPr id="283" name="TextBox 282">
              <a:extLst>
                <a:ext uri="{FF2B5EF4-FFF2-40B4-BE49-F238E27FC236}">
                  <a16:creationId xmlns:a16="http://schemas.microsoft.com/office/drawing/2014/main" id="{6105C6EB-9C16-AEA7-B611-DFB5A4BA35F8}"/>
                </a:ext>
              </a:extLst>
            </p:cNvPr>
            <p:cNvSpPr txBox="1"/>
            <p:nvPr/>
          </p:nvSpPr>
          <p:spPr>
            <a:xfrm>
              <a:off x="3063141" y="4853538"/>
              <a:ext cx="1280800" cy="184666"/>
            </a:xfrm>
            <a:prstGeom prst="rect">
              <a:avLst/>
            </a:prstGeom>
            <a:noFill/>
            <a:ln>
              <a:noFill/>
            </a:ln>
          </p:spPr>
          <p:txBody>
            <a:bodyPr wrap="none" lIns="0" tIns="0" rIns="0" bIns="0" anchor="t">
              <a:spAutoFit/>
            </a:bodyPr>
            <a:lstStyle/>
            <a:p>
              <a:pPr algn="r"/>
              <a:r>
                <a:rPr sz="1200" b="1">
                  <a:solidFill>
                    <a:srgbClr val="1A1A1A"/>
                  </a:solidFill>
                  <a:latin typeface="Arial"/>
                </a:rPr>
                <a:t>Non-Determinism</a:t>
              </a:r>
            </a:p>
          </p:txBody>
        </p:sp>
        <p:sp>
          <p:nvSpPr>
            <p:cNvPr id="284" name="TextBox 283">
              <a:extLst>
                <a:ext uri="{FF2B5EF4-FFF2-40B4-BE49-F238E27FC236}">
                  <a16:creationId xmlns:a16="http://schemas.microsoft.com/office/drawing/2014/main" id="{B146F6EA-37BB-0DB8-9E81-00222142C0F9}"/>
                </a:ext>
              </a:extLst>
            </p:cNvPr>
            <p:cNvSpPr txBox="1"/>
            <p:nvPr/>
          </p:nvSpPr>
          <p:spPr>
            <a:xfrm>
              <a:off x="1918575" y="5069947"/>
              <a:ext cx="2425344" cy="161583"/>
            </a:xfrm>
            <a:prstGeom prst="rect">
              <a:avLst/>
            </a:prstGeom>
            <a:noFill/>
            <a:ln>
              <a:noFill/>
            </a:ln>
          </p:spPr>
          <p:txBody>
            <a:bodyPr wrap="none" lIns="0" tIns="0" rIns="0" bIns="0" anchor="t">
              <a:spAutoFit/>
            </a:bodyPr>
            <a:lstStyle/>
            <a:p>
              <a:pPr algn="r"/>
              <a:r>
                <a:rPr sz="1050" b="0">
                  <a:solidFill>
                    <a:srgbClr val="1A1A1A"/>
                  </a:solidFill>
                  <a:latin typeface="Arial"/>
                </a:rPr>
                <a:t>Unpredictability causes</a:t>
              </a:r>
              <a:r>
                <a:rPr lang="en-US" sz="1050" b="0">
                  <a:solidFill>
                    <a:srgbClr val="1A1A1A"/>
                  </a:solidFill>
                  <a:latin typeface="Arial"/>
                </a:rPr>
                <a:t> </a:t>
              </a:r>
              <a:r>
                <a:rPr sz="1050" b="0">
                  <a:solidFill>
                    <a:srgbClr val="1A1A1A"/>
                  </a:solidFill>
                  <a:latin typeface="Arial"/>
                </a:rPr>
                <a:t>cascading errors</a:t>
              </a:r>
            </a:p>
          </p:txBody>
        </p:sp>
        <p:sp>
          <p:nvSpPr>
            <p:cNvPr id="285" name="TextBox 284">
              <a:extLst>
                <a:ext uri="{FF2B5EF4-FFF2-40B4-BE49-F238E27FC236}">
                  <a16:creationId xmlns:a16="http://schemas.microsoft.com/office/drawing/2014/main" id="{1ABF94E5-4E20-A8C9-B1F3-EDBD3E92166E}"/>
                </a:ext>
              </a:extLst>
            </p:cNvPr>
            <p:cNvSpPr txBox="1"/>
            <p:nvPr/>
          </p:nvSpPr>
          <p:spPr>
            <a:xfrm>
              <a:off x="3282739" y="1853945"/>
              <a:ext cx="1061189" cy="369332"/>
            </a:xfrm>
            <a:prstGeom prst="rect">
              <a:avLst/>
            </a:prstGeom>
            <a:noFill/>
            <a:ln>
              <a:noFill/>
            </a:ln>
          </p:spPr>
          <p:txBody>
            <a:bodyPr wrap="none" lIns="0" tIns="0" rIns="0" bIns="0" anchor="t">
              <a:spAutoFit/>
            </a:bodyPr>
            <a:lstStyle/>
            <a:p>
              <a:pPr algn="r"/>
              <a:r>
                <a:rPr sz="1200" b="1">
                  <a:solidFill>
                    <a:srgbClr val="1A1A1A"/>
                  </a:solidFill>
                  <a:latin typeface="Arial"/>
                </a:rPr>
                <a:t>Limited
Customization</a:t>
              </a:r>
            </a:p>
          </p:txBody>
        </p:sp>
        <p:sp>
          <p:nvSpPr>
            <p:cNvPr id="286" name="TextBox 285">
              <a:extLst>
                <a:ext uri="{FF2B5EF4-FFF2-40B4-BE49-F238E27FC236}">
                  <a16:creationId xmlns:a16="http://schemas.microsoft.com/office/drawing/2014/main" id="{8E81EB8A-4EEC-4AD1-60C8-D1D0CF20A447}"/>
                </a:ext>
              </a:extLst>
            </p:cNvPr>
            <p:cNvSpPr txBox="1"/>
            <p:nvPr/>
          </p:nvSpPr>
          <p:spPr>
            <a:xfrm>
              <a:off x="7986219" y="1631442"/>
              <a:ext cx="1986121" cy="161583"/>
            </a:xfrm>
            <a:prstGeom prst="rect">
              <a:avLst/>
            </a:prstGeom>
            <a:noFill/>
            <a:ln>
              <a:noFill/>
            </a:ln>
          </p:spPr>
          <p:txBody>
            <a:bodyPr wrap="none" lIns="0" tIns="0" rIns="0" bIns="0" anchor="t">
              <a:spAutoFit/>
            </a:bodyPr>
            <a:lstStyle/>
            <a:p>
              <a:pPr algn="l"/>
              <a:r>
                <a:rPr sz="1050" b="0">
                  <a:solidFill>
                    <a:srgbClr val="1A1A1A"/>
                  </a:solidFill>
                  <a:latin typeface="Arial"/>
                </a:rPr>
                <a:t>Autonomy introduces trust</a:t>
              </a:r>
              <a:r>
                <a:rPr lang="en-US" sz="1050" b="0">
                  <a:solidFill>
                    <a:srgbClr val="1A1A1A"/>
                  </a:solidFill>
                  <a:latin typeface="Arial"/>
                </a:rPr>
                <a:t> </a:t>
              </a:r>
              <a:r>
                <a:rPr sz="1050" b="0">
                  <a:solidFill>
                    <a:srgbClr val="1A1A1A"/>
                  </a:solidFill>
                  <a:latin typeface="Arial"/>
                </a:rPr>
                <a:t>issues</a:t>
              </a:r>
            </a:p>
          </p:txBody>
        </p:sp>
        <p:sp>
          <p:nvSpPr>
            <p:cNvPr id="287" name="TextBox 286">
              <a:extLst>
                <a:ext uri="{FF2B5EF4-FFF2-40B4-BE49-F238E27FC236}">
                  <a16:creationId xmlns:a16="http://schemas.microsoft.com/office/drawing/2014/main" id="{F0DF78CD-B2FB-F26C-DD4F-B166EFE79161}"/>
                </a:ext>
              </a:extLst>
            </p:cNvPr>
            <p:cNvSpPr txBox="1"/>
            <p:nvPr/>
          </p:nvSpPr>
          <p:spPr>
            <a:xfrm>
              <a:off x="7986219" y="1415034"/>
              <a:ext cx="956993" cy="184666"/>
            </a:xfrm>
            <a:prstGeom prst="rect">
              <a:avLst/>
            </a:prstGeom>
            <a:noFill/>
            <a:ln>
              <a:noFill/>
            </a:ln>
          </p:spPr>
          <p:txBody>
            <a:bodyPr wrap="none" lIns="0" tIns="0" rIns="0" bIns="0" anchor="t">
              <a:spAutoFit/>
            </a:bodyPr>
            <a:lstStyle/>
            <a:p>
              <a:pPr algn="l"/>
              <a:r>
                <a:rPr sz="1200" b="1">
                  <a:solidFill>
                    <a:srgbClr val="1A1A1A"/>
                  </a:solidFill>
                  <a:latin typeface="Arial"/>
                </a:rPr>
                <a:t>Ethical Risks</a:t>
              </a:r>
            </a:p>
          </p:txBody>
        </p:sp>
        <p:sp>
          <p:nvSpPr>
            <p:cNvPr id="288" name="Rounded Rectangle 140">
              <a:extLst>
                <a:ext uri="{FF2B5EF4-FFF2-40B4-BE49-F238E27FC236}">
                  <a16:creationId xmlns:a16="http://schemas.microsoft.com/office/drawing/2014/main" id="{B84B52AE-3C12-A9FB-2A73-F82E64A4726A}"/>
                </a:ext>
              </a:extLst>
            </p:cNvPr>
            <p:cNvSpPr/>
            <p:nvPr/>
          </p:nvSpPr>
          <p:spPr>
            <a:xfrm>
              <a:off x="4652829" y="2993753"/>
              <a:ext cx="245364" cy="245395"/>
            </a:xfrm>
            <a:custGeom>
              <a:avLst/>
              <a:gdLst/>
              <a:ahLst/>
              <a:cxnLst/>
              <a:rect l="0" t="0" r="0" b="0"/>
              <a:pathLst>
                <a:path w="210961" h="210988">
                  <a:moveTo>
                    <a:pt x="137583" y="137620"/>
                  </a:moveTo>
                  <a:lnTo>
                    <a:pt x="201788" y="137620"/>
                  </a:lnTo>
                  <a:cubicBezTo>
                    <a:pt x="201788" y="137620"/>
                    <a:pt x="210961" y="137620"/>
                    <a:pt x="210961" y="146792"/>
                  </a:cubicBezTo>
                  <a:lnTo>
                    <a:pt x="210961" y="201816"/>
                  </a:lnTo>
                  <a:cubicBezTo>
                    <a:pt x="210961" y="201816"/>
                    <a:pt x="210961" y="210988"/>
                    <a:pt x="201788" y="210988"/>
                  </a:cubicBezTo>
                  <a:lnTo>
                    <a:pt x="137583" y="210988"/>
                  </a:lnTo>
                  <a:cubicBezTo>
                    <a:pt x="137583" y="210988"/>
                    <a:pt x="128411" y="210988"/>
                    <a:pt x="128411" y="201816"/>
                  </a:cubicBezTo>
                  <a:lnTo>
                    <a:pt x="128411" y="146792"/>
                  </a:lnTo>
                  <a:cubicBezTo>
                    <a:pt x="128411" y="146792"/>
                    <a:pt x="128411" y="137620"/>
                    <a:pt x="137583" y="137620"/>
                  </a:cubicBezTo>
                  <a:moveTo>
                    <a:pt x="158220" y="174886"/>
                  </a:moveTo>
                  <a:cubicBezTo>
                    <a:pt x="158220" y="181218"/>
                    <a:pt x="163354" y="186352"/>
                    <a:pt x="169686" y="186352"/>
                  </a:cubicBezTo>
                  <a:cubicBezTo>
                    <a:pt x="176018" y="186352"/>
                    <a:pt x="181151" y="181218"/>
                    <a:pt x="181151" y="174886"/>
                  </a:cubicBezTo>
                  <a:cubicBezTo>
                    <a:pt x="181151" y="168554"/>
                    <a:pt x="176018" y="163421"/>
                    <a:pt x="169686" y="163421"/>
                  </a:cubicBezTo>
                  <a:cubicBezTo>
                    <a:pt x="163354" y="163421"/>
                    <a:pt x="158220" y="168554"/>
                    <a:pt x="158220" y="174886"/>
                  </a:cubicBezTo>
                  <a:moveTo>
                    <a:pt x="192616" y="123825"/>
                  </a:moveTo>
                  <a:cubicBezTo>
                    <a:pt x="192616" y="111160"/>
                    <a:pt x="182350" y="100894"/>
                    <a:pt x="169686" y="100894"/>
                  </a:cubicBezTo>
                  <a:cubicBezTo>
                    <a:pt x="157021" y="100894"/>
                    <a:pt x="146755" y="111160"/>
                    <a:pt x="146755" y="123825"/>
                  </a:cubicBezTo>
                  <a:lnTo>
                    <a:pt x="146755" y="137583"/>
                  </a:lnTo>
                  <a:lnTo>
                    <a:pt x="192616" y="137583"/>
                  </a:lnTo>
                  <a:close/>
                  <a:moveTo>
                    <a:pt x="91722" y="210961"/>
                  </a:moveTo>
                  <a:lnTo>
                    <a:pt x="9172" y="210961"/>
                  </a:lnTo>
                  <a:cubicBezTo>
                    <a:pt x="4106" y="210961"/>
                    <a:pt x="0" y="206854"/>
                    <a:pt x="0" y="201788"/>
                  </a:cubicBezTo>
                  <a:lnTo>
                    <a:pt x="0" y="9172"/>
                  </a:lnTo>
                  <a:cubicBezTo>
                    <a:pt x="0" y="4106"/>
                    <a:pt x="4106" y="0"/>
                    <a:pt x="9172" y="0"/>
                  </a:cubicBezTo>
                  <a:lnTo>
                    <a:pt x="131098" y="0"/>
                  </a:lnTo>
                  <a:cubicBezTo>
                    <a:pt x="133540" y="17"/>
                    <a:pt x="135874" y="1007"/>
                    <a:pt x="137583" y="2751"/>
                  </a:cubicBezTo>
                  <a:lnTo>
                    <a:pt x="171584" y="36688"/>
                  </a:lnTo>
                  <a:cubicBezTo>
                    <a:pt x="173304" y="38408"/>
                    <a:pt x="174271" y="40741"/>
                    <a:pt x="174272" y="43173"/>
                  </a:cubicBezTo>
                  <a:lnTo>
                    <a:pt x="174272" y="73377"/>
                  </a:lnTo>
                  <a:moveTo>
                    <a:pt x="27516" y="45897"/>
                  </a:moveTo>
                  <a:lnTo>
                    <a:pt x="27516" y="82586"/>
                  </a:lnTo>
                  <a:moveTo>
                    <a:pt x="110066" y="45897"/>
                  </a:moveTo>
                  <a:lnTo>
                    <a:pt x="110066" y="82586"/>
                  </a:lnTo>
                  <a:moveTo>
                    <a:pt x="82550" y="110103"/>
                  </a:moveTo>
                  <a:lnTo>
                    <a:pt x="82550" y="146792"/>
                  </a:lnTo>
                  <a:moveTo>
                    <a:pt x="137583" y="45897"/>
                  </a:moveTo>
                  <a:lnTo>
                    <a:pt x="137583" y="82586"/>
                  </a:lnTo>
                  <a:moveTo>
                    <a:pt x="68791" y="45861"/>
                  </a:moveTo>
                  <a:cubicBezTo>
                    <a:pt x="61193" y="45861"/>
                    <a:pt x="55033" y="52020"/>
                    <a:pt x="55033" y="59619"/>
                  </a:cubicBezTo>
                  <a:lnTo>
                    <a:pt x="55033" y="68791"/>
                  </a:lnTo>
                  <a:cubicBezTo>
                    <a:pt x="55033" y="76390"/>
                    <a:pt x="61193" y="82550"/>
                    <a:pt x="68791" y="82550"/>
                  </a:cubicBezTo>
                  <a:cubicBezTo>
                    <a:pt x="76390" y="82550"/>
                    <a:pt x="82550" y="76390"/>
                    <a:pt x="82550" y="68791"/>
                  </a:cubicBezTo>
                  <a:lnTo>
                    <a:pt x="82550" y="59619"/>
                  </a:lnTo>
                  <a:cubicBezTo>
                    <a:pt x="82550" y="52020"/>
                    <a:pt x="76390" y="45861"/>
                    <a:pt x="68791" y="45861"/>
                  </a:cubicBezTo>
                  <a:close/>
                  <a:moveTo>
                    <a:pt x="41275" y="110066"/>
                  </a:moveTo>
                  <a:cubicBezTo>
                    <a:pt x="33676" y="110066"/>
                    <a:pt x="27516" y="116226"/>
                    <a:pt x="27516" y="123825"/>
                  </a:cubicBezTo>
                  <a:lnTo>
                    <a:pt x="27516" y="132997"/>
                  </a:lnTo>
                  <a:cubicBezTo>
                    <a:pt x="27516" y="140595"/>
                    <a:pt x="33676" y="146755"/>
                    <a:pt x="41275" y="146755"/>
                  </a:cubicBezTo>
                  <a:cubicBezTo>
                    <a:pt x="48873" y="146755"/>
                    <a:pt x="55033" y="140595"/>
                    <a:pt x="55033" y="132997"/>
                  </a:cubicBezTo>
                  <a:lnTo>
                    <a:pt x="55033" y="123825"/>
                  </a:lnTo>
                  <a:cubicBezTo>
                    <a:pt x="55033" y="116226"/>
                    <a:pt x="48873" y="110066"/>
                    <a:pt x="41275" y="110066"/>
                  </a:cubicBezTo>
                  <a:close/>
                </a:path>
              </a:pathLst>
            </a:custGeom>
            <a:noFill/>
            <a:ln w="3930">
              <a:solidFill>
                <a:srgbClr val="FFFFFF"/>
              </a:solidFill>
            </a:ln>
          </p:spPr>
          <p:txBody>
            <a:bodyPr rtlCol="0" anchor="ctr"/>
            <a:lstStyle/>
            <a:p>
              <a:pPr algn="ctr"/>
              <a:endParaRPr sz="3600"/>
            </a:p>
          </p:txBody>
        </p:sp>
        <p:sp>
          <p:nvSpPr>
            <p:cNvPr id="289" name="Rounded Rectangle 141">
              <a:extLst>
                <a:ext uri="{FF2B5EF4-FFF2-40B4-BE49-F238E27FC236}">
                  <a16:creationId xmlns:a16="http://schemas.microsoft.com/office/drawing/2014/main" id="{0B18B969-9707-0F70-491E-04DBFF3DD461}"/>
                </a:ext>
              </a:extLst>
            </p:cNvPr>
            <p:cNvSpPr/>
            <p:nvPr/>
          </p:nvSpPr>
          <p:spPr>
            <a:xfrm>
              <a:off x="7433791" y="3380262"/>
              <a:ext cx="242334" cy="236658"/>
            </a:xfrm>
            <a:custGeom>
              <a:avLst/>
              <a:gdLst/>
              <a:ahLst/>
              <a:cxnLst/>
              <a:rect l="0" t="0" r="0" b="0"/>
              <a:pathLst>
                <a:path w="208356" h="203476">
                  <a:moveTo>
                    <a:pt x="208356" y="162201"/>
                  </a:moveTo>
                  <a:cubicBezTo>
                    <a:pt x="208356" y="162201"/>
                    <a:pt x="187718" y="203476"/>
                    <a:pt x="146443" y="203476"/>
                  </a:cubicBezTo>
                  <a:cubicBezTo>
                    <a:pt x="105168" y="203476"/>
                    <a:pt x="84531" y="162201"/>
                    <a:pt x="84531" y="162201"/>
                  </a:cubicBezTo>
                  <a:cubicBezTo>
                    <a:pt x="84531" y="162201"/>
                    <a:pt x="105168" y="120926"/>
                    <a:pt x="146443" y="120926"/>
                  </a:cubicBezTo>
                  <a:cubicBezTo>
                    <a:pt x="187718" y="120926"/>
                    <a:pt x="208356" y="162201"/>
                    <a:pt x="208356" y="162201"/>
                  </a:cubicBezTo>
                  <a:close/>
                  <a:moveTo>
                    <a:pt x="125806" y="162201"/>
                  </a:moveTo>
                  <a:cubicBezTo>
                    <a:pt x="125806" y="173599"/>
                    <a:pt x="135045" y="182839"/>
                    <a:pt x="146443" y="182839"/>
                  </a:cubicBezTo>
                  <a:cubicBezTo>
                    <a:pt x="157841" y="182839"/>
                    <a:pt x="167081" y="173599"/>
                    <a:pt x="167081" y="162201"/>
                  </a:cubicBezTo>
                  <a:cubicBezTo>
                    <a:pt x="167081" y="150803"/>
                    <a:pt x="157841" y="141564"/>
                    <a:pt x="146443" y="141564"/>
                  </a:cubicBezTo>
                  <a:cubicBezTo>
                    <a:pt x="135045" y="141564"/>
                    <a:pt x="125806" y="150803"/>
                    <a:pt x="125806" y="162201"/>
                  </a:cubicBezTo>
                  <a:moveTo>
                    <a:pt x="0" y="4586"/>
                  </a:moveTo>
                  <a:lnTo>
                    <a:pt x="62031" y="39018"/>
                  </a:lnTo>
                  <a:cubicBezTo>
                    <a:pt x="64709" y="40023"/>
                    <a:pt x="66486" y="42579"/>
                    <a:pt x="66498" y="45439"/>
                  </a:cubicBezTo>
                  <a:lnTo>
                    <a:pt x="66498" y="195716"/>
                  </a:lnTo>
                  <a:cubicBezTo>
                    <a:pt x="66503" y="197992"/>
                    <a:pt x="65382" y="200122"/>
                    <a:pt x="63504" y="201407"/>
                  </a:cubicBezTo>
                  <a:cubicBezTo>
                    <a:pt x="61626" y="202692"/>
                    <a:pt x="59234" y="202965"/>
                    <a:pt x="57115" y="202137"/>
                  </a:cubicBezTo>
                  <a:lnTo>
                    <a:pt x="2513" y="169438"/>
                  </a:lnTo>
                  <a:cubicBezTo>
                    <a:pt x="980" y="168661"/>
                    <a:pt x="10" y="167093"/>
                    <a:pt x="0" y="165375"/>
                  </a:cubicBezTo>
                  <a:lnTo>
                    <a:pt x="0" y="4586"/>
                  </a:lnTo>
                  <a:cubicBezTo>
                    <a:pt x="0" y="2053"/>
                    <a:pt x="2053" y="0"/>
                    <a:pt x="4586" y="0"/>
                  </a:cubicBezTo>
                  <a:lnTo>
                    <a:pt x="105480" y="0"/>
                  </a:lnTo>
                  <a:cubicBezTo>
                    <a:pt x="113079" y="0"/>
                    <a:pt x="119238" y="6159"/>
                    <a:pt x="119238" y="13758"/>
                  </a:cubicBezTo>
                  <a:lnTo>
                    <a:pt x="119238" y="94015"/>
                  </a:lnTo>
                  <a:moveTo>
                    <a:pt x="45952" y="100279"/>
                  </a:moveTo>
                  <a:lnTo>
                    <a:pt x="45952" y="118624"/>
                  </a:lnTo>
                </a:path>
              </a:pathLst>
            </a:custGeom>
            <a:noFill/>
            <a:ln w="3930">
              <a:solidFill>
                <a:srgbClr val="FFFFFF"/>
              </a:solidFill>
            </a:ln>
          </p:spPr>
          <p:txBody>
            <a:bodyPr rtlCol="0" anchor="ctr"/>
            <a:lstStyle/>
            <a:p>
              <a:pPr algn="ctr"/>
              <a:endParaRPr sz="3600"/>
            </a:p>
          </p:txBody>
        </p:sp>
        <p:sp>
          <p:nvSpPr>
            <p:cNvPr id="290" name="Rounded Rectangle 142">
              <a:extLst>
                <a:ext uri="{FF2B5EF4-FFF2-40B4-BE49-F238E27FC236}">
                  <a16:creationId xmlns:a16="http://schemas.microsoft.com/office/drawing/2014/main" id="{EBF97656-B7CA-8F44-D438-5CFD1F84EA34}"/>
                </a:ext>
              </a:extLst>
            </p:cNvPr>
            <p:cNvSpPr/>
            <p:nvPr/>
          </p:nvSpPr>
          <p:spPr>
            <a:xfrm>
              <a:off x="7426942" y="2476355"/>
              <a:ext cx="248031" cy="248031"/>
            </a:xfrm>
            <a:custGeom>
              <a:avLst/>
              <a:gdLst/>
              <a:ahLst/>
              <a:cxnLst/>
              <a:rect l="0" t="0" r="0" b="0"/>
              <a:pathLst>
                <a:path w="213254" h="213254">
                  <a:moveTo>
                    <a:pt x="139876" y="130704"/>
                  </a:moveTo>
                  <a:cubicBezTo>
                    <a:pt x="139876" y="136207"/>
                    <a:pt x="136207" y="139876"/>
                    <a:pt x="130704" y="139876"/>
                  </a:cubicBezTo>
                  <a:lnTo>
                    <a:pt x="89429" y="139876"/>
                  </a:lnTo>
                  <a:cubicBezTo>
                    <a:pt x="83925" y="139876"/>
                    <a:pt x="80256" y="136207"/>
                    <a:pt x="80256" y="130704"/>
                  </a:cubicBezTo>
                  <a:lnTo>
                    <a:pt x="80256" y="89429"/>
                  </a:lnTo>
                  <a:cubicBezTo>
                    <a:pt x="80256" y="83925"/>
                    <a:pt x="83925" y="80256"/>
                    <a:pt x="89429" y="80256"/>
                  </a:cubicBezTo>
                  <a:lnTo>
                    <a:pt x="130704" y="80256"/>
                  </a:lnTo>
                  <a:cubicBezTo>
                    <a:pt x="136207" y="80256"/>
                    <a:pt x="139876" y="83925"/>
                    <a:pt x="139876" y="89429"/>
                  </a:cubicBezTo>
                  <a:close/>
                  <a:moveTo>
                    <a:pt x="0" y="0"/>
                  </a:moveTo>
                  <a:moveTo>
                    <a:pt x="34395" y="92180"/>
                  </a:moveTo>
                  <a:lnTo>
                    <a:pt x="52740" y="110525"/>
                  </a:lnTo>
                  <a:lnTo>
                    <a:pt x="34395" y="128869"/>
                  </a:lnTo>
                  <a:moveTo>
                    <a:pt x="52740" y="110525"/>
                  </a:moveTo>
                  <a:lnTo>
                    <a:pt x="6879" y="110525"/>
                  </a:lnTo>
                  <a:moveTo>
                    <a:pt x="0" y="0"/>
                  </a:moveTo>
                  <a:moveTo>
                    <a:pt x="185737" y="92180"/>
                  </a:moveTo>
                  <a:lnTo>
                    <a:pt x="167393" y="110525"/>
                  </a:lnTo>
                  <a:lnTo>
                    <a:pt x="185737" y="128869"/>
                  </a:lnTo>
                  <a:moveTo>
                    <a:pt x="167393" y="110525"/>
                  </a:moveTo>
                  <a:lnTo>
                    <a:pt x="213254" y="110525"/>
                  </a:lnTo>
                  <a:moveTo>
                    <a:pt x="0" y="0"/>
                  </a:moveTo>
                  <a:moveTo>
                    <a:pt x="92180" y="25223"/>
                  </a:moveTo>
                  <a:lnTo>
                    <a:pt x="110525" y="6879"/>
                  </a:lnTo>
                  <a:lnTo>
                    <a:pt x="128869" y="25223"/>
                  </a:lnTo>
                  <a:moveTo>
                    <a:pt x="110525" y="6879"/>
                  </a:moveTo>
                  <a:lnTo>
                    <a:pt x="110525" y="52740"/>
                  </a:lnTo>
                  <a:moveTo>
                    <a:pt x="0" y="0"/>
                  </a:moveTo>
                  <a:moveTo>
                    <a:pt x="92180" y="194909"/>
                  </a:moveTo>
                  <a:lnTo>
                    <a:pt x="110525" y="213254"/>
                  </a:lnTo>
                  <a:lnTo>
                    <a:pt x="128869" y="194909"/>
                  </a:lnTo>
                  <a:moveTo>
                    <a:pt x="110525" y="213254"/>
                  </a:moveTo>
                  <a:lnTo>
                    <a:pt x="110525" y="167393"/>
                  </a:lnTo>
                </a:path>
              </a:pathLst>
            </a:custGeom>
            <a:noFill/>
            <a:ln w="3930">
              <a:solidFill>
                <a:srgbClr val="FFFFFF"/>
              </a:solidFill>
            </a:ln>
          </p:spPr>
          <p:txBody>
            <a:bodyPr rtlCol="0" anchor="ctr"/>
            <a:lstStyle/>
            <a:p>
              <a:pPr algn="ctr"/>
              <a:endParaRPr sz="3600"/>
            </a:p>
          </p:txBody>
        </p:sp>
        <p:sp>
          <p:nvSpPr>
            <p:cNvPr id="291" name="Rounded Rectangle 143">
              <a:extLst>
                <a:ext uri="{FF2B5EF4-FFF2-40B4-BE49-F238E27FC236}">
                  <a16:creationId xmlns:a16="http://schemas.microsoft.com/office/drawing/2014/main" id="{3D4792FE-2B3B-896E-7E23-A9EE1D316254}"/>
                </a:ext>
              </a:extLst>
            </p:cNvPr>
            <p:cNvSpPr/>
            <p:nvPr/>
          </p:nvSpPr>
          <p:spPr>
            <a:xfrm>
              <a:off x="4652498" y="3924555"/>
              <a:ext cx="245364" cy="245380"/>
            </a:xfrm>
            <a:custGeom>
              <a:avLst/>
              <a:gdLst/>
              <a:ahLst/>
              <a:cxnLst/>
              <a:rect l="0" t="0" r="0" b="0"/>
              <a:pathLst>
                <a:path w="210961" h="210975">
                  <a:moveTo>
                    <a:pt x="82550" y="210975"/>
                  </a:moveTo>
                  <a:lnTo>
                    <a:pt x="9172" y="210975"/>
                  </a:lnTo>
                  <a:cubicBezTo>
                    <a:pt x="4106" y="210975"/>
                    <a:pt x="0" y="206868"/>
                    <a:pt x="0" y="201802"/>
                  </a:cubicBezTo>
                  <a:lnTo>
                    <a:pt x="0" y="9186"/>
                  </a:lnTo>
                  <a:cubicBezTo>
                    <a:pt x="0" y="4120"/>
                    <a:pt x="4106" y="14"/>
                    <a:pt x="9172" y="14"/>
                  </a:cubicBezTo>
                  <a:lnTo>
                    <a:pt x="131071" y="14"/>
                  </a:lnTo>
                  <a:cubicBezTo>
                    <a:pt x="133509" y="0"/>
                    <a:pt x="135852" y="957"/>
                    <a:pt x="137583" y="2674"/>
                  </a:cubicBezTo>
                  <a:lnTo>
                    <a:pt x="171612" y="36702"/>
                  </a:lnTo>
                  <a:cubicBezTo>
                    <a:pt x="173329" y="38433"/>
                    <a:pt x="174286" y="40777"/>
                    <a:pt x="174272" y="43215"/>
                  </a:cubicBezTo>
                  <a:lnTo>
                    <a:pt x="174272" y="73391"/>
                  </a:lnTo>
                  <a:moveTo>
                    <a:pt x="36688" y="123013"/>
                  </a:moveTo>
                  <a:lnTo>
                    <a:pt x="64205" y="95955"/>
                  </a:lnTo>
                  <a:cubicBezTo>
                    <a:pt x="66848" y="93230"/>
                    <a:pt x="71069" y="92804"/>
                    <a:pt x="74203" y="94946"/>
                  </a:cubicBezTo>
                  <a:lnTo>
                    <a:pt x="87044" y="103476"/>
                  </a:lnTo>
                  <a:cubicBezTo>
                    <a:pt x="90278" y="105599"/>
                    <a:pt x="94569" y="105097"/>
                    <a:pt x="97225" y="102284"/>
                  </a:cubicBezTo>
                  <a:lnTo>
                    <a:pt x="122265" y="75501"/>
                  </a:lnTo>
                  <a:moveTo>
                    <a:pt x="36688" y="55047"/>
                  </a:moveTo>
                  <a:lnTo>
                    <a:pt x="36688" y="146769"/>
                  </a:lnTo>
                  <a:lnTo>
                    <a:pt x="73377" y="146769"/>
                  </a:lnTo>
                  <a:moveTo>
                    <a:pt x="210961" y="155941"/>
                  </a:moveTo>
                  <a:cubicBezTo>
                    <a:pt x="210961" y="186335"/>
                    <a:pt x="186321" y="210975"/>
                    <a:pt x="155927" y="210975"/>
                  </a:cubicBezTo>
                  <a:cubicBezTo>
                    <a:pt x="125533" y="210975"/>
                    <a:pt x="100894" y="186335"/>
                    <a:pt x="100894" y="155941"/>
                  </a:cubicBezTo>
                  <a:cubicBezTo>
                    <a:pt x="100894" y="125547"/>
                    <a:pt x="125533" y="100908"/>
                    <a:pt x="155927" y="100908"/>
                  </a:cubicBezTo>
                  <a:cubicBezTo>
                    <a:pt x="186321" y="100908"/>
                    <a:pt x="210961" y="125547"/>
                    <a:pt x="210961" y="155941"/>
                  </a:cubicBezTo>
                  <a:close/>
                  <a:moveTo>
                    <a:pt x="136482" y="175386"/>
                  </a:moveTo>
                  <a:lnTo>
                    <a:pt x="175372" y="136496"/>
                  </a:lnTo>
                  <a:moveTo>
                    <a:pt x="136482" y="136496"/>
                  </a:moveTo>
                  <a:lnTo>
                    <a:pt x="175372" y="175386"/>
                  </a:lnTo>
                </a:path>
              </a:pathLst>
            </a:custGeom>
            <a:noFill/>
            <a:ln w="3930">
              <a:solidFill>
                <a:srgbClr val="FFFFFF"/>
              </a:solidFill>
            </a:ln>
          </p:spPr>
          <p:txBody>
            <a:bodyPr rtlCol="0" anchor="ctr"/>
            <a:lstStyle/>
            <a:p>
              <a:pPr algn="ctr"/>
              <a:endParaRPr sz="3600"/>
            </a:p>
          </p:txBody>
        </p:sp>
        <p:sp>
          <p:nvSpPr>
            <p:cNvPr id="292" name="Rounded Rectangle 144">
              <a:extLst>
                <a:ext uri="{FF2B5EF4-FFF2-40B4-BE49-F238E27FC236}">
                  <a16:creationId xmlns:a16="http://schemas.microsoft.com/office/drawing/2014/main" id="{106A1083-2DD7-E10C-B0FE-D23A03AF6E50}"/>
                </a:ext>
              </a:extLst>
            </p:cNvPr>
            <p:cNvSpPr/>
            <p:nvPr/>
          </p:nvSpPr>
          <p:spPr>
            <a:xfrm>
              <a:off x="7437611" y="4359000"/>
              <a:ext cx="234695" cy="245364"/>
            </a:xfrm>
            <a:custGeom>
              <a:avLst/>
              <a:gdLst/>
              <a:ahLst/>
              <a:cxnLst/>
              <a:rect l="0" t="0" r="0" b="0"/>
              <a:pathLst>
                <a:path w="201788" h="210961">
                  <a:moveTo>
                    <a:pt x="19940" y="160202"/>
                  </a:moveTo>
                  <a:lnTo>
                    <a:pt x="0" y="210961"/>
                  </a:lnTo>
                  <a:moveTo>
                    <a:pt x="27516" y="210961"/>
                  </a:moveTo>
                  <a:lnTo>
                    <a:pt x="35707" y="165100"/>
                  </a:lnTo>
                  <a:moveTo>
                    <a:pt x="181848" y="160202"/>
                  </a:moveTo>
                  <a:lnTo>
                    <a:pt x="201788" y="210961"/>
                  </a:lnTo>
                  <a:moveTo>
                    <a:pt x="174272" y="210961"/>
                  </a:moveTo>
                  <a:lnTo>
                    <a:pt x="166081" y="165100"/>
                  </a:lnTo>
                  <a:moveTo>
                    <a:pt x="122284" y="108837"/>
                  </a:moveTo>
                  <a:lnTo>
                    <a:pt x="155377" y="135308"/>
                  </a:lnTo>
                  <a:moveTo>
                    <a:pt x="46411" y="135308"/>
                  </a:moveTo>
                  <a:lnTo>
                    <a:pt x="79495" y="108837"/>
                  </a:lnTo>
                  <a:moveTo>
                    <a:pt x="30369" y="128576"/>
                  </a:moveTo>
                  <a:lnTo>
                    <a:pt x="25957" y="82265"/>
                  </a:lnTo>
                  <a:moveTo>
                    <a:pt x="83448" y="170713"/>
                  </a:moveTo>
                  <a:lnTo>
                    <a:pt x="48676" y="154487"/>
                  </a:lnTo>
                  <a:moveTo>
                    <a:pt x="153102" y="154496"/>
                  </a:moveTo>
                  <a:lnTo>
                    <a:pt x="118340" y="170713"/>
                  </a:lnTo>
                  <a:moveTo>
                    <a:pt x="175803" y="82550"/>
                  </a:moveTo>
                  <a:lnTo>
                    <a:pt x="171419" y="128530"/>
                  </a:lnTo>
                  <a:moveTo>
                    <a:pt x="117853" y="25333"/>
                  </a:moveTo>
                  <a:lnTo>
                    <a:pt x="162412" y="43678"/>
                  </a:lnTo>
                  <a:moveTo>
                    <a:pt x="39367" y="43678"/>
                  </a:moveTo>
                  <a:lnTo>
                    <a:pt x="83944" y="25324"/>
                  </a:lnTo>
                  <a:moveTo>
                    <a:pt x="13758" y="146755"/>
                  </a:moveTo>
                  <a:cubicBezTo>
                    <a:pt x="13758" y="156886"/>
                    <a:pt x="21971" y="165100"/>
                    <a:pt x="32102" y="165100"/>
                  </a:cubicBezTo>
                  <a:cubicBezTo>
                    <a:pt x="42234" y="165100"/>
                    <a:pt x="50447" y="156886"/>
                    <a:pt x="50447" y="146755"/>
                  </a:cubicBezTo>
                  <a:cubicBezTo>
                    <a:pt x="50447" y="136624"/>
                    <a:pt x="42234" y="128411"/>
                    <a:pt x="32102" y="128411"/>
                  </a:cubicBezTo>
                  <a:cubicBezTo>
                    <a:pt x="21971" y="128411"/>
                    <a:pt x="13758" y="136624"/>
                    <a:pt x="13758" y="146755"/>
                  </a:cubicBezTo>
                  <a:close/>
                  <a:moveTo>
                    <a:pt x="82550" y="18344"/>
                  </a:moveTo>
                  <a:cubicBezTo>
                    <a:pt x="82550" y="28475"/>
                    <a:pt x="90763" y="36688"/>
                    <a:pt x="100894" y="36688"/>
                  </a:cubicBezTo>
                  <a:cubicBezTo>
                    <a:pt x="111025" y="36688"/>
                    <a:pt x="119238" y="28475"/>
                    <a:pt x="119238" y="18344"/>
                  </a:cubicBezTo>
                  <a:cubicBezTo>
                    <a:pt x="119238" y="8213"/>
                    <a:pt x="111025" y="0"/>
                    <a:pt x="100894" y="0"/>
                  </a:cubicBezTo>
                  <a:cubicBezTo>
                    <a:pt x="90763" y="0"/>
                    <a:pt x="82550" y="8213"/>
                    <a:pt x="82550" y="18344"/>
                  </a:cubicBezTo>
                  <a:close/>
                  <a:moveTo>
                    <a:pt x="0" y="59619"/>
                  </a:moveTo>
                  <a:cubicBezTo>
                    <a:pt x="0" y="72283"/>
                    <a:pt x="10266" y="82550"/>
                    <a:pt x="22930" y="82550"/>
                  </a:cubicBezTo>
                  <a:cubicBezTo>
                    <a:pt x="35594" y="82550"/>
                    <a:pt x="45861" y="72283"/>
                    <a:pt x="45861" y="59619"/>
                  </a:cubicBezTo>
                  <a:cubicBezTo>
                    <a:pt x="45861" y="46955"/>
                    <a:pt x="35594" y="36688"/>
                    <a:pt x="22930" y="36688"/>
                  </a:cubicBezTo>
                  <a:cubicBezTo>
                    <a:pt x="10266" y="36688"/>
                    <a:pt x="0" y="46955"/>
                    <a:pt x="0" y="59619"/>
                  </a:cubicBezTo>
                  <a:close/>
                  <a:moveTo>
                    <a:pt x="151341" y="146755"/>
                  </a:moveTo>
                  <a:cubicBezTo>
                    <a:pt x="151341" y="156886"/>
                    <a:pt x="159554" y="165100"/>
                    <a:pt x="169686" y="165100"/>
                  </a:cubicBezTo>
                  <a:cubicBezTo>
                    <a:pt x="179817" y="165100"/>
                    <a:pt x="188030" y="156886"/>
                    <a:pt x="188030" y="146755"/>
                  </a:cubicBezTo>
                  <a:cubicBezTo>
                    <a:pt x="188030" y="136624"/>
                    <a:pt x="179817" y="128411"/>
                    <a:pt x="169686" y="128411"/>
                  </a:cubicBezTo>
                  <a:cubicBezTo>
                    <a:pt x="159554" y="128411"/>
                    <a:pt x="151341" y="136624"/>
                    <a:pt x="151341" y="146755"/>
                  </a:cubicBezTo>
                  <a:close/>
                  <a:moveTo>
                    <a:pt x="155927" y="59619"/>
                  </a:moveTo>
                  <a:cubicBezTo>
                    <a:pt x="155927" y="72283"/>
                    <a:pt x="166194" y="82550"/>
                    <a:pt x="178858" y="82550"/>
                  </a:cubicBezTo>
                  <a:cubicBezTo>
                    <a:pt x="191522" y="82550"/>
                    <a:pt x="201788" y="72283"/>
                    <a:pt x="201788" y="59619"/>
                  </a:cubicBezTo>
                  <a:cubicBezTo>
                    <a:pt x="201788" y="46955"/>
                    <a:pt x="191522" y="36688"/>
                    <a:pt x="178858" y="36688"/>
                  </a:cubicBezTo>
                  <a:cubicBezTo>
                    <a:pt x="166194" y="36688"/>
                    <a:pt x="155927" y="46955"/>
                    <a:pt x="155927" y="59619"/>
                  </a:cubicBezTo>
                  <a:close/>
                  <a:moveTo>
                    <a:pt x="75349" y="81504"/>
                  </a:moveTo>
                  <a:lnTo>
                    <a:pt x="32102" y="64205"/>
                  </a:lnTo>
                  <a:moveTo>
                    <a:pt x="169686" y="64205"/>
                  </a:moveTo>
                  <a:lnTo>
                    <a:pt x="126420" y="81513"/>
                  </a:lnTo>
                  <a:moveTo>
                    <a:pt x="100894" y="36688"/>
                  </a:moveTo>
                  <a:lnTo>
                    <a:pt x="100894" y="64205"/>
                  </a:lnTo>
                  <a:moveTo>
                    <a:pt x="111048" y="117294"/>
                  </a:moveTo>
                  <a:lnTo>
                    <a:pt x="123825" y="210961"/>
                  </a:lnTo>
                  <a:moveTo>
                    <a:pt x="77963" y="210961"/>
                  </a:moveTo>
                  <a:lnTo>
                    <a:pt x="90740" y="117294"/>
                  </a:lnTo>
                  <a:moveTo>
                    <a:pt x="73377" y="91722"/>
                  </a:moveTo>
                  <a:cubicBezTo>
                    <a:pt x="73377" y="106919"/>
                    <a:pt x="85697" y="119238"/>
                    <a:pt x="100894" y="119238"/>
                  </a:cubicBezTo>
                  <a:cubicBezTo>
                    <a:pt x="116091" y="119238"/>
                    <a:pt x="128411" y="106919"/>
                    <a:pt x="128411" y="91722"/>
                  </a:cubicBezTo>
                  <a:cubicBezTo>
                    <a:pt x="128411" y="76525"/>
                    <a:pt x="116091" y="64205"/>
                    <a:pt x="100894" y="64205"/>
                  </a:cubicBezTo>
                  <a:cubicBezTo>
                    <a:pt x="85697" y="64205"/>
                    <a:pt x="73377" y="76525"/>
                    <a:pt x="73377" y="91722"/>
                  </a:cubicBezTo>
                  <a:close/>
                </a:path>
              </a:pathLst>
            </a:custGeom>
            <a:noFill/>
            <a:ln w="3930">
              <a:solidFill>
                <a:srgbClr val="FFFFFF"/>
              </a:solidFill>
            </a:ln>
          </p:spPr>
          <p:txBody>
            <a:bodyPr rtlCol="0" anchor="ctr"/>
            <a:lstStyle/>
            <a:p>
              <a:pPr algn="ctr"/>
              <a:endParaRPr sz="3600"/>
            </a:p>
          </p:txBody>
        </p:sp>
        <p:sp>
          <p:nvSpPr>
            <p:cNvPr id="293" name="Rounded Rectangle 145">
              <a:extLst>
                <a:ext uri="{FF2B5EF4-FFF2-40B4-BE49-F238E27FC236}">
                  <a16:creationId xmlns:a16="http://schemas.microsoft.com/office/drawing/2014/main" id="{38739CDB-E477-7245-8E65-CDC840DA746C}"/>
                </a:ext>
              </a:extLst>
            </p:cNvPr>
            <p:cNvSpPr/>
            <p:nvPr/>
          </p:nvSpPr>
          <p:spPr>
            <a:xfrm>
              <a:off x="4650772" y="2017775"/>
              <a:ext cx="247090" cy="247090"/>
            </a:xfrm>
            <a:custGeom>
              <a:avLst/>
              <a:gdLst/>
              <a:ahLst/>
              <a:cxnLst/>
              <a:rect l="0" t="0" r="0" b="0"/>
              <a:pathLst>
                <a:path w="212445" h="212445">
                  <a:moveTo>
                    <a:pt x="47345" y="79935"/>
                  </a:moveTo>
                  <a:cubicBezTo>
                    <a:pt x="49396" y="79919"/>
                    <a:pt x="51411" y="80468"/>
                    <a:pt x="53170" y="81522"/>
                  </a:cubicBezTo>
                  <a:lnTo>
                    <a:pt x="68854" y="90804"/>
                  </a:lnTo>
                  <a:cubicBezTo>
                    <a:pt x="71023" y="92099"/>
                    <a:pt x="73754" y="91977"/>
                    <a:pt x="75798" y="90493"/>
                  </a:cubicBezTo>
                  <a:cubicBezTo>
                    <a:pt x="77871" y="88975"/>
                    <a:pt x="78899" y="86409"/>
                    <a:pt x="78448" y="83879"/>
                  </a:cubicBezTo>
                  <a:lnTo>
                    <a:pt x="75055" y="64260"/>
                  </a:lnTo>
                  <a:cubicBezTo>
                    <a:pt x="74380" y="60431"/>
                    <a:pt x="75604" y="56513"/>
                    <a:pt x="78338" y="53749"/>
                  </a:cubicBezTo>
                  <a:lnTo>
                    <a:pt x="91253" y="40807"/>
                  </a:lnTo>
                  <a:cubicBezTo>
                    <a:pt x="93022" y="39015"/>
                    <a:pt x="93651" y="36390"/>
                    <a:pt x="92886" y="33992"/>
                  </a:cubicBezTo>
                  <a:cubicBezTo>
                    <a:pt x="92153" y="31630"/>
                    <a:pt x="90145" y="29889"/>
                    <a:pt x="87703" y="29497"/>
                  </a:cubicBezTo>
                  <a:lnTo>
                    <a:pt x="69817" y="26828"/>
                  </a:lnTo>
                  <a:cubicBezTo>
                    <a:pt x="66020" y="26265"/>
                    <a:pt x="62753" y="23847"/>
                    <a:pt x="61104" y="20380"/>
                  </a:cubicBezTo>
                  <a:lnTo>
                    <a:pt x="53142" y="3668"/>
                  </a:lnTo>
                  <a:cubicBezTo>
                    <a:pt x="52078" y="1433"/>
                    <a:pt x="49822" y="8"/>
                    <a:pt x="47345" y="8"/>
                  </a:cubicBezTo>
                  <a:cubicBezTo>
                    <a:pt x="44869" y="8"/>
                    <a:pt x="42613" y="1433"/>
                    <a:pt x="41549" y="3668"/>
                  </a:cubicBezTo>
                  <a:lnTo>
                    <a:pt x="33587" y="20380"/>
                  </a:lnTo>
                  <a:cubicBezTo>
                    <a:pt x="31945" y="23817"/>
                    <a:pt x="28711" y="26220"/>
                    <a:pt x="24947" y="26801"/>
                  </a:cubicBezTo>
                  <a:lnTo>
                    <a:pt x="6988" y="29497"/>
                  </a:lnTo>
                  <a:cubicBezTo>
                    <a:pt x="4525" y="29880"/>
                    <a:pt x="2498" y="31637"/>
                    <a:pt x="1769" y="34019"/>
                  </a:cubicBezTo>
                  <a:cubicBezTo>
                    <a:pt x="1003" y="36418"/>
                    <a:pt x="1632" y="39043"/>
                    <a:pt x="3401" y="40834"/>
                  </a:cubicBezTo>
                  <a:lnTo>
                    <a:pt x="16353" y="53776"/>
                  </a:lnTo>
                  <a:cubicBezTo>
                    <a:pt x="19087" y="56540"/>
                    <a:pt x="20311" y="60459"/>
                    <a:pt x="19636" y="64288"/>
                  </a:cubicBezTo>
                  <a:lnTo>
                    <a:pt x="16242" y="83907"/>
                  </a:lnTo>
                  <a:cubicBezTo>
                    <a:pt x="15792" y="86437"/>
                    <a:pt x="16820" y="89002"/>
                    <a:pt x="18893" y="90520"/>
                  </a:cubicBezTo>
                  <a:cubicBezTo>
                    <a:pt x="20937" y="92004"/>
                    <a:pt x="23668" y="92127"/>
                    <a:pt x="25837" y="90832"/>
                  </a:cubicBezTo>
                  <a:lnTo>
                    <a:pt x="41503" y="81522"/>
                  </a:lnTo>
                  <a:cubicBezTo>
                    <a:pt x="43267" y="80465"/>
                    <a:pt x="45289" y="79916"/>
                    <a:pt x="47345" y="79935"/>
                  </a:cubicBezTo>
                  <a:close/>
                  <a:moveTo>
                    <a:pt x="189515" y="119238"/>
                  </a:moveTo>
                  <a:cubicBezTo>
                    <a:pt x="176851" y="119238"/>
                    <a:pt x="166584" y="129505"/>
                    <a:pt x="166584" y="142169"/>
                  </a:cubicBezTo>
                  <a:cubicBezTo>
                    <a:pt x="166584" y="129505"/>
                    <a:pt x="156318" y="119238"/>
                    <a:pt x="143654" y="119238"/>
                  </a:cubicBezTo>
                  <a:cubicBezTo>
                    <a:pt x="130990" y="119238"/>
                    <a:pt x="120723" y="129505"/>
                    <a:pt x="120723" y="142169"/>
                  </a:cubicBezTo>
                  <a:cubicBezTo>
                    <a:pt x="120723" y="170603"/>
                    <a:pt x="152074" y="200642"/>
                    <a:pt x="162915" y="209640"/>
                  </a:cubicBezTo>
                  <a:cubicBezTo>
                    <a:pt x="165038" y="211418"/>
                    <a:pt x="168130" y="211418"/>
                    <a:pt x="170253" y="209640"/>
                  </a:cubicBezTo>
                  <a:cubicBezTo>
                    <a:pt x="181122" y="200633"/>
                    <a:pt x="212445" y="170603"/>
                    <a:pt x="212445" y="142169"/>
                  </a:cubicBezTo>
                  <a:cubicBezTo>
                    <a:pt x="212445" y="129505"/>
                    <a:pt x="202179" y="119238"/>
                    <a:pt x="189515" y="119238"/>
                  </a:cubicBezTo>
                  <a:close/>
                  <a:moveTo>
                    <a:pt x="120723" y="45861"/>
                  </a:moveTo>
                  <a:cubicBezTo>
                    <a:pt x="120723" y="71189"/>
                    <a:pt x="141256" y="91722"/>
                    <a:pt x="166584" y="91722"/>
                  </a:cubicBezTo>
                  <a:cubicBezTo>
                    <a:pt x="191913" y="91722"/>
                    <a:pt x="212445" y="71189"/>
                    <a:pt x="212445" y="45861"/>
                  </a:cubicBezTo>
                  <a:cubicBezTo>
                    <a:pt x="212445" y="20532"/>
                    <a:pt x="191913" y="0"/>
                    <a:pt x="166584" y="0"/>
                  </a:cubicBezTo>
                  <a:cubicBezTo>
                    <a:pt x="141256" y="0"/>
                    <a:pt x="120723" y="20532"/>
                    <a:pt x="120723" y="45861"/>
                  </a:cubicBezTo>
                  <a:close/>
                  <a:moveTo>
                    <a:pt x="80696" y="167393"/>
                  </a:moveTo>
                  <a:cubicBezTo>
                    <a:pt x="87378" y="161091"/>
                    <a:pt x="90105" y="151655"/>
                    <a:pt x="87815" y="142760"/>
                  </a:cubicBezTo>
                  <a:cubicBezTo>
                    <a:pt x="85525" y="133866"/>
                    <a:pt x="78579" y="126920"/>
                    <a:pt x="69685" y="124630"/>
                  </a:cubicBezTo>
                  <a:cubicBezTo>
                    <a:pt x="60790" y="122340"/>
                    <a:pt x="51354" y="125067"/>
                    <a:pt x="45052" y="131749"/>
                  </a:cubicBezTo>
                  <a:cubicBezTo>
                    <a:pt x="38751" y="125067"/>
                    <a:pt x="29315" y="122340"/>
                    <a:pt x="20420" y="124630"/>
                  </a:cubicBezTo>
                  <a:cubicBezTo>
                    <a:pt x="11526" y="126920"/>
                    <a:pt x="4580" y="133866"/>
                    <a:pt x="2290" y="142760"/>
                  </a:cubicBezTo>
                  <a:cubicBezTo>
                    <a:pt x="0" y="151655"/>
                    <a:pt x="2727" y="161091"/>
                    <a:pt x="9409" y="167393"/>
                  </a:cubicBezTo>
                  <a:cubicBezTo>
                    <a:pt x="2727" y="173694"/>
                    <a:pt x="0" y="183130"/>
                    <a:pt x="2290" y="192025"/>
                  </a:cubicBezTo>
                  <a:cubicBezTo>
                    <a:pt x="4580" y="200919"/>
                    <a:pt x="11526" y="207865"/>
                    <a:pt x="20420" y="210155"/>
                  </a:cubicBezTo>
                  <a:cubicBezTo>
                    <a:pt x="29315" y="212445"/>
                    <a:pt x="38751" y="209718"/>
                    <a:pt x="45052" y="203036"/>
                  </a:cubicBezTo>
                  <a:cubicBezTo>
                    <a:pt x="51354" y="209718"/>
                    <a:pt x="60790" y="212445"/>
                    <a:pt x="69685" y="210155"/>
                  </a:cubicBezTo>
                  <a:cubicBezTo>
                    <a:pt x="78579" y="207865"/>
                    <a:pt x="85525" y="200919"/>
                    <a:pt x="87815" y="192025"/>
                  </a:cubicBezTo>
                  <a:cubicBezTo>
                    <a:pt x="90105" y="183130"/>
                    <a:pt x="87378" y="173694"/>
                    <a:pt x="80696" y="167393"/>
                  </a:cubicBezTo>
                  <a:close/>
                </a:path>
              </a:pathLst>
            </a:custGeom>
            <a:noFill/>
            <a:ln w="3930">
              <a:solidFill>
                <a:srgbClr val="FFFFFF"/>
              </a:solidFill>
            </a:ln>
          </p:spPr>
          <p:txBody>
            <a:bodyPr rtlCol="0" anchor="ctr"/>
            <a:lstStyle/>
            <a:p>
              <a:pPr algn="ctr"/>
              <a:endParaRPr sz="3600"/>
            </a:p>
          </p:txBody>
        </p:sp>
        <p:sp>
          <p:nvSpPr>
            <p:cNvPr id="294" name="Rounded Rectangle 146">
              <a:extLst>
                <a:ext uri="{FF2B5EF4-FFF2-40B4-BE49-F238E27FC236}">
                  <a16:creationId xmlns:a16="http://schemas.microsoft.com/office/drawing/2014/main" id="{31FAD270-A096-0FE5-D202-C192D36452A9}"/>
                </a:ext>
              </a:extLst>
            </p:cNvPr>
            <p:cNvSpPr/>
            <p:nvPr/>
          </p:nvSpPr>
          <p:spPr>
            <a:xfrm>
              <a:off x="7444630" y="1504975"/>
              <a:ext cx="220811" cy="246101"/>
            </a:xfrm>
            <a:custGeom>
              <a:avLst/>
              <a:gdLst/>
              <a:ahLst/>
              <a:cxnLst/>
              <a:rect l="0" t="0" r="0" b="0"/>
              <a:pathLst>
                <a:path w="189851" h="211595">
                  <a:moveTo>
                    <a:pt x="0" y="211595"/>
                  </a:moveTo>
                  <a:lnTo>
                    <a:pt x="11080" y="123120"/>
                  </a:lnTo>
                  <a:cubicBezTo>
                    <a:pt x="11420" y="116712"/>
                    <a:pt x="14682" y="110815"/>
                    <a:pt x="19931" y="107123"/>
                  </a:cubicBezTo>
                  <a:cubicBezTo>
                    <a:pt x="26945" y="103801"/>
                    <a:pt x="34383" y="101458"/>
                    <a:pt x="42036" y="100162"/>
                  </a:cubicBezTo>
                  <a:moveTo>
                    <a:pt x="134996" y="172521"/>
                  </a:moveTo>
                  <a:cubicBezTo>
                    <a:pt x="166437" y="168278"/>
                    <a:pt x="189851" y="141371"/>
                    <a:pt x="189709" y="109646"/>
                  </a:cubicBezTo>
                  <a:lnTo>
                    <a:pt x="189709" y="13924"/>
                  </a:lnTo>
                  <a:cubicBezTo>
                    <a:pt x="189712" y="9763"/>
                    <a:pt x="187765" y="5840"/>
                    <a:pt x="184448" y="3326"/>
                  </a:cubicBezTo>
                  <a:cubicBezTo>
                    <a:pt x="181131" y="813"/>
                    <a:pt x="176828" y="0"/>
                    <a:pt x="172823" y="1129"/>
                  </a:cubicBezTo>
                  <a:cubicBezTo>
                    <a:pt x="136215" y="11613"/>
                    <a:pt x="97400" y="11613"/>
                    <a:pt x="60793" y="1129"/>
                  </a:cubicBezTo>
                  <a:cubicBezTo>
                    <a:pt x="57392" y="180"/>
                    <a:pt x="53753" y="624"/>
                    <a:pt x="50680" y="2362"/>
                  </a:cubicBezTo>
                  <a:cubicBezTo>
                    <a:pt x="47607" y="4100"/>
                    <a:pt x="45351" y="6990"/>
                    <a:pt x="44411" y="10393"/>
                  </a:cubicBezTo>
                  <a:cubicBezTo>
                    <a:pt x="44093" y="11543"/>
                    <a:pt x="43932" y="12731"/>
                    <a:pt x="43934" y="13924"/>
                  </a:cubicBezTo>
                  <a:lnTo>
                    <a:pt x="43934" y="122688"/>
                  </a:lnTo>
                  <a:lnTo>
                    <a:pt x="43934" y="122688"/>
                  </a:lnTo>
                  <a:lnTo>
                    <a:pt x="135042" y="112058"/>
                  </a:lnTo>
                  <a:cubicBezTo>
                    <a:pt x="141449" y="111097"/>
                    <a:pt x="147650" y="114766"/>
                    <a:pt x="149892" y="120845"/>
                  </a:cubicBezTo>
                  <a:cubicBezTo>
                    <a:pt x="151432" y="126662"/>
                    <a:pt x="151238" y="132803"/>
                    <a:pt x="149332" y="138511"/>
                  </a:cubicBezTo>
                  <a:cubicBezTo>
                    <a:pt x="147296" y="142029"/>
                    <a:pt x="143807" y="144467"/>
                    <a:pt x="139803" y="145170"/>
                  </a:cubicBezTo>
                  <a:lnTo>
                    <a:pt x="73497" y="157424"/>
                  </a:lnTo>
                  <a:moveTo>
                    <a:pt x="90346" y="154305"/>
                  </a:moveTo>
                  <a:lnTo>
                    <a:pt x="99371" y="152636"/>
                  </a:lnTo>
                  <a:cubicBezTo>
                    <a:pt x="106843" y="151253"/>
                    <a:pt x="114021" y="156189"/>
                    <a:pt x="115404" y="163661"/>
                  </a:cubicBezTo>
                  <a:cubicBezTo>
                    <a:pt x="116787" y="171133"/>
                    <a:pt x="111851" y="178311"/>
                    <a:pt x="104379" y="179694"/>
                  </a:cubicBezTo>
                  <a:lnTo>
                    <a:pt x="95363" y="181363"/>
                  </a:lnTo>
                  <a:moveTo>
                    <a:pt x="90346" y="182299"/>
                  </a:moveTo>
                  <a:lnTo>
                    <a:pt x="99371" y="180629"/>
                  </a:lnTo>
                  <a:cubicBezTo>
                    <a:pt x="106843" y="179246"/>
                    <a:pt x="114021" y="184183"/>
                    <a:pt x="115404" y="191654"/>
                  </a:cubicBezTo>
                  <a:cubicBezTo>
                    <a:pt x="116787" y="199126"/>
                    <a:pt x="111851" y="206305"/>
                    <a:pt x="104379" y="207687"/>
                  </a:cubicBezTo>
                  <a:lnTo>
                    <a:pt x="95363" y="209357"/>
                  </a:lnTo>
                  <a:moveTo>
                    <a:pt x="101976" y="87669"/>
                  </a:moveTo>
                  <a:cubicBezTo>
                    <a:pt x="92256" y="89080"/>
                    <a:pt x="82368" y="86664"/>
                    <a:pt x="74395" y="80927"/>
                  </a:cubicBezTo>
                  <a:cubicBezTo>
                    <a:pt x="68053" y="73432"/>
                    <a:pt x="64866" y="63768"/>
                    <a:pt x="65508" y="53970"/>
                  </a:cubicBezTo>
                  <a:cubicBezTo>
                    <a:pt x="75228" y="52555"/>
                    <a:pt x="85117" y="54972"/>
                    <a:pt x="93088" y="60712"/>
                  </a:cubicBezTo>
                  <a:cubicBezTo>
                    <a:pt x="99432" y="68206"/>
                    <a:pt x="102618" y="77871"/>
                    <a:pt x="101976" y="87669"/>
                  </a:cubicBezTo>
                  <a:close/>
                  <a:moveTo>
                    <a:pt x="131382" y="87669"/>
                  </a:moveTo>
                  <a:cubicBezTo>
                    <a:pt x="130745" y="77869"/>
                    <a:pt x="133938" y="68204"/>
                    <a:pt x="140289" y="60712"/>
                  </a:cubicBezTo>
                  <a:cubicBezTo>
                    <a:pt x="148260" y="54972"/>
                    <a:pt x="158149" y="52555"/>
                    <a:pt x="167870" y="53970"/>
                  </a:cubicBezTo>
                  <a:cubicBezTo>
                    <a:pt x="168506" y="63770"/>
                    <a:pt x="165313" y="73435"/>
                    <a:pt x="158963" y="80927"/>
                  </a:cubicBezTo>
                  <a:cubicBezTo>
                    <a:pt x="150990" y="86663"/>
                    <a:pt x="141102" y="89080"/>
                    <a:pt x="131382" y="87669"/>
                  </a:cubicBezTo>
                  <a:close/>
                </a:path>
              </a:pathLst>
            </a:custGeom>
            <a:noFill/>
            <a:ln w="3930">
              <a:solidFill>
                <a:srgbClr val="FFFFFF"/>
              </a:solidFill>
            </a:ln>
          </p:spPr>
          <p:txBody>
            <a:bodyPr rtlCol="0" anchor="ctr"/>
            <a:lstStyle/>
            <a:p>
              <a:pPr algn="ctr"/>
              <a:endParaRPr sz="3600"/>
            </a:p>
          </p:txBody>
        </p:sp>
        <p:sp>
          <p:nvSpPr>
            <p:cNvPr id="295" name="Rounded Rectangle 147">
              <a:extLst>
                <a:ext uri="{FF2B5EF4-FFF2-40B4-BE49-F238E27FC236}">
                  <a16:creationId xmlns:a16="http://schemas.microsoft.com/office/drawing/2014/main" id="{7BEC8B49-8E3C-F8DD-4415-EC88BA89F66F}"/>
                </a:ext>
              </a:extLst>
            </p:cNvPr>
            <p:cNvSpPr/>
            <p:nvPr/>
          </p:nvSpPr>
          <p:spPr>
            <a:xfrm>
              <a:off x="4663167" y="4943959"/>
              <a:ext cx="224027" cy="246058"/>
            </a:xfrm>
            <a:custGeom>
              <a:avLst/>
              <a:gdLst/>
              <a:ahLst/>
              <a:cxnLst/>
              <a:rect l="0" t="0" r="0" b="0"/>
              <a:pathLst>
                <a:path w="192616" h="211558">
                  <a:moveTo>
                    <a:pt x="78881" y="210026"/>
                  </a:moveTo>
                  <a:cubicBezTo>
                    <a:pt x="75372" y="211558"/>
                    <a:pt x="71383" y="211558"/>
                    <a:pt x="67874" y="210026"/>
                  </a:cubicBezTo>
                  <a:lnTo>
                    <a:pt x="2751" y="181537"/>
                  </a:lnTo>
                  <a:cubicBezTo>
                    <a:pt x="1081" y="180808"/>
                    <a:pt x="0" y="179159"/>
                    <a:pt x="0" y="177336"/>
                  </a:cubicBezTo>
                  <a:lnTo>
                    <a:pt x="0" y="90109"/>
                  </a:lnTo>
                  <a:cubicBezTo>
                    <a:pt x="1" y="88103"/>
                    <a:pt x="1305" y="86331"/>
                    <a:pt x="3219" y="85733"/>
                  </a:cubicBezTo>
                  <a:lnTo>
                    <a:pt x="69259" y="65087"/>
                  </a:lnTo>
                  <a:cubicBezTo>
                    <a:pt x="71946" y="64242"/>
                    <a:pt x="74827" y="64242"/>
                    <a:pt x="77514" y="65087"/>
                  </a:cubicBezTo>
                  <a:lnTo>
                    <a:pt x="143554" y="85752"/>
                  </a:lnTo>
                  <a:cubicBezTo>
                    <a:pt x="145468" y="86349"/>
                    <a:pt x="146772" y="88121"/>
                    <a:pt x="146773" y="90127"/>
                  </a:cubicBezTo>
                  <a:lnTo>
                    <a:pt x="146773" y="177336"/>
                  </a:lnTo>
                  <a:cubicBezTo>
                    <a:pt x="146772" y="179159"/>
                    <a:pt x="145692" y="180808"/>
                    <a:pt x="144022" y="181537"/>
                  </a:cubicBezTo>
                  <a:close/>
                  <a:moveTo>
                    <a:pt x="73377" y="211182"/>
                  </a:moveTo>
                  <a:lnTo>
                    <a:pt x="73377" y="114874"/>
                  </a:lnTo>
                  <a:moveTo>
                    <a:pt x="706" y="87623"/>
                  </a:moveTo>
                  <a:lnTo>
                    <a:pt x="73377" y="114874"/>
                  </a:lnTo>
                  <a:lnTo>
                    <a:pt x="146049" y="87623"/>
                  </a:lnTo>
                  <a:moveTo>
                    <a:pt x="119238" y="58886"/>
                  </a:moveTo>
                  <a:lnTo>
                    <a:pt x="119238" y="50668"/>
                  </a:lnTo>
                  <a:moveTo>
                    <a:pt x="46567" y="23417"/>
                  </a:moveTo>
                  <a:lnTo>
                    <a:pt x="119238" y="50668"/>
                  </a:lnTo>
                  <a:lnTo>
                    <a:pt x="191910" y="23417"/>
                  </a:lnTo>
                  <a:moveTo>
                    <a:pt x="165100" y="128173"/>
                  </a:moveTo>
                  <a:lnTo>
                    <a:pt x="189865" y="117332"/>
                  </a:lnTo>
                  <a:cubicBezTo>
                    <a:pt x="191535" y="116603"/>
                    <a:pt x="192615" y="114953"/>
                    <a:pt x="192616" y="113131"/>
                  </a:cubicBezTo>
                  <a:lnTo>
                    <a:pt x="192616" y="25903"/>
                  </a:lnTo>
                  <a:cubicBezTo>
                    <a:pt x="192615" y="23898"/>
                    <a:pt x="191311" y="22125"/>
                    <a:pt x="189397" y="21528"/>
                  </a:cubicBezTo>
                  <a:lnTo>
                    <a:pt x="123348" y="844"/>
                  </a:lnTo>
                  <a:cubicBezTo>
                    <a:pt x="120661" y="0"/>
                    <a:pt x="117779" y="0"/>
                    <a:pt x="115093" y="844"/>
                  </a:cubicBezTo>
                  <a:lnTo>
                    <a:pt x="49053" y="21491"/>
                  </a:lnTo>
                  <a:cubicBezTo>
                    <a:pt x="47136" y="22103"/>
                    <a:pt x="45842" y="23891"/>
                    <a:pt x="45861" y="25903"/>
                  </a:cubicBezTo>
                  <a:lnTo>
                    <a:pt x="45861" y="53144"/>
                  </a:lnTo>
                  <a:moveTo>
                    <a:pt x="119238" y="20858"/>
                  </a:moveTo>
                  <a:cubicBezTo>
                    <a:pt x="120505" y="20858"/>
                    <a:pt x="121531" y="21885"/>
                    <a:pt x="121531" y="23151"/>
                  </a:cubicBezTo>
                  <a:moveTo>
                    <a:pt x="116945" y="23151"/>
                  </a:moveTo>
                  <a:cubicBezTo>
                    <a:pt x="116945" y="21885"/>
                    <a:pt x="117972" y="20858"/>
                    <a:pt x="119238" y="20858"/>
                  </a:cubicBezTo>
                  <a:moveTo>
                    <a:pt x="116945" y="23151"/>
                  </a:moveTo>
                  <a:cubicBezTo>
                    <a:pt x="116945" y="24418"/>
                    <a:pt x="117972" y="25444"/>
                    <a:pt x="119238" y="25444"/>
                  </a:cubicBezTo>
                  <a:moveTo>
                    <a:pt x="119238" y="25444"/>
                  </a:moveTo>
                  <a:cubicBezTo>
                    <a:pt x="120505" y="25444"/>
                    <a:pt x="121531" y="24418"/>
                    <a:pt x="121531" y="23151"/>
                  </a:cubicBezTo>
                  <a:moveTo>
                    <a:pt x="169686" y="52961"/>
                  </a:moveTo>
                  <a:cubicBezTo>
                    <a:pt x="170952" y="52961"/>
                    <a:pt x="171979" y="53988"/>
                    <a:pt x="171979" y="55254"/>
                  </a:cubicBezTo>
                  <a:moveTo>
                    <a:pt x="167393" y="55254"/>
                  </a:moveTo>
                  <a:cubicBezTo>
                    <a:pt x="167393" y="53988"/>
                    <a:pt x="168419" y="52961"/>
                    <a:pt x="169686" y="52961"/>
                  </a:cubicBezTo>
                  <a:moveTo>
                    <a:pt x="167393" y="55254"/>
                  </a:moveTo>
                  <a:cubicBezTo>
                    <a:pt x="167393" y="56520"/>
                    <a:pt x="168419" y="57547"/>
                    <a:pt x="169686" y="57547"/>
                  </a:cubicBezTo>
                  <a:moveTo>
                    <a:pt x="169686" y="57547"/>
                  </a:moveTo>
                  <a:cubicBezTo>
                    <a:pt x="170952" y="57547"/>
                    <a:pt x="171979" y="56520"/>
                    <a:pt x="171979" y="55254"/>
                  </a:cubicBezTo>
                  <a:moveTo>
                    <a:pt x="169686" y="98822"/>
                  </a:moveTo>
                  <a:cubicBezTo>
                    <a:pt x="170952" y="98822"/>
                    <a:pt x="171979" y="99849"/>
                    <a:pt x="171979" y="101115"/>
                  </a:cubicBezTo>
                  <a:moveTo>
                    <a:pt x="167393" y="101115"/>
                  </a:moveTo>
                  <a:cubicBezTo>
                    <a:pt x="167393" y="99849"/>
                    <a:pt x="168419" y="98822"/>
                    <a:pt x="169686" y="98822"/>
                  </a:cubicBezTo>
                  <a:moveTo>
                    <a:pt x="167393" y="101115"/>
                  </a:moveTo>
                  <a:cubicBezTo>
                    <a:pt x="167393" y="102382"/>
                    <a:pt x="168419" y="103408"/>
                    <a:pt x="169686" y="103408"/>
                  </a:cubicBezTo>
                  <a:moveTo>
                    <a:pt x="169686" y="103408"/>
                  </a:moveTo>
                  <a:cubicBezTo>
                    <a:pt x="170952" y="103408"/>
                    <a:pt x="171979" y="102382"/>
                    <a:pt x="171979" y="101115"/>
                  </a:cubicBezTo>
                  <a:moveTo>
                    <a:pt x="123825" y="126339"/>
                  </a:moveTo>
                  <a:cubicBezTo>
                    <a:pt x="125091" y="126339"/>
                    <a:pt x="126118" y="127365"/>
                    <a:pt x="126118" y="128632"/>
                  </a:cubicBezTo>
                  <a:moveTo>
                    <a:pt x="121531" y="128632"/>
                  </a:moveTo>
                  <a:cubicBezTo>
                    <a:pt x="121531" y="127365"/>
                    <a:pt x="122558" y="126339"/>
                    <a:pt x="123825" y="126339"/>
                  </a:cubicBezTo>
                  <a:moveTo>
                    <a:pt x="121531" y="128632"/>
                  </a:moveTo>
                  <a:cubicBezTo>
                    <a:pt x="121531" y="129898"/>
                    <a:pt x="122558" y="130925"/>
                    <a:pt x="123825" y="130925"/>
                  </a:cubicBezTo>
                  <a:moveTo>
                    <a:pt x="123825" y="130925"/>
                  </a:moveTo>
                  <a:cubicBezTo>
                    <a:pt x="125091" y="130925"/>
                    <a:pt x="126118" y="129898"/>
                    <a:pt x="126118" y="128632"/>
                  </a:cubicBezTo>
                  <a:moveTo>
                    <a:pt x="110066" y="149269"/>
                  </a:moveTo>
                  <a:cubicBezTo>
                    <a:pt x="111333" y="149269"/>
                    <a:pt x="112359" y="150296"/>
                    <a:pt x="112359" y="151562"/>
                  </a:cubicBezTo>
                  <a:moveTo>
                    <a:pt x="107773" y="151562"/>
                  </a:moveTo>
                  <a:cubicBezTo>
                    <a:pt x="107773" y="150296"/>
                    <a:pt x="108800" y="149269"/>
                    <a:pt x="110066" y="149269"/>
                  </a:cubicBezTo>
                  <a:moveTo>
                    <a:pt x="107773" y="151562"/>
                  </a:moveTo>
                  <a:cubicBezTo>
                    <a:pt x="107773" y="152829"/>
                    <a:pt x="108800" y="153855"/>
                    <a:pt x="110066" y="153855"/>
                  </a:cubicBezTo>
                  <a:moveTo>
                    <a:pt x="110066" y="153855"/>
                  </a:moveTo>
                  <a:cubicBezTo>
                    <a:pt x="111333" y="153855"/>
                    <a:pt x="112359" y="152829"/>
                    <a:pt x="112359" y="151562"/>
                  </a:cubicBezTo>
                  <a:moveTo>
                    <a:pt x="96308" y="172200"/>
                  </a:moveTo>
                  <a:cubicBezTo>
                    <a:pt x="97574" y="172200"/>
                    <a:pt x="98601" y="173227"/>
                    <a:pt x="98601" y="174493"/>
                  </a:cubicBezTo>
                  <a:moveTo>
                    <a:pt x="94015" y="174493"/>
                  </a:moveTo>
                  <a:cubicBezTo>
                    <a:pt x="94015" y="173227"/>
                    <a:pt x="95041" y="172200"/>
                    <a:pt x="96308" y="172200"/>
                  </a:cubicBezTo>
                  <a:moveTo>
                    <a:pt x="94015" y="174493"/>
                  </a:moveTo>
                  <a:cubicBezTo>
                    <a:pt x="94015" y="175759"/>
                    <a:pt x="95041" y="176786"/>
                    <a:pt x="96308" y="176786"/>
                  </a:cubicBezTo>
                  <a:moveTo>
                    <a:pt x="96308" y="176786"/>
                  </a:moveTo>
                  <a:cubicBezTo>
                    <a:pt x="97574" y="176786"/>
                    <a:pt x="98601" y="175759"/>
                    <a:pt x="98601" y="174493"/>
                  </a:cubicBezTo>
                  <a:moveTo>
                    <a:pt x="50447" y="172200"/>
                  </a:moveTo>
                  <a:cubicBezTo>
                    <a:pt x="51713" y="172200"/>
                    <a:pt x="52740" y="173227"/>
                    <a:pt x="52740" y="174493"/>
                  </a:cubicBezTo>
                  <a:moveTo>
                    <a:pt x="48154" y="174493"/>
                  </a:moveTo>
                  <a:cubicBezTo>
                    <a:pt x="48154" y="173227"/>
                    <a:pt x="49180" y="172200"/>
                    <a:pt x="50447" y="172200"/>
                  </a:cubicBezTo>
                  <a:moveTo>
                    <a:pt x="48154" y="174493"/>
                  </a:moveTo>
                  <a:cubicBezTo>
                    <a:pt x="48154" y="175759"/>
                    <a:pt x="49180" y="176786"/>
                    <a:pt x="50447" y="176786"/>
                  </a:cubicBezTo>
                  <a:moveTo>
                    <a:pt x="50447" y="176786"/>
                  </a:moveTo>
                  <a:cubicBezTo>
                    <a:pt x="51713" y="176786"/>
                    <a:pt x="52740" y="175759"/>
                    <a:pt x="52740" y="174493"/>
                  </a:cubicBezTo>
                  <a:moveTo>
                    <a:pt x="22930" y="126339"/>
                  </a:moveTo>
                  <a:cubicBezTo>
                    <a:pt x="24196" y="126339"/>
                    <a:pt x="25223" y="127365"/>
                    <a:pt x="25223" y="128632"/>
                  </a:cubicBezTo>
                  <a:moveTo>
                    <a:pt x="20637" y="128632"/>
                  </a:moveTo>
                  <a:cubicBezTo>
                    <a:pt x="20637" y="127365"/>
                    <a:pt x="21664" y="126339"/>
                    <a:pt x="22930" y="126339"/>
                  </a:cubicBezTo>
                  <a:moveTo>
                    <a:pt x="20637" y="128632"/>
                  </a:moveTo>
                  <a:cubicBezTo>
                    <a:pt x="20637" y="129898"/>
                    <a:pt x="21664" y="130925"/>
                    <a:pt x="22930" y="130925"/>
                  </a:cubicBezTo>
                  <a:moveTo>
                    <a:pt x="22930" y="130925"/>
                  </a:moveTo>
                  <a:cubicBezTo>
                    <a:pt x="24196" y="130925"/>
                    <a:pt x="25223" y="129898"/>
                    <a:pt x="25223" y="128632"/>
                  </a:cubicBezTo>
                  <a:moveTo>
                    <a:pt x="73377" y="85064"/>
                  </a:moveTo>
                  <a:cubicBezTo>
                    <a:pt x="74644" y="85064"/>
                    <a:pt x="75670" y="86090"/>
                    <a:pt x="75670" y="87357"/>
                  </a:cubicBezTo>
                  <a:moveTo>
                    <a:pt x="71084" y="87357"/>
                  </a:moveTo>
                  <a:cubicBezTo>
                    <a:pt x="71084" y="86090"/>
                    <a:pt x="72111" y="85064"/>
                    <a:pt x="73377" y="85064"/>
                  </a:cubicBezTo>
                  <a:moveTo>
                    <a:pt x="71084" y="87357"/>
                  </a:moveTo>
                  <a:cubicBezTo>
                    <a:pt x="71084" y="88623"/>
                    <a:pt x="72111" y="89650"/>
                    <a:pt x="73377" y="89650"/>
                  </a:cubicBezTo>
                  <a:moveTo>
                    <a:pt x="73377" y="89650"/>
                  </a:moveTo>
                  <a:cubicBezTo>
                    <a:pt x="74644" y="89650"/>
                    <a:pt x="75670" y="88623"/>
                    <a:pt x="75670" y="87357"/>
                  </a:cubicBezTo>
                </a:path>
              </a:pathLst>
            </a:custGeom>
            <a:noFill/>
            <a:ln w="3930">
              <a:solidFill>
                <a:srgbClr val="FFFFFF"/>
              </a:solidFill>
            </a:ln>
          </p:spPr>
          <p:txBody>
            <a:bodyPr rtlCol="0" anchor="ctr"/>
            <a:lstStyle/>
            <a:p>
              <a:pPr algn="ctr"/>
              <a:endParaRPr sz="3600"/>
            </a:p>
          </p:txBody>
        </p:sp>
      </p:grpSp>
    </p:spTree>
    <p:extLst>
      <p:ext uri="{BB962C8B-B14F-4D97-AF65-F5344CB8AC3E}">
        <p14:creationId xmlns:p14="http://schemas.microsoft.com/office/powerpoint/2010/main" val="251207308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60D503-547F-0919-B64A-B5A66C31FCAD}"/>
              </a:ext>
            </a:extLst>
          </p:cNvPr>
          <p:cNvSpPr>
            <a:spLocks noGrp="1"/>
          </p:cNvSpPr>
          <p:nvPr>
            <p:ph type="title"/>
          </p:nvPr>
        </p:nvSpPr>
        <p:spPr/>
        <p:txBody>
          <a:bodyPr/>
          <a:lstStyle/>
          <a:p>
            <a:r>
              <a:rPr lang="en-US"/>
              <a:t>Key Steps to Build an AI Agent</a:t>
            </a:r>
          </a:p>
        </p:txBody>
      </p:sp>
      <p:grpSp>
        <p:nvGrpSpPr>
          <p:cNvPr id="102" name="Group 101">
            <a:extLst>
              <a:ext uri="{FF2B5EF4-FFF2-40B4-BE49-F238E27FC236}">
                <a16:creationId xmlns:a16="http://schemas.microsoft.com/office/drawing/2014/main" id="{291DC582-44A1-B0B9-6483-629769D05047}"/>
              </a:ext>
            </a:extLst>
          </p:cNvPr>
          <p:cNvGrpSpPr>
            <a:grpSpLocks noChangeAspect="1"/>
          </p:cNvGrpSpPr>
          <p:nvPr/>
        </p:nvGrpSpPr>
        <p:grpSpPr>
          <a:xfrm>
            <a:off x="1354181" y="1310020"/>
            <a:ext cx="9483638" cy="5029200"/>
            <a:chOff x="902043" y="1851196"/>
            <a:chExt cx="7339913" cy="3892378"/>
          </a:xfrm>
        </p:grpSpPr>
        <p:grpSp>
          <p:nvGrpSpPr>
            <p:cNvPr id="3" name="Group 2">
              <a:extLst>
                <a:ext uri="{FF2B5EF4-FFF2-40B4-BE49-F238E27FC236}">
                  <a16:creationId xmlns:a16="http://schemas.microsoft.com/office/drawing/2014/main" id="{F4CB968B-F487-F869-6D42-C73956264CBD}"/>
                </a:ext>
              </a:extLst>
            </p:cNvPr>
            <p:cNvGrpSpPr/>
            <p:nvPr/>
          </p:nvGrpSpPr>
          <p:grpSpPr>
            <a:xfrm>
              <a:off x="1365421" y="1851196"/>
              <a:ext cx="1223318" cy="889686"/>
              <a:chOff x="908221" y="1223318"/>
              <a:chExt cx="1223318" cy="889686"/>
            </a:xfrm>
          </p:grpSpPr>
          <p:sp>
            <p:nvSpPr>
              <p:cNvPr id="4" name="Rounded Rectangle 1">
                <a:extLst>
                  <a:ext uri="{FF2B5EF4-FFF2-40B4-BE49-F238E27FC236}">
                    <a16:creationId xmlns:a16="http://schemas.microsoft.com/office/drawing/2014/main" id="{BF9C6B30-29AD-D660-520D-8DAA6393355D}"/>
                  </a:ext>
                </a:extLst>
              </p:cNvPr>
              <p:cNvSpPr/>
              <p:nvPr/>
            </p:nvSpPr>
            <p:spPr>
              <a:xfrm>
                <a:off x="908221" y="1223318"/>
                <a:ext cx="1223318" cy="889686"/>
              </a:xfrm>
              <a:custGeom>
                <a:avLst/>
                <a:gdLst/>
                <a:ahLst/>
                <a:cxnLst/>
                <a:rect l="0" t="0" r="0" b="0"/>
                <a:pathLst>
                  <a:path w="1223318" h="889686">
                    <a:moveTo>
                      <a:pt x="0" y="0"/>
                    </a:moveTo>
                    <a:lnTo>
                      <a:pt x="1223318" y="0"/>
                    </a:lnTo>
                    <a:lnTo>
                      <a:pt x="1223318" y="889686"/>
                    </a:lnTo>
                    <a:lnTo>
                      <a:pt x="0" y="889686"/>
                    </a:lnTo>
                    <a:lnTo>
                      <a:pt x="0" y="0"/>
                    </a:lnTo>
                    <a:close/>
                  </a:path>
                </a:pathLst>
              </a:custGeom>
              <a:solidFill>
                <a:srgbClr val="0979E1"/>
              </a:solidFill>
              <a:ln>
                <a:noFill/>
              </a:ln>
            </p:spPr>
            <p:txBody>
              <a:bodyPr rtlCol="0" anchor="ctr"/>
              <a:lstStyle/>
              <a:p>
                <a:pPr algn="ctr"/>
                <a:endParaRPr sz="2000"/>
              </a:p>
            </p:txBody>
          </p:sp>
          <p:sp>
            <p:nvSpPr>
              <p:cNvPr id="5" name="Rounded Rectangle 2">
                <a:extLst>
                  <a:ext uri="{FF2B5EF4-FFF2-40B4-BE49-F238E27FC236}">
                    <a16:creationId xmlns:a16="http://schemas.microsoft.com/office/drawing/2014/main" id="{1C3D2032-6E49-0ADB-993C-5B3CB2A7EB5D}"/>
                  </a:ext>
                </a:extLst>
              </p:cNvPr>
              <p:cNvSpPr/>
              <p:nvPr/>
            </p:nvSpPr>
            <p:spPr>
              <a:xfrm>
                <a:off x="908221" y="1223318"/>
                <a:ext cx="1223318" cy="889686"/>
              </a:xfrm>
              <a:custGeom>
                <a:avLst/>
                <a:gdLst/>
                <a:ahLst/>
                <a:cxnLst/>
                <a:rect l="0" t="0" r="0" b="0"/>
                <a:pathLst>
                  <a:path w="1223318" h="889686">
                    <a:moveTo>
                      <a:pt x="0" y="0"/>
                    </a:moveTo>
                    <a:lnTo>
                      <a:pt x="1223318" y="0"/>
                    </a:lnTo>
                    <a:moveTo>
                      <a:pt x="1223318" y="889686"/>
                    </a:moveTo>
                    <a:lnTo>
                      <a:pt x="0" y="889686"/>
                    </a:lnTo>
                  </a:path>
                </a:pathLst>
              </a:custGeom>
              <a:noFill/>
              <a:ln w="6950">
                <a:solidFill>
                  <a:srgbClr val="FFFFFF"/>
                </a:solidFill>
              </a:ln>
            </p:spPr>
            <p:txBody>
              <a:bodyPr rtlCol="0" anchor="ctr"/>
              <a:lstStyle/>
              <a:p>
                <a:pPr algn="ctr"/>
                <a:endParaRPr sz="2000"/>
              </a:p>
            </p:txBody>
          </p:sp>
        </p:grpSp>
        <p:grpSp>
          <p:nvGrpSpPr>
            <p:cNvPr id="6" name="Group 5">
              <a:extLst>
                <a:ext uri="{FF2B5EF4-FFF2-40B4-BE49-F238E27FC236}">
                  <a16:creationId xmlns:a16="http://schemas.microsoft.com/office/drawing/2014/main" id="{F0538828-F13C-8666-D120-5F6B11DC0A3E}"/>
                </a:ext>
              </a:extLst>
            </p:cNvPr>
            <p:cNvGrpSpPr/>
            <p:nvPr/>
          </p:nvGrpSpPr>
          <p:grpSpPr>
            <a:xfrm>
              <a:off x="1198605" y="1851196"/>
              <a:ext cx="166816" cy="889686"/>
              <a:chOff x="741405" y="1223318"/>
              <a:chExt cx="166816" cy="889686"/>
            </a:xfrm>
          </p:grpSpPr>
          <p:sp>
            <p:nvSpPr>
              <p:cNvPr id="7" name="Rounded Rectangle 4">
                <a:extLst>
                  <a:ext uri="{FF2B5EF4-FFF2-40B4-BE49-F238E27FC236}">
                    <a16:creationId xmlns:a16="http://schemas.microsoft.com/office/drawing/2014/main" id="{75F065E3-A714-29F2-6845-1BBB19C8B85E}"/>
                  </a:ext>
                </a:extLst>
              </p:cNvPr>
              <p:cNvSpPr/>
              <p:nvPr/>
            </p:nvSpPr>
            <p:spPr>
              <a:xfrm>
                <a:off x="741405" y="1223318"/>
                <a:ext cx="166816" cy="889686"/>
              </a:xfrm>
              <a:custGeom>
                <a:avLst/>
                <a:gdLst/>
                <a:ahLst/>
                <a:cxnLst/>
                <a:rect l="0" t="0" r="0" b="0"/>
                <a:pathLst>
                  <a:path w="166816" h="889686">
                    <a:moveTo>
                      <a:pt x="166816" y="0"/>
                    </a:moveTo>
                    <a:lnTo>
                      <a:pt x="148281" y="0"/>
                    </a:lnTo>
                    <a:cubicBezTo>
                      <a:pt x="66387" y="0"/>
                      <a:pt x="0" y="66387"/>
                      <a:pt x="0" y="148281"/>
                    </a:cubicBezTo>
                    <a:lnTo>
                      <a:pt x="166816" y="148281"/>
                    </a:lnTo>
                    <a:lnTo>
                      <a:pt x="166816" y="0"/>
                    </a:lnTo>
                    <a:close/>
                    <a:moveTo>
                      <a:pt x="166816" y="148281"/>
                    </a:moveTo>
                    <a:lnTo>
                      <a:pt x="166816" y="741405"/>
                    </a:lnTo>
                    <a:lnTo>
                      <a:pt x="0" y="741405"/>
                    </a:lnTo>
                    <a:lnTo>
                      <a:pt x="0" y="148281"/>
                    </a:lnTo>
                    <a:lnTo>
                      <a:pt x="166816" y="148281"/>
                    </a:lnTo>
                    <a:close/>
                    <a:moveTo>
                      <a:pt x="166816" y="889686"/>
                    </a:moveTo>
                    <a:lnTo>
                      <a:pt x="148281" y="889686"/>
                    </a:lnTo>
                    <a:cubicBezTo>
                      <a:pt x="66387" y="889686"/>
                      <a:pt x="0" y="823299"/>
                      <a:pt x="0" y="741405"/>
                    </a:cubicBezTo>
                    <a:lnTo>
                      <a:pt x="166816" y="741405"/>
                    </a:lnTo>
                    <a:lnTo>
                      <a:pt x="166816" y="889686"/>
                    </a:lnTo>
                    <a:close/>
                  </a:path>
                </a:pathLst>
              </a:custGeom>
              <a:solidFill>
                <a:srgbClr val="0979E1"/>
              </a:solidFill>
              <a:ln>
                <a:noFill/>
              </a:ln>
            </p:spPr>
            <p:txBody>
              <a:bodyPr rtlCol="0" anchor="ctr"/>
              <a:lstStyle/>
              <a:p>
                <a:pPr algn="ctr"/>
                <a:endParaRPr sz="2000"/>
              </a:p>
            </p:txBody>
          </p:sp>
          <p:sp>
            <p:nvSpPr>
              <p:cNvPr id="8" name="Rounded Rectangle 5">
                <a:extLst>
                  <a:ext uri="{FF2B5EF4-FFF2-40B4-BE49-F238E27FC236}">
                    <a16:creationId xmlns:a16="http://schemas.microsoft.com/office/drawing/2014/main" id="{67B3226C-50AD-EC4A-D007-BFBF0FA651E3}"/>
                  </a:ext>
                </a:extLst>
              </p:cNvPr>
              <p:cNvSpPr/>
              <p:nvPr/>
            </p:nvSpPr>
            <p:spPr>
              <a:xfrm>
                <a:off x="741405" y="1223318"/>
                <a:ext cx="166816" cy="889686"/>
              </a:xfrm>
              <a:custGeom>
                <a:avLst/>
                <a:gdLst/>
                <a:ahLst/>
                <a:cxnLst/>
                <a:rect l="0" t="0" r="0" b="0"/>
                <a:pathLst>
                  <a:path w="166816" h="889686">
                    <a:moveTo>
                      <a:pt x="166816" y="0"/>
                    </a:moveTo>
                    <a:lnTo>
                      <a:pt x="148281" y="0"/>
                    </a:lnTo>
                    <a:cubicBezTo>
                      <a:pt x="66387" y="0"/>
                      <a:pt x="0" y="66387"/>
                      <a:pt x="0" y="148281"/>
                    </a:cubicBezTo>
                    <a:moveTo>
                      <a:pt x="166816" y="889686"/>
                    </a:moveTo>
                    <a:lnTo>
                      <a:pt x="148281" y="889686"/>
                    </a:lnTo>
                    <a:cubicBezTo>
                      <a:pt x="66387" y="889686"/>
                      <a:pt x="0" y="823299"/>
                      <a:pt x="0" y="741405"/>
                    </a:cubicBezTo>
                    <a:moveTo>
                      <a:pt x="0" y="741405"/>
                    </a:moveTo>
                    <a:lnTo>
                      <a:pt x="0" y="148281"/>
                    </a:lnTo>
                  </a:path>
                </a:pathLst>
              </a:custGeom>
              <a:noFill/>
              <a:ln w="6950">
                <a:solidFill>
                  <a:srgbClr val="FFFFFF"/>
                </a:solidFill>
              </a:ln>
            </p:spPr>
            <p:txBody>
              <a:bodyPr rtlCol="0" anchor="ctr"/>
              <a:lstStyle/>
              <a:p>
                <a:pPr algn="ctr"/>
                <a:endParaRPr sz="2000"/>
              </a:p>
            </p:txBody>
          </p:sp>
        </p:grpSp>
        <p:grpSp>
          <p:nvGrpSpPr>
            <p:cNvPr id="9" name="Group 8">
              <a:extLst>
                <a:ext uri="{FF2B5EF4-FFF2-40B4-BE49-F238E27FC236}">
                  <a16:creationId xmlns:a16="http://schemas.microsoft.com/office/drawing/2014/main" id="{7099F475-9104-0E12-0888-89A4B111170B}"/>
                </a:ext>
              </a:extLst>
            </p:cNvPr>
            <p:cNvGrpSpPr/>
            <p:nvPr/>
          </p:nvGrpSpPr>
          <p:grpSpPr>
            <a:xfrm>
              <a:off x="2588740" y="1851196"/>
              <a:ext cx="166816" cy="889686"/>
              <a:chOff x="2131540" y="1223318"/>
              <a:chExt cx="166816" cy="889686"/>
            </a:xfrm>
          </p:grpSpPr>
          <p:sp>
            <p:nvSpPr>
              <p:cNvPr id="10" name="Rounded Rectangle 7">
                <a:extLst>
                  <a:ext uri="{FF2B5EF4-FFF2-40B4-BE49-F238E27FC236}">
                    <a16:creationId xmlns:a16="http://schemas.microsoft.com/office/drawing/2014/main" id="{A7EFC71A-A820-E91F-F521-D606D0CAE42E}"/>
                  </a:ext>
                </a:extLst>
              </p:cNvPr>
              <p:cNvSpPr/>
              <p:nvPr/>
            </p:nvSpPr>
            <p:spPr>
              <a:xfrm>
                <a:off x="2131540" y="1223318"/>
                <a:ext cx="166816" cy="889686"/>
              </a:xfrm>
              <a:custGeom>
                <a:avLst/>
                <a:gdLst/>
                <a:ahLst/>
                <a:cxnLst/>
                <a:rect l="0" t="0" r="0" b="0"/>
                <a:pathLst>
                  <a:path w="166816" h="889686">
                    <a:moveTo>
                      <a:pt x="0" y="0"/>
                    </a:moveTo>
                    <a:lnTo>
                      <a:pt x="18535" y="0"/>
                    </a:lnTo>
                    <a:cubicBezTo>
                      <a:pt x="100428" y="0"/>
                      <a:pt x="166816" y="66387"/>
                      <a:pt x="166816" y="148281"/>
                    </a:cubicBezTo>
                    <a:lnTo>
                      <a:pt x="0" y="148281"/>
                    </a:lnTo>
                    <a:lnTo>
                      <a:pt x="0" y="0"/>
                    </a:lnTo>
                    <a:close/>
                    <a:moveTo>
                      <a:pt x="0" y="741405"/>
                    </a:moveTo>
                    <a:lnTo>
                      <a:pt x="0" y="148281"/>
                    </a:lnTo>
                    <a:lnTo>
                      <a:pt x="166816" y="148281"/>
                    </a:lnTo>
                    <a:lnTo>
                      <a:pt x="166816" y="741405"/>
                    </a:lnTo>
                    <a:lnTo>
                      <a:pt x="0" y="741405"/>
                    </a:lnTo>
                    <a:close/>
                    <a:moveTo>
                      <a:pt x="18535" y="889686"/>
                    </a:moveTo>
                    <a:lnTo>
                      <a:pt x="0" y="889686"/>
                    </a:lnTo>
                    <a:lnTo>
                      <a:pt x="0" y="741405"/>
                    </a:lnTo>
                    <a:lnTo>
                      <a:pt x="166816" y="741405"/>
                    </a:lnTo>
                    <a:cubicBezTo>
                      <a:pt x="166816" y="823299"/>
                      <a:pt x="100428" y="889686"/>
                      <a:pt x="18535" y="889686"/>
                    </a:cubicBezTo>
                    <a:close/>
                  </a:path>
                </a:pathLst>
              </a:custGeom>
              <a:solidFill>
                <a:srgbClr val="0979E1"/>
              </a:solidFill>
              <a:ln>
                <a:noFill/>
              </a:ln>
            </p:spPr>
            <p:txBody>
              <a:bodyPr rtlCol="0" anchor="ctr"/>
              <a:lstStyle/>
              <a:p>
                <a:pPr algn="ctr"/>
                <a:endParaRPr sz="2000"/>
              </a:p>
            </p:txBody>
          </p:sp>
          <p:sp>
            <p:nvSpPr>
              <p:cNvPr id="11" name="Rounded Rectangle 8">
                <a:extLst>
                  <a:ext uri="{FF2B5EF4-FFF2-40B4-BE49-F238E27FC236}">
                    <a16:creationId xmlns:a16="http://schemas.microsoft.com/office/drawing/2014/main" id="{E7971D29-76EC-B85A-F4D5-31E113C653AF}"/>
                  </a:ext>
                </a:extLst>
              </p:cNvPr>
              <p:cNvSpPr/>
              <p:nvPr/>
            </p:nvSpPr>
            <p:spPr>
              <a:xfrm>
                <a:off x="2131540" y="1223318"/>
                <a:ext cx="166816" cy="889686"/>
              </a:xfrm>
              <a:custGeom>
                <a:avLst/>
                <a:gdLst/>
                <a:ahLst/>
                <a:cxnLst/>
                <a:rect l="0" t="0" r="0" b="0"/>
                <a:pathLst>
                  <a:path w="166816" h="889686">
                    <a:moveTo>
                      <a:pt x="0" y="0"/>
                    </a:moveTo>
                    <a:lnTo>
                      <a:pt x="18535" y="0"/>
                    </a:lnTo>
                    <a:cubicBezTo>
                      <a:pt x="100428" y="0"/>
                      <a:pt x="166816" y="66387"/>
                      <a:pt x="166816" y="148281"/>
                    </a:cubicBezTo>
                    <a:moveTo>
                      <a:pt x="0" y="889686"/>
                    </a:moveTo>
                    <a:lnTo>
                      <a:pt x="18535" y="889686"/>
                    </a:lnTo>
                    <a:cubicBezTo>
                      <a:pt x="100428" y="889686"/>
                      <a:pt x="166816" y="823299"/>
                      <a:pt x="166816" y="741405"/>
                    </a:cubicBezTo>
                    <a:moveTo>
                      <a:pt x="166816" y="741405"/>
                    </a:moveTo>
                    <a:lnTo>
                      <a:pt x="166816" y="148281"/>
                    </a:lnTo>
                  </a:path>
                </a:pathLst>
              </a:custGeom>
              <a:noFill/>
              <a:ln w="6950">
                <a:solidFill>
                  <a:srgbClr val="FFFFFF"/>
                </a:solidFill>
              </a:ln>
            </p:spPr>
            <p:txBody>
              <a:bodyPr rtlCol="0" anchor="ctr"/>
              <a:lstStyle/>
              <a:p>
                <a:pPr algn="ctr"/>
                <a:endParaRPr sz="2000"/>
              </a:p>
            </p:txBody>
          </p:sp>
        </p:grpSp>
        <p:grpSp>
          <p:nvGrpSpPr>
            <p:cNvPr id="12" name="Group 11">
              <a:extLst>
                <a:ext uri="{FF2B5EF4-FFF2-40B4-BE49-F238E27FC236}">
                  <a16:creationId xmlns:a16="http://schemas.microsoft.com/office/drawing/2014/main" id="{56E40865-1291-6ACA-8D8A-462B2AE8F542}"/>
                </a:ext>
              </a:extLst>
            </p:cNvPr>
            <p:cNvGrpSpPr/>
            <p:nvPr/>
          </p:nvGrpSpPr>
          <p:grpSpPr>
            <a:xfrm>
              <a:off x="3960340" y="1851196"/>
              <a:ext cx="1223318" cy="889686"/>
              <a:chOff x="3503140" y="1223318"/>
              <a:chExt cx="1223318" cy="889686"/>
            </a:xfrm>
          </p:grpSpPr>
          <p:sp>
            <p:nvSpPr>
              <p:cNvPr id="13" name="Rounded Rectangle 10">
                <a:extLst>
                  <a:ext uri="{FF2B5EF4-FFF2-40B4-BE49-F238E27FC236}">
                    <a16:creationId xmlns:a16="http://schemas.microsoft.com/office/drawing/2014/main" id="{D37197DF-1196-5D5B-70BC-BA6CDB465307}"/>
                  </a:ext>
                </a:extLst>
              </p:cNvPr>
              <p:cNvSpPr/>
              <p:nvPr/>
            </p:nvSpPr>
            <p:spPr>
              <a:xfrm>
                <a:off x="3503140" y="1223318"/>
                <a:ext cx="1223318" cy="889686"/>
              </a:xfrm>
              <a:custGeom>
                <a:avLst/>
                <a:gdLst/>
                <a:ahLst/>
                <a:cxnLst/>
                <a:rect l="0" t="0" r="0" b="0"/>
                <a:pathLst>
                  <a:path w="1223318" h="889686">
                    <a:moveTo>
                      <a:pt x="0" y="0"/>
                    </a:moveTo>
                    <a:lnTo>
                      <a:pt x="1223318" y="0"/>
                    </a:lnTo>
                    <a:lnTo>
                      <a:pt x="1223318" y="889686"/>
                    </a:lnTo>
                    <a:lnTo>
                      <a:pt x="0" y="889686"/>
                    </a:lnTo>
                    <a:lnTo>
                      <a:pt x="0" y="0"/>
                    </a:lnTo>
                    <a:close/>
                  </a:path>
                </a:pathLst>
              </a:custGeom>
              <a:solidFill>
                <a:srgbClr val="0D8AFF"/>
              </a:solidFill>
              <a:ln>
                <a:noFill/>
              </a:ln>
            </p:spPr>
            <p:txBody>
              <a:bodyPr rtlCol="0" anchor="ctr"/>
              <a:lstStyle/>
              <a:p>
                <a:pPr algn="ctr"/>
                <a:endParaRPr sz="2000"/>
              </a:p>
            </p:txBody>
          </p:sp>
          <p:sp>
            <p:nvSpPr>
              <p:cNvPr id="14" name="Rounded Rectangle 11">
                <a:extLst>
                  <a:ext uri="{FF2B5EF4-FFF2-40B4-BE49-F238E27FC236}">
                    <a16:creationId xmlns:a16="http://schemas.microsoft.com/office/drawing/2014/main" id="{D7284A6F-14FA-6121-3AD5-AA31371BDFDB}"/>
                  </a:ext>
                </a:extLst>
              </p:cNvPr>
              <p:cNvSpPr/>
              <p:nvPr/>
            </p:nvSpPr>
            <p:spPr>
              <a:xfrm>
                <a:off x="3503140" y="1223318"/>
                <a:ext cx="1223318" cy="889686"/>
              </a:xfrm>
              <a:custGeom>
                <a:avLst/>
                <a:gdLst/>
                <a:ahLst/>
                <a:cxnLst/>
                <a:rect l="0" t="0" r="0" b="0"/>
                <a:pathLst>
                  <a:path w="1223318" h="889686">
                    <a:moveTo>
                      <a:pt x="0" y="0"/>
                    </a:moveTo>
                    <a:lnTo>
                      <a:pt x="1223318" y="0"/>
                    </a:lnTo>
                    <a:moveTo>
                      <a:pt x="1223318" y="889686"/>
                    </a:moveTo>
                    <a:lnTo>
                      <a:pt x="0" y="889686"/>
                    </a:lnTo>
                  </a:path>
                </a:pathLst>
              </a:custGeom>
              <a:noFill/>
              <a:ln w="6950">
                <a:solidFill>
                  <a:srgbClr val="FFFFFF"/>
                </a:solidFill>
              </a:ln>
            </p:spPr>
            <p:txBody>
              <a:bodyPr rtlCol="0" anchor="ctr"/>
              <a:lstStyle/>
              <a:p>
                <a:pPr algn="ctr"/>
                <a:endParaRPr sz="2000"/>
              </a:p>
            </p:txBody>
          </p:sp>
        </p:grpSp>
        <p:grpSp>
          <p:nvGrpSpPr>
            <p:cNvPr id="15" name="Group 14">
              <a:extLst>
                <a:ext uri="{FF2B5EF4-FFF2-40B4-BE49-F238E27FC236}">
                  <a16:creationId xmlns:a16="http://schemas.microsoft.com/office/drawing/2014/main" id="{B53BC93B-E170-391F-D22E-2FA1ECF01E5D}"/>
                </a:ext>
              </a:extLst>
            </p:cNvPr>
            <p:cNvGrpSpPr/>
            <p:nvPr/>
          </p:nvGrpSpPr>
          <p:grpSpPr>
            <a:xfrm>
              <a:off x="3793524" y="1851196"/>
              <a:ext cx="166816" cy="889686"/>
              <a:chOff x="3336324" y="1223318"/>
              <a:chExt cx="166816" cy="889686"/>
            </a:xfrm>
          </p:grpSpPr>
          <p:sp>
            <p:nvSpPr>
              <p:cNvPr id="16" name="Rounded Rectangle 13">
                <a:extLst>
                  <a:ext uri="{FF2B5EF4-FFF2-40B4-BE49-F238E27FC236}">
                    <a16:creationId xmlns:a16="http://schemas.microsoft.com/office/drawing/2014/main" id="{92CE534B-F691-14EA-3ECF-7D739CF91613}"/>
                  </a:ext>
                </a:extLst>
              </p:cNvPr>
              <p:cNvSpPr/>
              <p:nvPr/>
            </p:nvSpPr>
            <p:spPr>
              <a:xfrm>
                <a:off x="3336324" y="1223318"/>
                <a:ext cx="166816" cy="889686"/>
              </a:xfrm>
              <a:custGeom>
                <a:avLst/>
                <a:gdLst/>
                <a:ahLst/>
                <a:cxnLst/>
                <a:rect l="0" t="0" r="0" b="0"/>
                <a:pathLst>
                  <a:path w="166816" h="889686">
                    <a:moveTo>
                      <a:pt x="166816" y="0"/>
                    </a:moveTo>
                    <a:lnTo>
                      <a:pt x="148281" y="0"/>
                    </a:lnTo>
                    <a:cubicBezTo>
                      <a:pt x="66387" y="0"/>
                      <a:pt x="0" y="66387"/>
                      <a:pt x="0" y="148281"/>
                    </a:cubicBezTo>
                    <a:lnTo>
                      <a:pt x="166816" y="148281"/>
                    </a:lnTo>
                    <a:lnTo>
                      <a:pt x="166816" y="0"/>
                    </a:lnTo>
                    <a:close/>
                    <a:moveTo>
                      <a:pt x="166816" y="148281"/>
                    </a:moveTo>
                    <a:lnTo>
                      <a:pt x="166816" y="741405"/>
                    </a:lnTo>
                    <a:lnTo>
                      <a:pt x="0" y="741405"/>
                    </a:lnTo>
                    <a:lnTo>
                      <a:pt x="0" y="148281"/>
                    </a:lnTo>
                    <a:lnTo>
                      <a:pt x="166816" y="148281"/>
                    </a:lnTo>
                    <a:close/>
                    <a:moveTo>
                      <a:pt x="166816" y="889686"/>
                    </a:moveTo>
                    <a:lnTo>
                      <a:pt x="148281" y="889686"/>
                    </a:lnTo>
                    <a:cubicBezTo>
                      <a:pt x="66387" y="889686"/>
                      <a:pt x="0" y="823299"/>
                      <a:pt x="0" y="741405"/>
                    </a:cubicBezTo>
                    <a:lnTo>
                      <a:pt x="166816" y="741405"/>
                    </a:lnTo>
                    <a:lnTo>
                      <a:pt x="166816" y="889686"/>
                    </a:lnTo>
                    <a:close/>
                  </a:path>
                </a:pathLst>
              </a:custGeom>
              <a:solidFill>
                <a:srgbClr val="0D8AFF"/>
              </a:solidFill>
              <a:ln>
                <a:noFill/>
              </a:ln>
            </p:spPr>
            <p:txBody>
              <a:bodyPr rtlCol="0" anchor="ctr"/>
              <a:lstStyle/>
              <a:p>
                <a:pPr algn="ctr"/>
                <a:endParaRPr sz="2000"/>
              </a:p>
            </p:txBody>
          </p:sp>
          <p:sp>
            <p:nvSpPr>
              <p:cNvPr id="17" name="Rounded Rectangle 14">
                <a:extLst>
                  <a:ext uri="{FF2B5EF4-FFF2-40B4-BE49-F238E27FC236}">
                    <a16:creationId xmlns:a16="http://schemas.microsoft.com/office/drawing/2014/main" id="{9A618CD0-6DD4-9854-2159-B50F5271E5E5}"/>
                  </a:ext>
                </a:extLst>
              </p:cNvPr>
              <p:cNvSpPr/>
              <p:nvPr/>
            </p:nvSpPr>
            <p:spPr>
              <a:xfrm>
                <a:off x="3336324" y="1223318"/>
                <a:ext cx="166816" cy="889686"/>
              </a:xfrm>
              <a:custGeom>
                <a:avLst/>
                <a:gdLst/>
                <a:ahLst/>
                <a:cxnLst/>
                <a:rect l="0" t="0" r="0" b="0"/>
                <a:pathLst>
                  <a:path w="166816" h="889686">
                    <a:moveTo>
                      <a:pt x="166816" y="0"/>
                    </a:moveTo>
                    <a:lnTo>
                      <a:pt x="148281" y="0"/>
                    </a:lnTo>
                    <a:cubicBezTo>
                      <a:pt x="66387" y="0"/>
                      <a:pt x="0" y="66387"/>
                      <a:pt x="0" y="148281"/>
                    </a:cubicBezTo>
                    <a:moveTo>
                      <a:pt x="166816" y="889686"/>
                    </a:moveTo>
                    <a:lnTo>
                      <a:pt x="148281" y="889686"/>
                    </a:lnTo>
                    <a:cubicBezTo>
                      <a:pt x="66387" y="889686"/>
                      <a:pt x="0" y="823299"/>
                      <a:pt x="0" y="741405"/>
                    </a:cubicBezTo>
                    <a:moveTo>
                      <a:pt x="0" y="741405"/>
                    </a:moveTo>
                    <a:lnTo>
                      <a:pt x="0" y="148281"/>
                    </a:lnTo>
                  </a:path>
                </a:pathLst>
              </a:custGeom>
              <a:noFill/>
              <a:ln w="6950">
                <a:solidFill>
                  <a:srgbClr val="FFFFFF"/>
                </a:solidFill>
              </a:ln>
            </p:spPr>
            <p:txBody>
              <a:bodyPr rtlCol="0" anchor="ctr"/>
              <a:lstStyle/>
              <a:p>
                <a:pPr algn="ctr"/>
                <a:endParaRPr sz="2000"/>
              </a:p>
            </p:txBody>
          </p:sp>
        </p:grpSp>
        <p:grpSp>
          <p:nvGrpSpPr>
            <p:cNvPr id="18" name="Group 17">
              <a:extLst>
                <a:ext uri="{FF2B5EF4-FFF2-40B4-BE49-F238E27FC236}">
                  <a16:creationId xmlns:a16="http://schemas.microsoft.com/office/drawing/2014/main" id="{CF1F3E20-22EE-7D21-BF17-BE0173CC7409}"/>
                </a:ext>
              </a:extLst>
            </p:cNvPr>
            <p:cNvGrpSpPr/>
            <p:nvPr/>
          </p:nvGrpSpPr>
          <p:grpSpPr>
            <a:xfrm>
              <a:off x="5183659" y="1851196"/>
              <a:ext cx="166816" cy="889686"/>
              <a:chOff x="4726459" y="1223318"/>
              <a:chExt cx="166816" cy="889686"/>
            </a:xfrm>
          </p:grpSpPr>
          <p:sp>
            <p:nvSpPr>
              <p:cNvPr id="19" name="Rounded Rectangle 16">
                <a:extLst>
                  <a:ext uri="{FF2B5EF4-FFF2-40B4-BE49-F238E27FC236}">
                    <a16:creationId xmlns:a16="http://schemas.microsoft.com/office/drawing/2014/main" id="{2C38402F-6CEC-3AEC-086B-0EF83A2CDE12}"/>
                  </a:ext>
                </a:extLst>
              </p:cNvPr>
              <p:cNvSpPr/>
              <p:nvPr/>
            </p:nvSpPr>
            <p:spPr>
              <a:xfrm>
                <a:off x="4726459" y="1223318"/>
                <a:ext cx="166816" cy="889686"/>
              </a:xfrm>
              <a:custGeom>
                <a:avLst/>
                <a:gdLst/>
                <a:ahLst/>
                <a:cxnLst/>
                <a:rect l="0" t="0" r="0" b="0"/>
                <a:pathLst>
                  <a:path w="166816" h="889686">
                    <a:moveTo>
                      <a:pt x="0" y="0"/>
                    </a:moveTo>
                    <a:lnTo>
                      <a:pt x="18535" y="0"/>
                    </a:lnTo>
                    <a:cubicBezTo>
                      <a:pt x="100428" y="0"/>
                      <a:pt x="166816" y="66387"/>
                      <a:pt x="166816" y="148281"/>
                    </a:cubicBezTo>
                    <a:lnTo>
                      <a:pt x="0" y="148281"/>
                    </a:lnTo>
                    <a:lnTo>
                      <a:pt x="0" y="0"/>
                    </a:lnTo>
                    <a:close/>
                    <a:moveTo>
                      <a:pt x="0" y="741405"/>
                    </a:moveTo>
                    <a:lnTo>
                      <a:pt x="0" y="148281"/>
                    </a:lnTo>
                    <a:lnTo>
                      <a:pt x="166816" y="148281"/>
                    </a:lnTo>
                    <a:lnTo>
                      <a:pt x="166816" y="741405"/>
                    </a:lnTo>
                    <a:lnTo>
                      <a:pt x="0" y="741405"/>
                    </a:lnTo>
                    <a:close/>
                    <a:moveTo>
                      <a:pt x="18535" y="889686"/>
                    </a:moveTo>
                    <a:lnTo>
                      <a:pt x="0" y="889686"/>
                    </a:lnTo>
                    <a:lnTo>
                      <a:pt x="0" y="741405"/>
                    </a:lnTo>
                    <a:lnTo>
                      <a:pt x="166816" y="741405"/>
                    </a:lnTo>
                    <a:cubicBezTo>
                      <a:pt x="166816" y="823299"/>
                      <a:pt x="100428" y="889686"/>
                      <a:pt x="18535" y="889686"/>
                    </a:cubicBezTo>
                    <a:close/>
                  </a:path>
                </a:pathLst>
              </a:custGeom>
              <a:solidFill>
                <a:srgbClr val="0D8AFF"/>
              </a:solidFill>
              <a:ln>
                <a:noFill/>
              </a:ln>
            </p:spPr>
            <p:txBody>
              <a:bodyPr rtlCol="0" anchor="ctr"/>
              <a:lstStyle/>
              <a:p>
                <a:pPr algn="ctr"/>
                <a:endParaRPr sz="2000"/>
              </a:p>
            </p:txBody>
          </p:sp>
          <p:sp>
            <p:nvSpPr>
              <p:cNvPr id="20" name="Rounded Rectangle 17">
                <a:extLst>
                  <a:ext uri="{FF2B5EF4-FFF2-40B4-BE49-F238E27FC236}">
                    <a16:creationId xmlns:a16="http://schemas.microsoft.com/office/drawing/2014/main" id="{644A29B5-75C8-FD18-E912-66C856D038E1}"/>
                  </a:ext>
                </a:extLst>
              </p:cNvPr>
              <p:cNvSpPr/>
              <p:nvPr/>
            </p:nvSpPr>
            <p:spPr>
              <a:xfrm>
                <a:off x="4726459" y="1223318"/>
                <a:ext cx="166816" cy="889686"/>
              </a:xfrm>
              <a:custGeom>
                <a:avLst/>
                <a:gdLst/>
                <a:ahLst/>
                <a:cxnLst/>
                <a:rect l="0" t="0" r="0" b="0"/>
                <a:pathLst>
                  <a:path w="166816" h="889686">
                    <a:moveTo>
                      <a:pt x="0" y="0"/>
                    </a:moveTo>
                    <a:lnTo>
                      <a:pt x="18535" y="0"/>
                    </a:lnTo>
                    <a:cubicBezTo>
                      <a:pt x="100428" y="0"/>
                      <a:pt x="166816" y="66387"/>
                      <a:pt x="166816" y="148281"/>
                    </a:cubicBezTo>
                    <a:moveTo>
                      <a:pt x="0" y="889686"/>
                    </a:moveTo>
                    <a:lnTo>
                      <a:pt x="18535" y="889686"/>
                    </a:lnTo>
                    <a:cubicBezTo>
                      <a:pt x="100428" y="889686"/>
                      <a:pt x="166816" y="823299"/>
                      <a:pt x="166816" y="741405"/>
                    </a:cubicBezTo>
                    <a:moveTo>
                      <a:pt x="166816" y="741405"/>
                    </a:moveTo>
                    <a:lnTo>
                      <a:pt x="166816" y="148281"/>
                    </a:lnTo>
                  </a:path>
                </a:pathLst>
              </a:custGeom>
              <a:noFill/>
              <a:ln w="6950">
                <a:solidFill>
                  <a:srgbClr val="FFFFFF"/>
                </a:solidFill>
              </a:ln>
            </p:spPr>
            <p:txBody>
              <a:bodyPr rtlCol="0" anchor="ctr"/>
              <a:lstStyle/>
              <a:p>
                <a:pPr algn="ctr"/>
                <a:endParaRPr sz="2000"/>
              </a:p>
            </p:txBody>
          </p:sp>
        </p:grpSp>
        <p:grpSp>
          <p:nvGrpSpPr>
            <p:cNvPr id="21" name="Group 20">
              <a:extLst>
                <a:ext uri="{FF2B5EF4-FFF2-40B4-BE49-F238E27FC236}">
                  <a16:creationId xmlns:a16="http://schemas.microsoft.com/office/drawing/2014/main" id="{FBB7FB22-0239-1DCF-0992-353291F60789}"/>
                </a:ext>
              </a:extLst>
            </p:cNvPr>
            <p:cNvGrpSpPr/>
            <p:nvPr/>
          </p:nvGrpSpPr>
          <p:grpSpPr>
            <a:xfrm>
              <a:off x="6555259" y="1851196"/>
              <a:ext cx="1223318" cy="889686"/>
              <a:chOff x="6098059" y="1223318"/>
              <a:chExt cx="1223318" cy="889686"/>
            </a:xfrm>
          </p:grpSpPr>
          <p:sp>
            <p:nvSpPr>
              <p:cNvPr id="22" name="Rounded Rectangle 19">
                <a:extLst>
                  <a:ext uri="{FF2B5EF4-FFF2-40B4-BE49-F238E27FC236}">
                    <a16:creationId xmlns:a16="http://schemas.microsoft.com/office/drawing/2014/main" id="{9E9591B7-54DE-B9B9-B1BF-D97003CD9298}"/>
                  </a:ext>
                </a:extLst>
              </p:cNvPr>
              <p:cNvSpPr/>
              <p:nvPr/>
            </p:nvSpPr>
            <p:spPr>
              <a:xfrm>
                <a:off x="6098059" y="1223318"/>
                <a:ext cx="1223318" cy="889686"/>
              </a:xfrm>
              <a:custGeom>
                <a:avLst/>
                <a:gdLst/>
                <a:ahLst/>
                <a:cxnLst/>
                <a:rect l="0" t="0" r="0" b="0"/>
                <a:pathLst>
                  <a:path w="1223318" h="889686">
                    <a:moveTo>
                      <a:pt x="0" y="0"/>
                    </a:moveTo>
                    <a:lnTo>
                      <a:pt x="1223318" y="0"/>
                    </a:lnTo>
                    <a:lnTo>
                      <a:pt x="1223318" y="889686"/>
                    </a:lnTo>
                    <a:lnTo>
                      <a:pt x="0" y="889686"/>
                    </a:lnTo>
                    <a:lnTo>
                      <a:pt x="0" y="0"/>
                    </a:lnTo>
                    <a:close/>
                  </a:path>
                </a:pathLst>
              </a:custGeom>
              <a:solidFill>
                <a:srgbClr val="2093FF"/>
              </a:solidFill>
              <a:ln>
                <a:noFill/>
              </a:ln>
            </p:spPr>
            <p:txBody>
              <a:bodyPr rtlCol="0" anchor="ctr"/>
              <a:lstStyle/>
              <a:p>
                <a:pPr algn="ctr"/>
                <a:endParaRPr sz="2000"/>
              </a:p>
            </p:txBody>
          </p:sp>
          <p:sp>
            <p:nvSpPr>
              <p:cNvPr id="23" name="Rounded Rectangle 20">
                <a:extLst>
                  <a:ext uri="{FF2B5EF4-FFF2-40B4-BE49-F238E27FC236}">
                    <a16:creationId xmlns:a16="http://schemas.microsoft.com/office/drawing/2014/main" id="{7B3E968D-F69C-E93A-26DE-85BCA4481BBB}"/>
                  </a:ext>
                </a:extLst>
              </p:cNvPr>
              <p:cNvSpPr/>
              <p:nvPr/>
            </p:nvSpPr>
            <p:spPr>
              <a:xfrm>
                <a:off x="6098059" y="1223318"/>
                <a:ext cx="1223318" cy="889686"/>
              </a:xfrm>
              <a:custGeom>
                <a:avLst/>
                <a:gdLst/>
                <a:ahLst/>
                <a:cxnLst/>
                <a:rect l="0" t="0" r="0" b="0"/>
                <a:pathLst>
                  <a:path w="1223318" h="889686">
                    <a:moveTo>
                      <a:pt x="0" y="0"/>
                    </a:moveTo>
                    <a:lnTo>
                      <a:pt x="1223318" y="0"/>
                    </a:lnTo>
                    <a:moveTo>
                      <a:pt x="1223318" y="889686"/>
                    </a:moveTo>
                    <a:lnTo>
                      <a:pt x="0" y="889686"/>
                    </a:lnTo>
                  </a:path>
                </a:pathLst>
              </a:custGeom>
              <a:noFill/>
              <a:ln w="6950">
                <a:solidFill>
                  <a:srgbClr val="FFFFFF"/>
                </a:solidFill>
              </a:ln>
            </p:spPr>
            <p:txBody>
              <a:bodyPr rtlCol="0" anchor="ctr"/>
              <a:lstStyle/>
              <a:p>
                <a:pPr algn="ctr"/>
                <a:endParaRPr sz="2000"/>
              </a:p>
            </p:txBody>
          </p:sp>
        </p:grpSp>
        <p:grpSp>
          <p:nvGrpSpPr>
            <p:cNvPr id="24" name="Group 23">
              <a:extLst>
                <a:ext uri="{FF2B5EF4-FFF2-40B4-BE49-F238E27FC236}">
                  <a16:creationId xmlns:a16="http://schemas.microsoft.com/office/drawing/2014/main" id="{84337E32-541F-4BF7-DB8C-FBBC46638B1B}"/>
                </a:ext>
              </a:extLst>
            </p:cNvPr>
            <p:cNvGrpSpPr/>
            <p:nvPr/>
          </p:nvGrpSpPr>
          <p:grpSpPr>
            <a:xfrm>
              <a:off x="6388443" y="1851196"/>
              <a:ext cx="166816" cy="889686"/>
              <a:chOff x="5931243" y="1223318"/>
              <a:chExt cx="166816" cy="889686"/>
            </a:xfrm>
          </p:grpSpPr>
          <p:sp>
            <p:nvSpPr>
              <p:cNvPr id="25" name="Rounded Rectangle 22">
                <a:extLst>
                  <a:ext uri="{FF2B5EF4-FFF2-40B4-BE49-F238E27FC236}">
                    <a16:creationId xmlns:a16="http://schemas.microsoft.com/office/drawing/2014/main" id="{36282057-9D4A-4BBA-F34F-B4430C414C30}"/>
                  </a:ext>
                </a:extLst>
              </p:cNvPr>
              <p:cNvSpPr/>
              <p:nvPr/>
            </p:nvSpPr>
            <p:spPr>
              <a:xfrm>
                <a:off x="5931243" y="1223318"/>
                <a:ext cx="166816" cy="889686"/>
              </a:xfrm>
              <a:custGeom>
                <a:avLst/>
                <a:gdLst/>
                <a:ahLst/>
                <a:cxnLst/>
                <a:rect l="0" t="0" r="0" b="0"/>
                <a:pathLst>
                  <a:path w="166816" h="889686">
                    <a:moveTo>
                      <a:pt x="166816" y="0"/>
                    </a:moveTo>
                    <a:lnTo>
                      <a:pt x="148281" y="0"/>
                    </a:lnTo>
                    <a:cubicBezTo>
                      <a:pt x="66387" y="0"/>
                      <a:pt x="0" y="66387"/>
                      <a:pt x="0" y="148281"/>
                    </a:cubicBezTo>
                    <a:lnTo>
                      <a:pt x="166816" y="148281"/>
                    </a:lnTo>
                    <a:lnTo>
                      <a:pt x="166816" y="0"/>
                    </a:lnTo>
                    <a:close/>
                    <a:moveTo>
                      <a:pt x="166816" y="148281"/>
                    </a:moveTo>
                    <a:lnTo>
                      <a:pt x="166816" y="741405"/>
                    </a:lnTo>
                    <a:lnTo>
                      <a:pt x="0" y="741405"/>
                    </a:lnTo>
                    <a:lnTo>
                      <a:pt x="0" y="148281"/>
                    </a:lnTo>
                    <a:lnTo>
                      <a:pt x="166816" y="148281"/>
                    </a:lnTo>
                    <a:close/>
                    <a:moveTo>
                      <a:pt x="166816" y="889686"/>
                    </a:moveTo>
                    <a:lnTo>
                      <a:pt x="148281" y="889686"/>
                    </a:lnTo>
                    <a:cubicBezTo>
                      <a:pt x="66387" y="889686"/>
                      <a:pt x="0" y="823299"/>
                      <a:pt x="0" y="741405"/>
                    </a:cubicBezTo>
                    <a:lnTo>
                      <a:pt x="166816" y="741405"/>
                    </a:lnTo>
                    <a:lnTo>
                      <a:pt x="166816" y="889686"/>
                    </a:lnTo>
                    <a:close/>
                  </a:path>
                </a:pathLst>
              </a:custGeom>
              <a:solidFill>
                <a:srgbClr val="2093FF"/>
              </a:solidFill>
              <a:ln>
                <a:noFill/>
              </a:ln>
            </p:spPr>
            <p:txBody>
              <a:bodyPr rtlCol="0" anchor="ctr"/>
              <a:lstStyle/>
              <a:p>
                <a:pPr algn="ctr"/>
                <a:endParaRPr sz="2000"/>
              </a:p>
            </p:txBody>
          </p:sp>
          <p:sp>
            <p:nvSpPr>
              <p:cNvPr id="26" name="Rounded Rectangle 23">
                <a:extLst>
                  <a:ext uri="{FF2B5EF4-FFF2-40B4-BE49-F238E27FC236}">
                    <a16:creationId xmlns:a16="http://schemas.microsoft.com/office/drawing/2014/main" id="{5B167061-1455-A919-F646-B4C4096A7024}"/>
                  </a:ext>
                </a:extLst>
              </p:cNvPr>
              <p:cNvSpPr/>
              <p:nvPr/>
            </p:nvSpPr>
            <p:spPr>
              <a:xfrm>
                <a:off x="5931243" y="1223318"/>
                <a:ext cx="166816" cy="889686"/>
              </a:xfrm>
              <a:custGeom>
                <a:avLst/>
                <a:gdLst/>
                <a:ahLst/>
                <a:cxnLst/>
                <a:rect l="0" t="0" r="0" b="0"/>
                <a:pathLst>
                  <a:path w="166816" h="889686">
                    <a:moveTo>
                      <a:pt x="166816" y="0"/>
                    </a:moveTo>
                    <a:lnTo>
                      <a:pt x="148281" y="0"/>
                    </a:lnTo>
                    <a:cubicBezTo>
                      <a:pt x="66387" y="0"/>
                      <a:pt x="0" y="66387"/>
                      <a:pt x="0" y="148281"/>
                    </a:cubicBezTo>
                    <a:moveTo>
                      <a:pt x="166816" y="889686"/>
                    </a:moveTo>
                    <a:lnTo>
                      <a:pt x="148281" y="889686"/>
                    </a:lnTo>
                    <a:cubicBezTo>
                      <a:pt x="66387" y="889686"/>
                      <a:pt x="0" y="823299"/>
                      <a:pt x="0" y="741405"/>
                    </a:cubicBezTo>
                    <a:moveTo>
                      <a:pt x="0" y="741405"/>
                    </a:moveTo>
                    <a:lnTo>
                      <a:pt x="0" y="148281"/>
                    </a:lnTo>
                  </a:path>
                </a:pathLst>
              </a:custGeom>
              <a:noFill/>
              <a:ln w="6950">
                <a:solidFill>
                  <a:srgbClr val="FFFFFF"/>
                </a:solidFill>
              </a:ln>
            </p:spPr>
            <p:txBody>
              <a:bodyPr rtlCol="0" anchor="ctr"/>
              <a:lstStyle/>
              <a:p>
                <a:pPr algn="ctr"/>
                <a:endParaRPr sz="2000"/>
              </a:p>
            </p:txBody>
          </p:sp>
        </p:grpSp>
        <p:grpSp>
          <p:nvGrpSpPr>
            <p:cNvPr id="27" name="Group 26">
              <a:extLst>
                <a:ext uri="{FF2B5EF4-FFF2-40B4-BE49-F238E27FC236}">
                  <a16:creationId xmlns:a16="http://schemas.microsoft.com/office/drawing/2014/main" id="{4D8AA619-9DE6-0DCB-A355-D9547455F4AD}"/>
                </a:ext>
              </a:extLst>
            </p:cNvPr>
            <p:cNvGrpSpPr/>
            <p:nvPr/>
          </p:nvGrpSpPr>
          <p:grpSpPr>
            <a:xfrm>
              <a:off x="7778578" y="1851196"/>
              <a:ext cx="166816" cy="889686"/>
              <a:chOff x="7321378" y="1223318"/>
              <a:chExt cx="166816" cy="889686"/>
            </a:xfrm>
          </p:grpSpPr>
          <p:sp>
            <p:nvSpPr>
              <p:cNvPr id="28" name="Rounded Rectangle 25">
                <a:extLst>
                  <a:ext uri="{FF2B5EF4-FFF2-40B4-BE49-F238E27FC236}">
                    <a16:creationId xmlns:a16="http://schemas.microsoft.com/office/drawing/2014/main" id="{239C6251-D4ED-C971-8EBB-4BCBAE8769A2}"/>
                  </a:ext>
                </a:extLst>
              </p:cNvPr>
              <p:cNvSpPr/>
              <p:nvPr/>
            </p:nvSpPr>
            <p:spPr>
              <a:xfrm>
                <a:off x="7321378" y="1223318"/>
                <a:ext cx="166816" cy="889686"/>
              </a:xfrm>
              <a:custGeom>
                <a:avLst/>
                <a:gdLst/>
                <a:ahLst/>
                <a:cxnLst/>
                <a:rect l="0" t="0" r="0" b="0"/>
                <a:pathLst>
                  <a:path w="166816" h="889686">
                    <a:moveTo>
                      <a:pt x="0" y="0"/>
                    </a:moveTo>
                    <a:lnTo>
                      <a:pt x="18535" y="0"/>
                    </a:lnTo>
                    <a:cubicBezTo>
                      <a:pt x="100428" y="0"/>
                      <a:pt x="166816" y="66387"/>
                      <a:pt x="166816" y="148281"/>
                    </a:cubicBezTo>
                    <a:lnTo>
                      <a:pt x="0" y="148281"/>
                    </a:lnTo>
                    <a:lnTo>
                      <a:pt x="0" y="0"/>
                    </a:lnTo>
                    <a:close/>
                    <a:moveTo>
                      <a:pt x="0" y="741405"/>
                    </a:moveTo>
                    <a:lnTo>
                      <a:pt x="0" y="148281"/>
                    </a:lnTo>
                    <a:lnTo>
                      <a:pt x="166816" y="148281"/>
                    </a:lnTo>
                    <a:lnTo>
                      <a:pt x="166816" y="741405"/>
                    </a:lnTo>
                    <a:lnTo>
                      <a:pt x="0" y="741405"/>
                    </a:lnTo>
                    <a:close/>
                    <a:moveTo>
                      <a:pt x="18535" y="889686"/>
                    </a:moveTo>
                    <a:lnTo>
                      <a:pt x="0" y="889686"/>
                    </a:lnTo>
                    <a:lnTo>
                      <a:pt x="0" y="741405"/>
                    </a:lnTo>
                    <a:lnTo>
                      <a:pt x="166816" y="741405"/>
                    </a:lnTo>
                    <a:cubicBezTo>
                      <a:pt x="166816" y="823299"/>
                      <a:pt x="100428" y="889686"/>
                      <a:pt x="18535" y="889686"/>
                    </a:cubicBezTo>
                    <a:close/>
                  </a:path>
                </a:pathLst>
              </a:custGeom>
              <a:solidFill>
                <a:srgbClr val="2093FF"/>
              </a:solidFill>
              <a:ln>
                <a:noFill/>
              </a:ln>
            </p:spPr>
            <p:txBody>
              <a:bodyPr rtlCol="0" anchor="ctr"/>
              <a:lstStyle/>
              <a:p>
                <a:pPr algn="ctr"/>
                <a:endParaRPr sz="2000"/>
              </a:p>
            </p:txBody>
          </p:sp>
          <p:sp>
            <p:nvSpPr>
              <p:cNvPr id="29" name="Rounded Rectangle 26">
                <a:extLst>
                  <a:ext uri="{FF2B5EF4-FFF2-40B4-BE49-F238E27FC236}">
                    <a16:creationId xmlns:a16="http://schemas.microsoft.com/office/drawing/2014/main" id="{A17CBF39-2FBF-2537-EEF6-AF4127211618}"/>
                  </a:ext>
                </a:extLst>
              </p:cNvPr>
              <p:cNvSpPr/>
              <p:nvPr/>
            </p:nvSpPr>
            <p:spPr>
              <a:xfrm>
                <a:off x="7321378" y="1223318"/>
                <a:ext cx="166816" cy="889686"/>
              </a:xfrm>
              <a:custGeom>
                <a:avLst/>
                <a:gdLst/>
                <a:ahLst/>
                <a:cxnLst/>
                <a:rect l="0" t="0" r="0" b="0"/>
                <a:pathLst>
                  <a:path w="166816" h="889686">
                    <a:moveTo>
                      <a:pt x="0" y="0"/>
                    </a:moveTo>
                    <a:lnTo>
                      <a:pt x="18535" y="0"/>
                    </a:lnTo>
                    <a:cubicBezTo>
                      <a:pt x="100428" y="0"/>
                      <a:pt x="166816" y="66387"/>
                      <a:pt x="166816" y="148281"/>
                    </a:cubicBezTo>
                    <a:moveTo>
                      <a:pt x="0" y="889686"/>
                    </a:moveTo>
                    <a:lnTo>
                      <a:pt x="18535" y="889686"/>
                    </a:lnTo>
                    <a:cubicBezTo>
                      <a:pt x="100428" y="889686"/>
                      <a:pt x="166816" y="823299"/>
                      <a:pt x="166816" y="741405"/>
                    </a:cubicBezTo>
                    <a:moveTo>
                      <a:pt x="166816" y="741405"/>
                    </a:moveTo>
                    <a:lnTo>
                      <a:pt x="166816" y="148281"/>
                    </a:lnTo>
                  </a:path>
                </a:pathLst>
              </a:custGeom>
              <a:noFill/>
              <a:ln w="6950">
                <a:solidFill>
                  <a:srgbClr val="FFFFFF"/>
                </a:solidFill>
              </a:ln>
            </p:spPr>
            <p:txBody>
              <a:bodyPr rtlCol="0" anchor="ctr"/>
              <a:lstStyle/>
              <a:p>
                <a:pPr algn="ctr"/>
                <a:endParaRPr sz="2000"/>
              </a:p>
            </p:txBody>
          </p:sp>
        </p:grpSp>
        <p:grpSp>
          <p:nvGrpSpPr>
            <p:cNvPr id="30" name="Group 29">
              <a:extLst>
                <a:ext uri="{FF2B5EF4-FFF2-40B4-BE49-F238E27FC236}">
                  <a16:creationId xmlns:a16="http://schemas.microsoft.com/office/drawing/2014/main" id="{61C19ED0-FF6F-3289-B237-5CED12E332D0}"/>
                </a:ext>
              </a:extLst>
            </p:cNvPr>
            <p:cNvGrpSpPr/>
            <p:nvPr/>
          </p:nvGrpSpPr>
          <p:grpSpPr>
            <a:xfrm>
              <a:off x="3061386" y="3104172"/>
              <a:ext cx="376262" cy="51898"/>
              <a:chOff x="2604186" y="2476294"/>
              <a:chExt cx="376262" cy="51898"/>
            </a:xfrm>
          </p:grpSpPr>
          <p:sp>
            <p:nvSpPr>
              <p:cNvPr id="31" name="Rounded Rectangle 28">
                <a:extLst>
                  <a:ext uri="{FF2B5EF4-FFF2-40B4-BE49-F238E27FC236}">
                    <a16:creationId xmlns:a16="http://schemas.microsoft.com/office/drawing/2014/main" id="{0787F062-4504-B854-742A-127F5AD8BE31}"/>
                  </a:ext>
                </a:extLst>
              </p:cNvPr>
              <p:cNvSpPr/>
              <p:nvPr/>
            </p:nvSpPr>
            <p:spPr>
              <a:xfrm>
                <a:off x="2604186" y="2502243"/>
                <a:ext cx="363010" cy="9267"/>
              </a:xfrm>
              <a:custGeom>
                <a:avLst/>
                <a:gdLst/>
                <a:ahLst/>
                <a:cxnLst/>
                <a:rect l="0" t="0" r="0" b="0"/>
                <a:pathLst>
                  <a:path w="363010" h="9267">
                    <a:moveTo>
                      <a:pt x="363010" y="0"/>
                    </a:moveTo>
                    <a:lnTo>
                      <a:pt x="0" y="0"/>
                    </a:lnTo>
                  </a:path>
                </a:pathLst>
              </a:custGeom>
              <a:noFill/>
              <a:ln w="6950">
                <a:solidFill>
                  <a:srgbClr val="077BE7"/>
                </a:solidFill>
              </a:ln>
            </p:spPr>
            <p:txBody>
              <a:bodyPr rtlCol="0" anchor="ctr"/>
              <a:lstStyle/>
              <a:p>
                <a:pPr algn="ctr"/>
                <a:endParaRPr sz="2000"/>
              </a:p>
            </p:txBody>
          </p:sp>
          <p:sp>
            <p:nvSpPr>
              <p:cNvPr id="32" name="Rounded Rectangle 29">
                <a:extLst>
                  <a:ext uri="{FF2B5EF4-FFF2-40B4-BE49-F238E27FC236}">
                    <a16:creationId xmlns:a16="http://schemas.microsoft.com/office/drawing/2014/main" id="{453B9F02-EA7E-3321-E064-7A5F8C88E187}"/>
                  </a:ext>
                </a:extLst>
              </p:cNvPr>
              <p:cNvSpPr/>
              <p:nvPr/>
            </p:nvSpPr>
            <p:spPr>
              <a:xfrm>
                <a:off x="2934111" y="2476294"/>
                <a:ext cx="46337" cy="51898"/>
              </a:xfrm>
              <a:custGeom>
                <a:avLst/>
                <a:gdLst/>
                <a:ahLst/>
                <a:cxnLst/>
                <a:rect l="0" t="0" r="0" b="0"/>
                <a:pathLst>
                  <a:path w="46337" h="51898">
                    <a:moveTo>
                      <a:pt x="46337" y="25949"/>
                    </a:moveTo>
                    <a:lnTo>
                      <a:pt x="0" y="51898"/>
                    </a:lnTo>
                    <a:lnTo>
                      <a:pt x="0" y="0"/>
                    </a:lnTo>
                    <a:close/>
                  </a:path>
                </a:pathLst>
              </a:custGeom>
              <a:solidFill>
                <a:srgbClr val="077BE7"/>
              </a:solidFill>
              <a:ln w="6950">
                <a:solidFill>
                  <a:srgbClr val="077BE7"/>
                </a:solidFill>
              </a:ln>
            </p:spPr>
            <p:txBody>
              <a:bodyPr rtlCol="0" anchor="ctr"/>
              <a:lstStyle/>
              <a:p>
                <a:pPr algn="ctr"/>
                <a:endParaRPr sz="2000"/>
              </a:p>
            </p:txBody>
          </p:sp>
        </p:grpSp>
        <p:grpSp>
          <p:nvGrpSpPr>
            <p:cNvPr id="33" name="Group 32">
              <a:extLst>
                <a:ext uri="{FF2B5EF4-FFF2-40B4-BE49-F238E27FC236}">
                  <a16:creationId xmlns:a16="http://schemas.microsoft.com/office/drawing/2014/main" id="{743F8399-AAB4-B962-009F-9DB1EDB1C56C}"/>
                </a:ext>
              </a:extLst>
            </p:cNvPr>
            <p:cNvGrpSpPr/>
            <p:nvPr/>
          </p:nvGrpSpPr>
          <p:grpSpPr>
            <a:xfrm>
              <a:off x="5656305" y="3104172"/>
              <a:ext cx="376262" cy="51898"/>
              <a:chOff x="5199105" y="2476294"/>
              <a:chExt cx="376262" cy="51898"/>
            </a:xfrm>
          </p:grpSpPr>
          <p:sp>
            <p:nvSpPr>
              <p:cNvPr id="34" name="Rounded Rectangle 31">
                <a:extLst>
                  <a:ext uri="{FF2B5EF4-FFF2-40B4-BE49-F238E27FC236}">
                    <a16:creationId xmlns:a16="http://schemas.microsoft.com/office/drawing/2014/main" id="{474AF51D-F8BF-89A5-E538-90DDEA5C761A}"/>
                  </a:ext>
                </a:extLst>
              </p:cNvPr>
              <p:cNvSpPr/>
              <p:nvPr/>
            </p:nvSpPr>
            <p:spPr>
              <a:xfrm>
                <a:off x="5199105" y="2502243"/>
                <a:ext cx="363010" cy="9267"/>
              </a:xfrm>
              <a:custGeom>
                <a:avLst/>
                <a:gdLst/>
                <a:ahLst/>
                <a:cxnLst/>
                <a:rect l="0" t="0" r="0" b="0"/>
                <a:pathLst>
                  <a:path w="363010" h="9267">
                    <a:moveTo>
                      <a:pt x="363010" y="0"/>
                    </a:moveTo>
                    <a:lnTo>
                      <a:pt x="0" y="0"/>
                    </a:lnTo>
                  </a:path>
                </a:pathLst>
              </a:custGeom>
              <a:noFill/>
              <a:ln w="6950">
                <a:solidFill>
                  <a:srgbClr val="077BE7"/>
                </a:solidFill>
              </a:ln>
            </p:spPr>
            <p:txBody>
              <a:bodyPr rtlCol="0" anchor="ctr"/>
              <a:lstStyle/>
              <a:p>
                <a:pPr algn="ctr"/>
                <a:endParaRPr sz="2000"/>
              </a:p>
            </p:txBody>
          </p:sp>
          <p:sp>
            <p:nvSpPr>
              <p:cNvPr id="35" name="Rounded Rectangle 32">
                <a:extLst>
                  <a:ext uri="{FF2B5EF4-FFF2-40B4-BE49-F238E27FC236}">
                    <a16:creationId xmlns:a16="http://schemas.microsoft.com/office/drawing/2014/main" id="{5DA8097F-4E47-1954-1042-531895F5B59E}"/>
                  </a:ext>
                </a:extLst>
              </p:cNvPr>
              <p:cNvSpPr/>
              <p:nvPr/>
            </p:nvSpPr>
            <p:spPr>
              <a:xfrm>
                <a:off x="5529030" y="2476294"/>
                <a:ext cx="46337" cy="51898"/>
              </a:xfrm>
              <a:custGeom>
                <a:avLst/>
                <a:gdLst/>
                <a:ahLst/>
                <a:cxnLst/>
                <a:rect l="0" t="0" r="0" b="0"/>
                <a:pathLst>
                  <a:path w="46337" h="51898">
                    <a:moveTo>
                      <a:pt x="46337" y="25949"/>
                    </a:moveTo>
                    <a:lnTo>
                      <a:pt x="0" y="51898"/>
                    </a:lnTo>
                    <a:lnTo>
                      <a:pt x="0" y="0"/>
                    </a:lnTo>
                    <a:close/>
                  </a:path>
                </a:pathLst>
              </a:custGeom>
              <a:solidFill>
                <a:srgbClr val="077BE7"/>
              </a:solidFill>
              <a:ln w="6950">
                <a:solidFill>
                  <a:srgbClr val="077BE7"/>
                </a:solidFill>
              </a:ln>
            </p:spPr>
            <p:txBody>
              <a:bodyPr rtlCol="0" anchor="ctr"/>
              <a:lstStyle/>
              <a:p>
                <a:pPr algn="ctr"/>
                <a:endParaRPr sz="2000"/>
              </a:p>
            </p:txBody>
          </p:sp>
        </p:grpSp>
        <p:grpSp>
          <p:nvGrpSpPr>
            <p:cNvPr id="36" name="Group 35">
              <a:extLst>
                <a:ext uri="{FF2B5EF4-FFF2-40B4-BE49-F238E27FC236}">
                  <a16:creationId xmlns:a16="http://schemas.microsoft.com/office/drawing/2014/main" id="{9B645A00-9E19-C225-B315-FAD2A847D358}"/>
                </a:ext>
              </a:extLst>
            </p:cNvPr>
            <p:cNvGrpSpPr/>
            <p:nvPr/>
          </p:nvGrpSpPr>
          <p:grpSpPr>
            <a:xfrm>
              <a:off x="902043" y="2518461"/>
              <a:ext cx="2150075" cy="1056502"/>
              <a:chOff x="444843" y="1890583"/>
              <a:chExt cx="2150075" cy="1056502"/>
            </a:xfrm>
          </p:grpSpPr>
          <p:sp>
            <p:nvSpPr>
              <p:cNvPr id="37" name="Rounded Rectangle 34">
                <a:extLst>
                  <a:ext uri="{FF2B5EF4-FFF2-40B4-BE49-F238E27FC236}">
                    <a16:creationId xmlns:a16="http://schemas.microsoft.com/office/drawing/2014/main" id="{58E32436-F73E-4719-83AE-1887373F4FE5}"/>
                  </a:ext>
                </a:extLst>
              </p:cNvPr>
              <p:cNvSpPr/>
              <p:nvPr/>
            </p:nvSpPr>
            <p:spPr>
              <a:xfrm>
                <a:off x="444843" y="1890583"/>
                <a:ext cx="2150075" cy="1056502"/>
              </a:xfrm>
              <a:custGeom>
                <a:avLst/>
                <a:gdLst/>
                <a:ahLst/>
                <a:cxnLst/>
                <a:rect l="0" t="0" r="0" b="0"/>
                <a:pathLst>
                  <a:path w="2150075" h="1056502">
                    <a:moveTo>
                      <a:pt x="2150075" y="231689"/>
                    </a:moveTo>
                    <a:lnTo>
                      <a:pt x="2150075" y="444843"/>
                    </a:lnTo>
                    <a:lnTo>
                      <a:pt x="0" y="444843"/>
                    </a:lnTo>
                    <a:lnTo>
                      <a:pt x="0" y="231689"/>
                    </a:lnTo>
                    <a:lnTo>
                      <a:pt x="2150075" y="231689"/>
                    </a:lnTo>
                    <a:close/>
                    <a:moveTo>
                      <a:pt x="0" y="231689"/>
                    </a:moveTo>
                    <a:lnTo>
                      <a:pt x="0" y="148281"/>
                    </a:lnTo>
                    <a:cubicBezTo>
                      <a:pt x="0" y="66386"/>
                      <a:pt x="66384" y="0"/>
                      <a:pt x="148281" y="0"/>
                    </a:cubicBezTo>
                    <a:lnTo>
                      <a:pt x="287294" y="0"/>
                    </a:lnTo>
                    <a:lnTo>
                      <a:pt x="287294" y="74140"/>
                    </a:lnTo>
                    <a:cubicBezTo>
                      <a:pt x="287294" y="166816"/>
                      <a:pt x="362946" y="231689"/>
                      <a:pt x="444843" y="231689"/>
                    </a:cubicBezTo>
                    <a:lnTo>
                      <a:pt x="463378" y="231689"/>
                    </a:lnTo>
                    <a:lnTo>
                      <a:pt x="0" y="231689"/>
                    </a:lnTo>
                    <a:close/>
                    <a:moveTo>
                      <a:pt x="2150075" y="231689"/>
                    </a:moveTo>
                    <a:lnTo>
                      <a:pt x="2150075" y="148281"/>
                    </a:lnTo>
                    <a:cubicBezTo>
                      <a:pt x="2150075" y="66386"/>
                      <a:pt x="2083691" y="0"/>
                      <a:pt x="2001794" y="0"/>
                    </a:cubicBezTo>
                    <a:lnTo>
                      <a:pt x="1862781" y="0"/>
                    </a:lnTo>
                    <a:lnTo>
                      <a:pt x="1862781" y="74140"/>
                    </a:lnTo>
                    <a:cubicBezTo>
                      <a:pt x="1862781" y="166816"/>
                      <a:pt x="1787129" y="231689"/>
                      <a:pt x="1705232" y="231689"/>
                    </a:cubicBezTo>
                    <a:lnTo>
                      <a:pt x="1686697" y="231689"/>
                    </a:lnTo>
                    <a:lnTo>
                      <a:pt x="2150075" y="231689"/>
                    </a:lnTo>
                    <a:close/>
                    <a:moveTo>
                      <a:pt x="0" y="444843"/>
                    </a:moveTo>
                    <a:lnTo>
                      <a:pt x="2150075" y="444843"/>
                    </a:lnTo>
                    <a:lnTo>
                      <a:pt x="2150075" y="889686"/>
                    </a:lnTo>
                    <a:lnTo>
                      <a:pt x="0" y="889686"/>
                    </a:lnTo>
                    <a:lnTo>
                      <a:pt x="0" y="444843"/>
                    </a:lnTo>
                    <a:close/>
                    <a:moveTo>
                      <a:pt x="0" y="889686"/>
                    </a:moveTo>
                    <a:lnTo>
                      <a:pt x="2150075" y="889686"/>
                    </a:lnTo>
                    <a:lnTo>
                      <a:pt x="2150075" y="908221"/>
                    </a:lnTo>
                    <a:cubicBezTo>
                      <a:pt x="2150075" y="990115"/>
                      <a:pt x="2083688" y="1056502"/>
                      <a:pt x="2001794" y="1056502"/>
                    </a:cubicBezTo>
                    <a:lnTo>
                      <a:pt x="148281" y="1056502"/>
                    </a:lnTo>
                    <a:cubicBezTo>
                      <a:pt x="66387" y="1056502"/>
                      <a:pt x="0" y="990115"/>
                      <a:pt x="0" y="908221"/>
                    </a:cubicBezTo>
                    <a:lnTo>
                      <a:pt x="0" y="889686"/>
                    </a:lnTo>
                    <a:close/>
                  </a:path>
                </a:pathLst>
              </a:custGeom>
              <a:solidFill>
                <a:srgbClr val="0979E1"/>
              </a:solidFill>
              <a:ln>
                <a:noFill/>
              </a:ln>
            </p:spPr>
            <p:txBody>
              <a:bodyPr rtlCol="0" anchor="ctr"/>
              <a:lstStyle/>
              <a:p>
                <a:pPr algn="ctr"/>
                <a:endParaRPr sz="2000"/>
              </a:p>
            </p:txBody>
          </p:sp>
          <p:sp>
            <p:nvSpPr>
              <p:cNvPr id="38" name="Rounded Rectangle 35">
                <a:extLst>
                  <a:ext uri="{FF2B5EF4-FFF2-40B4-BE49-F238E27FC236}">
                    <a16:creationId xmlns:a16="http://schemas.microsoft.com/office/drawing/2014/main" id="{10EEF7C9-729A-D3EB-6053-155C2D7B2447}"/>
                  </a:ext>
                </a:extLst>
              </p:cNvPr>
              <p:cNvSpPr/>
              <p:nvPr/>
            </p:nvSpPr>
            <p:spPr>
              <a:xfrm>
                <a:off x="444843" y="1890583"/>
                <a:ext cx="2150075" cy="1056502"/>
              </a:xfrm>
              <a:custGeom>
                <a:avLst/>
                <a:gdLst/>
                <a:ahLst/>
                <a:cxnLst/>
                <a:rect l="0" t="0" r="0" b="0"/>
                <a:pathLst>
                  <a:path w="2150075" h="1056502">
                    <a:moveTo>
                      <a:pt x="2150075" y="333632"/>
                    </a:moveTo>
                    <a:lnTo>
                      <a:pt x="2150075" y="889686"/>
                    </a:lnTo>
                    <a:moveTo>
                      <a:pt x="0" y="889686"/>
                    </a:moveTo>
                    <a:lnTo>
                      <a:pt x="0" y="333632"/>
                    </a:lnTo>
                    <a:moveTo>
                      <a:pt x="2150075" y="889686"/>
                    </a:moveTo>
                    <a:lnTo>
                      <a:pt x="2150075" y="908221"/>
                    </a:lnTo>
                    <a:cubicBezTo>
                      <a:pt x="2150075" y="990115"/>
                      <a:pt x="2083688" y="1056502"/>
                      <a:pt x="2001794" y="1056502"/>
                    </a:cubicBezTo>
                    <a:lnTo>
                      <a:pt x="148281" y="1056502"/>
                    </a:lnTo>
                    <a:cubicBezTo>
                      <a:pt x="66387" y="1056502"/>
                      <a:pt x="0" y="990115"/>
                      <a:pt x="0" y="908221"/>
                    </a:cubicBezTo>
                    <a:lnTo>
                      <a:pt x="0" y="889686"/>
                    </a:lnTo>
                    <a:moveTo>
                      <a:pt x="0" y="333632"/>
                    </a:moveTo>
                    <a:lnTo>
                      <a:pt x="0" y="148281"/>
                    </a:lnTo>
                    <a:cubicBezTo>
                      <a:pt x="0" y="66387"/>
                      <a:pt x="66387" y="0"/>
                      <a:pt x="148281" y="0"/>
                    </a:cubicBezTo>
                    <a:lnTo>
                      <a:pt x="296562" y="0"/>
                    </a:lnTo>
                    <a:moveTo>
                      <a:pt x="2150075" y="333632"/>
                    </a:moveTo>
                    <a:lnTo>
                      <a:pt x="2150075" y="148281"/>
                    </a:lnTo>
                    <a:cubicBezTo>
                      <a:pt x="2150075" y="66387"/>
                      <a:pt x="2083688" y="0"/>
                      <a:pt x="2001794" y="0"/>
                    </a:cubicBezTo>
                    <a:lnTo>
                      <a:pt x="1853513" y="0"/>
                    </a:lnTo>
                  </a:path>
                </a:pathLst>
              </a:custGeom>
              <a:noFill/>
              <a:ln w="6950">
                <a:solidFill>
                  <a:srgbClr val="FFFFFF"/>
                </a:solidFill>
              </a:ln>
            </p:spPr>
            <p:txBody>
              <a:bodyPr rtlCol="0" anchor="ctr"/>
              <a:lstStyle/>
              <a:p>
                <a:pPr algn="ctr"/>
                <a:endParaRPr sz="2000"/>
              </a:p>
            </p:txBody>
          </p:sp>
        </p:grpSp>
        <p:grpSp>
          <p:nvGrpSpPr>
            <p:cNvPr id="39" name="Group 38">
              <a:extLst>
                <a:ext uri="{FF2B5EF4-FFF2-40B4-BE49-F238E27FC236}">
                  <a16:creationId xmlns:a16="http://schemas.microsoft.com/office/drawing/2014/main" id="{01C4C894-B91F-20CC-541F-14FC488AD289}"/>
                </a:ext>
              </a:extLst>
            </p:cNvPr>
            <p:cNvGrpSpPr/>
            <p:nvPr/>
          </p:nvGrpSpPr>
          <p:grpSpPr>
            <a:xfrm>
              <a:off x="3496962" y="2518461"/>
              <a:ext cx="2150075" cy="1056502"/>
              <a:chOff x="3039762" y="1890583"/>
              <a:chExt cx="2150075" cy="1056502"/>
            </a:xfrm>
          </p:grpSpPr>
          <p:sp>
            <p:nvSpPr>
              <p:cNvPr id="40" name="Rounded Rectangle 37">
                <a:extLst>
                  <a:ext uri="{FF2B5EF4-FFF2-40B4-BE49-F238E27FC236}">
                    <a16:creationId xmlns:a16="http://schemas.microsoft.com/office/drawing/2014/main" id="{408A112A-A0FC-B887-DA41-2ABB597D95BA}"/>
                  </a:ext>
                </a:extLst>
              </p:cNvPr>
              <p:cNvSpPr/>
              <p:nvPr/>
            </p:nvSpPr>
            <p:spPr>
              <a:xfrm>
                <a:off x="3039762" y="1890583"/>
                <a:ext cx="2150075" cy="1056502"/>
              </a:xfrm>
              <a:custGeom>
                <a:avLst/>
                <a:gdLst/>
                <a:ahLst/>
                <a:cxnLst/>
                <a:rect l="0" t="0" r="0" b="0"/>
                <a:pathLst>
                  <a:path w="2150075" h="1056502">
                    <a:moveTo>
                      <a:pt x="2150075" y="231689"/>
                    </a:moveTo>
                    <a:lnTo>
                      <a:pt x="2150075" y="444843"/>
                    </a:lnTo>
                    <a:lnTo>
                      <a:pt x="0" y="444843"/>
                    </a:lnTo>
                    <a:lnTo>
                      <a:pt x="0" y="231689"/>
                    </a:lnTo>
                    <a:lnTo>
                      <a:pt x="2150075" y="231689"/>
                    </a:lnTo>
                    <a:close/>
                    <a:moveTo>
                      <a:pt x="0" y="231689"/>
                    </a:moveTo>
                    <a:lnTo>
                      <a:pt x="0" y="148281"/>
                    </a:lnTo>
                    <a:cubicBezTo>
                      <a:pt x="0" y="66386"/>
                      <a:pt x="66384" y="0"/>
                      <a:pt x="148281" y="0"/>
                    </a:cubicBezTo>
                    <a:lnTo>
                      <a:pt x="287294" y="0"/>
                    </a:lnTo>
                    <a:lnTo>
                      <a:pt x="287294" y="74140"/>
                    </a:lnTo>
                    <a:cubicBezTo>
                      <a:pt x="287294" y="166816"/>
                      <a:pt x="362946" y="231689"/>
                      <a:pt x="444843" y="231689"/>
                    </a:cubicBezTo>
                    <a:lnTo>
                      <a:pt x="463378" y="231689"/>
                    </a:lnTo>
                    <a:lnTo>
                      <a:pt x="0" y="231689"/>
                    </a:lnTo>
                    <a:close/>
                    <a:moveTo>
                      <a:pt x="2150075" y="231689"/>
                    </a:moveTo>
                    <a:lnTo>
                      <a:pt x="2150075" y="148281"/>
                    </a:lnTo>
                    <a:cubicBezTo>
                      <a:pt x="2150075" y="66386"/>
                      <a:pt x="2083691" y="0"/>
                      <a:pt x="2001794" y="0"/>
                    </a:cubicBezTo>
                    <a:lnTo>
                      <a:pt x="1862781" y="0"/>
                    </a:lnTo>
                    <a:lnTo>
                      <a:pt x="1862781" y="74140"/>
                    </a:lnTo>
                    <a:cubicBezTo>
                      <a:pt x="1862781" y="166816"/>
                      <a:pt x="1787129" y="231689"/>
                      <a:pt x="1705232" y="231689"/>
                    </a:cubicBezTo>
                    <a:lnTo>
                      <a:pt x="1686697" y="231689"/>
                    </a:lnTo>
                    <a:lnTo>
                      <a:pt x="2150075" y="231689"/>
                    </a:lnTo>
                    <a:close/>
                    <a:moveTo>
                      <a:pt x="0" y="444843"/>
                    </a:moveTo>
                    <a:lnTo>
                      <a:pt x="2150075" y="444843"/>
                    </a:lnTo>
                    <a:lnTo>
                      <a:pt x="2150075" y="889686"/>
                    </a:lnTo>
                    <a:lnTo>
                      <a:pt x="0" y="889686"/>
                    </a:lnTo>
                    <a:lnTo>
                      <a:pt x="0" y="444843"/>
                    </a:lnTo>
                    <a:close/>
                    <a:moveTo>
                      <a:pt x="0" y="889686"/>
                    </a:moveTo>
                    <a:lnTo>
                      <a:pt x="2150075" y="889686"/>
                    </a:lnTo>
                    <a:lnTo>
                      <a:pt x="2150075" y="908221"/>
                    </a:lnTo>
                    <a:cubicBezTo>
                      <a:pt x="2150075" y="990115"/>
                      <a:pt x="2083688" y="1056502"/>
                      <a:pt x="2001794" y="1056502"/>
                    </a:cubicBezTo>
                    <a:lnTo>
                      <a:pt x="148281" y="1056502"/>
                    </a:lnTo>
                    <a:cubicBezTo>
                      <a:pt x="66387" y="1056502"/>
                      <a:pt x="0" y="990115"/>
                      <a:pt x="0" y="908221"/>
                    </a:cubicBezTo>
                    <a:lnTo>
                      <a:pt x="0" y="889686"/>
                    </a:lnTo>
                    <a:close/>
                  </a:path>
                </a:pathLst>
              </a:custGeom>
              <a:solidFill>
                <a:srgbClr val="0D8AFF"/>
              </a:solidFill>
              <a:ln>
                <a:noFill/>
              </a:ln>
            </p:spPr>
            <p:txBody>
              <a:bodyPr rtlCol="0" anchor="ctr"/>
              <a:lstStyle/>
              <a:p>
                <a:pPr algn="ctr"/>
                <a:endParaRPr sz="2000"/>
              </a:p>
            </p:txBody>
          </p:sp>
          <p:sp>
            <p:nvSpPr>
              <p:cNvPr id="41" name="Rounded Rectangle 38">
                <a:extLst>
                  <a:ext uri="{FF2B5EF4-FFF2-40B4-BE49-F238E27FC236}">
                    <a16:creationId xmlns:a16="http://schemas.microsoft.com/office/drawing/2014/main" id="{A189E9D9-4594-9E66-3891-F75DDA6AA15A}"/>
                  </a:ext>
                </a:extLst>
              </p:cNvPr>
              <p:cNvSpPr/>
              <p:nvPr/>
            </p:nvSpPr>
            <p:spPr>
              <a:xfrm>
                <a:off x="3039762" y="1890583"/>
                <a:ext cx="2150075" cy="1056502"/>
              </a:xfrm>
              <a:custGeom>
                <a:avLst/>
                <a:gdLst/>
                <a:ahLst/>
                <a:cxnLst/>
                <a:rect l="0" t="0" r="0" b="0"/>
                <a:pathLst>
                  <a:path w="2150075" h="1056502">
                    <a:moveTo>
                      <a:pt x="2150075" y="333632"/>
                    </a:moveTo>
                    <a:lnTo>
                      <a:pt x="2150075" y="889686"/>
                    </a:lnTo>
                    <a:moveTo>
                      <a:pt x="0" y="889686"/>
                    </a:moveTo>
                    <a:lnTo>
                      <a:pt x="0" y="333632"/>
                    </a:lnTo>
                    <a:moveTo>
                      <a:pt x="2150075" y="889686"/>
                    </a:moveTo>
                    <a:lnTo>
                      <a:pt x="2150075" y="908221"/>
                    </a:lnTo>
                    <a:cubicBezTo>
                      <a:pt x="2150075" y="990115"/>
                      <a:pt x="2083688" y="1056502"/>
                      <a:pt x="2001794" y="1056502"/>
                    </a:cubicBezTo>
                    <a:lnTo>
                      <a:pt x="148281" y="1056502"/>
                    </a:lnTo>
                    <a:cubicBezTo>
                      <a:pt x="66387" y="1056502"/>
                      <a:pt x="0" y="990115"/>
                      <a:pt x="0" y="908221"/>
                    </a:cubicBezTo>
                    <a:lnTo>
                      <a:pt x="0" y="889686"/>
                    </a:lnTo>
                    <a:moveTo>
                      <a:pt x="0" y="333632"/>
                    </a:moveTo>
                    <a:lnTo>
                      <a:pt x="0" y="148281"/>
                    </a:lnTo>
                    <a:cubicBezTo>
                      <a:pt x="0" y="66387"/>
                      <a:pt x="66387" y="0"/>
                      <a:pt x="148281" y="0"/>
                    </a:cubicBezTo>
                    <a:lnTo>
                      <a:pt x="296562" y="0"/>
                    </a:lnTo>
                    <a:moveTo>
                      <a:pt x="2150075" y="333632"/>
                    </a:moveTo>
                    <a:lnTo>
                      <a:pt x="2150075" y="148281"/>
                    </a:lnTo>
                    <a:cubicBezTo>
                      <a:pt x="2150075" y="66387"/>
                      <a:pt x="2083688" y="0"/>
                      <a:pt x="2001794" y="0"/>
                    </a:cubicBezTo>
                    <a:lnTo>
                      <a:pt x="1853513" y="0"/>
                    </a:lnTo>
                  </a:path>
                </a:pathLst>
              </a:custGeom>
              <a:noFill/>
              <a:ln w="6950">
                <a:solidFill>
                  <a:srgbClr val="FFFFFF"/>
                </a:solidFill>
              </a:ln>
            </p:spPr>
            <p:txBody>
              <a:bodyPr rtlCol="0" anchor="ctr"/>
              <a:lstStyle/>
              <a:p>
                <a:pPr algn="ctr"/>
                <a:endParaRPr sz="2000"/>
              </a:p>
            </p:txBody>
          </p:sp>
        </p:grpSp>
        <p:grpSp>
          <p:nvGrpSpPr>
            <p:cNvPr id="42" name="Group 41">
              <a:extLst>
                <a:ext uri="{FF2B5EF4-FFF2-40B4-BE49-F238E27FC236}">
                  <a16:creationId xmlns:a16="http://schemas.microsoft.com/office/drawing/2014/main" id="{65872670-8AB7-1E43-16B9-8DA97F85CAB3}"/>
                </a:ext>
              </a:extLst>
            </p:cNvPr>
            <p:cNvGrpSpPr/>
            <p:nvPr/>
          </p:nvGrpSpPr>
          <p:grpSpPr>
            <a:xfrm>
              <a:off x="7140969" y="3584232"/>
              <a:ext cx="51898" cy="376262"/>
              <a:chOff x="6683769" y="2956354"/>
              <a:chExt cx="51898" cy="376262"/>
            </a:xfrm>
          </p:grpSpPr>
          <p:sp>
            <p:nvSpPr>
              <p:cNvPr id="43" name="Rounded Rectangle 40">
                <a:extLst>
                  <a:ext uri="{FF2B5EF4-FFF2-40B4-BE49-F238E27FC236}">
                    <a16:creationId xmlns:a16="http://schemas.microsoft.com/office/drawing/2014/main" id="{66AEBCFE-A9DE-3740-6C01-DAE8F2FFFDF3}"/>
                  </a:ext>
                </a:extLst>
              </p:cNvPr>
              <p:cNvSpPr/>
              <p:nvPr/>
            </p:nvSpPr>
            <p:spPr>
              <a:xfrm>
                <a:off x="6709718" y="2956354"/>
                <a:ext cx="9267" cy="363010"/>
              </a:xfrm>
              <a:custGeom>
                <a:avLst/>
                <a:gdLst/>
                <a:ahLst/>
                <a:cxnLst/>
                <a:rect l="0" t="0" r="0" b="0"/>
                <a:pathLst>
                  <a:path w="9267" h="363010">
                    <a:moveTo>
                      <a:pt x="0" y="363010"/>
                    </a:moveTo>
                    <a:lnTo>
                      <a:pt x="0" y="0"/>
                    </a:lnTo>
                  </a:path>
                </a:pathLst>
              </a:custGeom>
              <a:noFill/>
              <a:ln w="6950">
                <a:solidFill>
                  <a:srgbClr val="077BE7"/>
                </a:solidFill>
              </a:ln>
            </p:spPr>
            <p:txBody>
              <a:bodyPr rtlCol="0" anchor="ctr"/>
              <a:lstStyle/>
              <a:p>
                <a:pPr algn="ctr"/>
                <a:endParaRPr sz="2000"/>
              </a:p>
            </p:txBody>
          </p:sp>
          <p:sp>
            <p:nvSpPr>
              <p:cNvPr id="44" name="Rounded Rectangle 41">
                <a:extLst>
                  <a:ext uri="{FF2B5EF4-FFF2-40B4-BE49-F238E27FC236}">
                    <a16:creationId xmlns:a16="http://schemas.microsoft.com/office/drawing/2014/main" id="{F7BA94C2-A400-BCA9-2FF4-456E1DF719B9}"/>
                  </a:ext>
                </a:extLst>
              </p:cNvPr>
              <p:cNvSpPr/>
              <p:nvPr/>
            </p:nvSpPr>
            <p:spPr>
              <a:xfrm>
                <a:off x="6683769" y="3286279"/>
                <a:ext cx="51898" cy="46337"/>
              </a:xfrm>
              <a:custGeom>
                <a:avLst/>
                <a:gdLst/>
                <a:ahLst/>
                <a:cxnLst/>
                <a:rect l="0" t="0" r="0" b="0"/>
                <a:pathLst>
                  <a:path w="51898" h="46337">
                    <a:moveTo>
                      <a:pt x="25949" y="46337"/>
                    </a:moveTo>
                    <a:lnTo>
                      <a:pt x="0" y="0"/>
                    </a:lnTo>
                    <a:lnTo>
                      <a:pt x="51898" y="0"/>
                    </a:lnTo>
                    <a:close/>
                  </a:path>
                </a:pathLst>
              </a:custGeom>
              <a:solidFill>
                <a:srgbClr val="077BE7"/>
              </a:solidFill>
              <a:ln w="6950">
                <a:solidFill>
                  <a:srgbClr val="077BE7"/>
                </a:solidFill>
              </a:ln>
            </p:spPr>
            <p:txBody>
              <a:bodyPr rtlCol="0" anchor="ctr"/>
              <a:lstStyle/>
              <a:p>
                <a:pPr algn="ctr"/>
                <a:endParaRPr sz="2000"/>
              </a:p>
            </p:txBody>
          </p:sp>
        </p:grpSp>
        <p:grpSp>
          <p:nvGrpSpPr>
            <p:cNvPr id="45" name="Group 44">
              <a:extLst>
                <a:ext uri="{FF2B5EF4-FFF2-40B4-BE49-F238E27FC236}">
                  <a16:creationId xmlns:a16="http://schemas.microsoft.com/office/drawing/2014/main" id="{6D96AB3C-DC20-A85E-ABF1-0AB78725C2B8}"/>
                </a:ext>
              </a:extLst>
            </p:cNvPr>
            <p:cNvGrpSpPr/>
            <p:nvPr/>
          </p:nvGrpSpPr>
          <p:grpSpPr>
            <a:xfrm>
              <a:off x="6091881" y="2518461"/>
              <a:ext cx="2150075" cy="1056502"/>
              <a:chOff x="5634681" y="1890583"/>
              <a:chExt cx="2150075" cy="1056502"/>
            </a:xfrm>
          </p:grpSpPr>
          <p:sp>
            <p:nvSpPr>
              <p:cNvPr id="46" name="Rounded Rectangle 43">
                <a:extLst>
                  <a:ext uri="{FF2B5EF4-FFF2-40B4-BE49-F238E27FC236}">
                    <a16:creationId xmlns:a16="http://schemas.microsoft.com/office/drawing/2014/main" id="{234347A3-B5C0-C1C0-FCA0-FBA663E5FB84}"/>
                  </a:ext>
                </a:extLst>
              </p:cNvPr>
              <p:cNvSpPr/>
              <p:nvPr/>
            </p:nvSpPr>
            <p:spPr>
              <a:xfrm>
                <a:off x="5634681" y="1890583"/>
                <a:ext cx="2150075" cy="1056502"/>
              </a:xfrm>
              <a:custGeom>
                <a:avLst/>
                <a:gdLst/>
                <a:ahLst/>
                <a:cxnLst/>
                <a:rect l="0" t="0" r="0" b="0"/>
                <a:pathLst>
                  <a:path w="2150075" h="1056502">
                    <a:moveTo>
                      <a:pt x="2150075" y="231689"/>
                    </a:moveTo>
                    <a:lnTo>
                      <a:pt x="2150075" y="444843"/>
                    </a:lnTo>
                    <a:lnTo>
                      <a:pt x="0" y="444843"/>
                    </a:lnTo>
                    <a:lnTo>
                      <a:pt x="0" y="231689"/>
                    </a:lnTo>
                    <a:lnTo>
                      <a:pt x="2150075" y="231689"/>
                    </a:lnTo>
                    <a:close/>
                    <a:moveTo>
                      <a:pt x="0" y="231689"/>
                    </a:moveTo>
                    <a:lnTo>
                      <a:pt x="0" y="148281"/>
                    </a:lnTo>
                    <a:cubicBezTo>
                      <a:pt x="0" y="66386"/>
                      <a:pt x="66384" y="0"/>
                      <a:pt x="148281" y="0"/>
                    </a:cubicBezTo>
                    <a:lnTo>
                      <a:pt x="287294" y="0"/>
                    </a:lnTo>
                    <a:lnTo>
                      <a:pt x="287294" y="74140"/>
                    </a:lnTo>
                    <a:cubicBezTo>
                      <a:pt x="287294" y="166816"/>
                      <a:pt x="362946" y="231689"/>
                      <a:pt x="444843" y="231689"/>
                    </a:cubicBezTo>
                    <a:lnTo>
                      <a:pt x="463378" y="231689"/>
                    </a:lnTo>
                    <a:lnTo>
                      <a:pt x="0" y="231689"/>
                    </a:lnTo>
                    <a:close/>
                    <a:moveTo>
                      <a:pt x="2150075" y="231689"/>
                    </a:moveTo>
                    <a:lnTo>
                      <a:pt x="2150075" y="148281"/>
                    </a:lnTo>
                    <a:cubicBezTo>
                      <a:pt x="2150075" y="66386"/>
                      <a:pt x="2083691" y="0"/>
                      <a:pt x="2001794" y="0"/>
                    </a:cubicBezTo>
                    <a:lnTo>
                      <a:pt x="1862781" y="0"/>
                    </a:lnTo>
                    <a:lnTo>
                      <a:pt x="1862781" y="74140"/>
                    </a:lnTo>
                    <a:cubicBezTo>
                      <a:pt x="1862781" y="166816"/>
                      <a:pt x="1787129" y="231689"/>
                      <a:pt x="1705232" y="231689"/>
                    </a:cubicBezTo>
                    <a:lnTo>
                      <a:pt x="1686697" y="231689"/>
                    </a:lnTo>
                    <a:lnTo>
                      <a:pt x="2150075" y="231689"/>
                    </a:lnTo>
                    <a:close/>
                    <a:moveTo>
                      <a:pt x="0" y="444843"/>
                    </a:moveTo>
                    <a:lnTo>
                      <a:pt x="2150075" y="444843"/>
                    </a:lnTo>
                    <a:lnTo>
                      <a:pt x="2150075" y="889686"/>
                    </a:lnTo>
                    <a:lnTo>
                      <a:pt x="0" y="889686"/>
                    </a:lnTo>
                    <a:lnTo>
                      <a:pt x="0" y="444843"/>
                    </a:lnTo>
                    <a:close/>
                    <a:moveTo>
                      <a:pt x="0" y="889686"/>
                    </a:moveTo>
                    <a:lnTo>
                      <a:pt x="2150075" y="889686"/>
                    </a:lnTo>
                    <a:lnTo>
                      <a:pt x="2150075" y="908221"/>
                    </a:lnTo>
                    <a:cubicBezTo>
                      <a:pt x="2150075" y="990115"/>
                      <a:pt x="2083688" y="1056502"/>
                      <a:pt x="2001794" y="1056502"/>
                    </a:cubicBezTo>
                    <a:lnTo>
                      <a:pt x="148281" y="1056502"/>
                    </a:lnTo>
                    <a:cubicBezTo>
                      <a:pt x="66387" y="1056502"/>
                      <a:pt x="0" y="990115"/>
                      <a:pt x="0" y="908221"/>
                    </a:cubicBezTo>
                    <a:lnTo>
                      <a:pt x="0" y="889686"/>
                    </a:lnTo>
                    <a:close/>
                  </a:path>
                </a:pathLst>
              </a:custGeom>
              <a:solidFill>
                <a:srgbClr val="2093FF"/>
              </a:solidFill>
              <a:ln>
                <a:noFill/>
              </a:ln>
            </p:spPr>
            <p:txBody>
              <a:bodyPr rtlCol="0" anchor="ctr"/>
              <a:lstStyle/>
              <a:p>
                <a:pPr algn="ctr"/>
                <a:endParaRPr sz="2000"/>
              </a:p>
            </p:txBody>
          </p:sp>
          <p:sp>
            <p:nvSpPr>
              <p:cNvPr id="47" name="Rounded Rectangle 44">
                <a:extLst>
                  <a:ext uri="{FF2B5EF4-FFF2-40B4-BE49-F238E27FC236}">
                    <a16:creationId xmlns:a16="http://schemas.microsoft.com/office/drawing/2014/main" id="{C621F293-552F-1D71-E977-93F1C722DB38}"/>
                  </a:ext>
                </a:extLst>
              </p:cNvPr>
              <p:cNvSpPr/>
              <p:nvPr/>
            </p:nvSpPr>
            <p:spPr>
              <a:xfrm>
                <a:off x="5634681" y="1890583"/>
                <a:ext cx="2150075" cy="1056502"/>
              </a:xfrm>
              <a:custGeom>
                <a:avLst/>
                <a:gdLst/>
                <a:ahLst/>
                <a:cxnLst/>
                <a:rect l="0" t="0" r="0" b="0"/>
                <a:pathLst>
                  <a:path w="2150075" h="1056502">
                    <a:moveTo>
                      <a:pt x="2150075" y="333632"/>
                    </a:moveTo>
                    <a:lnTo>
                      <a:pt x="2150075" y="889686"/>
                    </a:lnTo>
                    <a:moveTo>
                      <a:pt x="0" y="889686"/>
                    </a:moveTo>
                    <a:lnTo>
                      <a:pt x="0" y="333632"/>
                    </a:lnTo>
                    <a:moveTo>
                      <a:pt x="2150075" y="889686"/>
                    </a:moveTo>
                    <a:lnTo>
                      <a:pt x="2150075" y="908221"/>
                    </a:lnTo>
                    <a:cubicBezTo>
                      <a:pt x="2150075" y="990115"/>
                      <a:pt x="2083688" y="1056502"/>
                      <a:pt x="2001794" y="1056502"/>
                    </a:cubicBezTo>
                    <a:lnTo>
                      <a:pt x="148281" y="1056502"/>
                    </a:lnTo>
                    <a:cubicBezTo>
                      <a:pt x="66387" y="1056502"/>
                      <a:pt x="0" y="990115"/>
                      <a:pt x="0" y="908221"/>
                    </a:cubicBezTo>
                    <a:lnTo>
                      <a:pt x="0" y="889686"/>
                    </a:lnTo>
                    <a:moveTo>
                      <a:pt x="0" y="333632"/>
                    </a:moveTo>
                    <a:lnTo>
                      <a:pt x="0" y="148281"/>
                    </a:lnTo>
                    <a:cubicBezTo>
                      <a:pt x="0" y="66387"/>
                      <a:pt x="66387" y="0"/>
                      <a:pt x="148281" y="0"/>
                    </a:cubicBezTo>
                    <a:lnTo>
                      <a:pt x="296562" y="0"/>
                    </a:lnTo>
                    <a:moveTo>
                      <a:pt x="2150075" y="333632"/>
                    </a:moveTo>
                    <a:lnTo>
                      <a:pt x="2150075" y="148281"/>
                    </a:lnTo>
                    <a:cubicBezTo>
                      <a:pt x="2150075" y="66387"/>
                      <a:pt x="2083688" y="0"/>
                      <a:pt x="2001794" y="0"/>
                    </a:cubicBezTo>
                    <a:lnTo>
                      <a:pt x="1853513" y="0"/>
                    </a:lnTo>
                  </a:path>
                </a:pathLst>
              </a:custGeom>
              <a:noFill/>
              <a:ln w="6950">
                <a:solidFill>
                  <a:srgbClr val="FFFFFF"/>
                </a:solidFill>
              </a:ln>
            </p:spPr>
            <p:txBody>
              <a:bodyPr rtlCol="0" anchor="ctr"/>
              <a:lstStyle/>
              <a:p>
                <a:pPr algn="ctr"/>
                <a:endParaRPr sz="2000"/>
              </a:p>
            </p:txBody>
          </p:sp>
        </p:grpSp>
        <p:grpSp>
          <p:nvGrpSpPr>
            <p:cNvPr id="48" name="Group 47">
              <a:extLst>
                <a:ext uri="{FF2B5EF4-FFF2-40B4-BE49-F238E27FC236}">
                  <a16:creationId xmlns:a16="http://schemas.microsoft.com/office/drawing/2014/main" id="{DA381430-C1CD-4246-5BCA-E60D987780B2}"/>
                </a:ext>
              </a:extLst>
            </p:cNvPr>
            <p:cNvGrpSpPr/>
            <p:nvPr/>
          </p:nvGrpSpPr>
          <p:grpSpPr>
            <a:xfrm>
              <a:off x="1365421" y="4019807"/>
              <a:ext cx="1223318" cy="889686"/>
              <a:chOff x="908221" y="3391929"/>
              <a:chExt cx="1223318" cy="889686"/>
            </a:xfrm>
          </p:grpSpPr>
          <p:sp>
            <p:nvSpPr>
              <p:cNvPr id="49" name="Rounded Rectangle 46">
                <a:extLst>
                  <a:ext uri="{FF2B5EF4-FFF2-40B4-BE49-F238E27FC236}">
                    <a16:creationId xmlns:a16="http://schemas.microsoft.com/office/drawing/2014/main" id="{C12F9863-AA9E-78CD-9DBB-DA4998778634}"/>
                  </a:ext>
                </a:extLst>
              </p:cNvPr>
              <p:cNvSpPr/>
              <p:nvPr/>
            </p:nvSpPr>
            <p:spPr>
              <a:xfrm>
                <a:off x="908221" y="3391929"/>
                <a:ext cx="1223318" cy="889686"/>
              </a:xfrm>
              <a:custGeom>
                <a:avLst/>
                <a:gdLst/>
                <a:ahLst/>
                <a:cxnLst/>
                <a:rect l="0" t="0" r="0" b="0"/>
                <a:pathLst>
                  <a:path w="1223318" h="889686">
                    <a:moveTo>
                      <a:pt x="0" y="0"/>
                    </a:moveTo>
                    <a:lnTo>
                      <a:pt x="1223318" y="0"/>
                    </a:lnTo>
                    <a:lnTo>
                      <a:pt x="1223318" y="889686"/>
                    </a:lnTo>
                    <a:lnTo>
                      <a:pt x="0" y="889686"/>
                    </a:lnTo>
                    <a:lnTo>
                      <a:pt x="0" y="0"/>
                    </a:lnTo>
                    <a:close/>
                  </a:path>
                </a:pathLst>
              </a:custGeom>
              <a:solidFill>
                <a:srgbClr val="8AC6FF"/>
              </a:solidFill>
              <a:ln>
                <a:noFill/>
              </a:ln>
            </p:spPr>
            <p:txBody>
              <a:bodyPr rtlCol="0" anchor="ctr"/>
              <a:lstStyle/>
              <a:p>
                <a:pPr algn="ctr"/>
                <a:endParaRPr sz="2000"/>
              </a:p>
            </p:txBody>
          </p:sp>
          <p:sp>
            <p:nvSpPr>
              <p:cNvPr id="50" name="Rounded Rectangle 47">
                <a:extLst>
                  <a:ext uri="{FF2B5EF4-FFF2-40B4-BE49-F238E27FC236}">
                    <a16:creationId xmlns:a16="http://schemas.microsoft.com/office/drawing/2014/main" id="{FC323E20-CAE2-1AB6-E142-B9B79F567D6B}"/>
                  </a:ext>
                </a:extLst>
              </p:cNvPr>
              <p:cNvSpPr/>
              <p:nvPr/>
            </p:nvSpPr>
            <p:spPr>
              <a:xfrm>
                <a:off x="908221" y="3391929"/>
                <a:ext cx="1223318" cy="889686"/>
              </a:xfrm>
              <a:custGeom>
                <a:avLst/>
                <a:gdLst/>
                <a:ahLst/>
                <a:cxnLst/>
                <a:rect l="0" t="0" r="0" b="0"/>
                <a:pathLst>
                  <a:path w="1223318" h="889686">
                    <a:moveTo>
                      <a:pt x="0" y="0"/>
                    </a:moveTo>
                    <a:lnTo>
                      <a:pt x="1223318" y="0"/>
                    </a:lnTo>
                    <a:moveTo>
                      <a:pt x="1223318" y="889686"/>
                    </a:moveTo>
                    <a:lnTo>
                      <a:pt x="0" y="889686"/>
                    </a:lnTo>
                  </a:path>
                </a:pathLst>
              </a:custGeom>
              <a:noFill/>
              <a:ln w="6950">
                <a:solidFill>
                  <a:srgbClr val="FFFFFF"/>
                </a:solidFill>
              </a:ln>
            </p:spPr>
            <p:txBody>
              <a:bodyPr rtlCol="0" anchor="ctr"/>
              <a:lstStyle/>
              <a:p>
                <a:pPr algn="ctr"/>
                <a:endParaRPr sz="2000"/>
              </a:p>
            </p:txBody>
          </p:sp>
        </p:grpSp>
        <p:grpSp>
          <p:nvGrpSpPr>
            <p:cNvPr id="51" name="Group 50">
              <a:extLst>
                <a:ext uri="{FF2B5EF4-FFF2-40B4-BE49-F238E27FC236}">
                  <a16:creationId xmlns:a16="http://schemas.microsoft.com/office/drawing/2014/main" id="{592DCC25-CBBF-521A-121A-BEACF7138459}"/>
                </a:ext>
              </a:extLst>
            </p:cNvPr>
            <p:cNvGrpSpPr/>
            <p:nvPr/>
          </p:nvGrpSpPr>
          <p:grpSpPr>
            <a:xfrm>
              <a:off x="1198605" y="4019807"/>
              <a:ext cx="166816" cy="889686"/>
              <a:chOff x="741405" y="3391929"/>
              <a:chExt cx="166816" cy="889686"/>
            </a:xfrm>
          </p:grpSpPr>
          <p:sp>
            <p:nvSpPr>
              <p:cNvPr id="52" name="Rounded Rectangle 49">
                <a:extLst>
                  <a:ext uri="{FF2B5EF4-FFF2-40B4-BE49-F238E27FC236}">
                    <a16:creationId xmlns:a16="http://schemas.microsoft.com/office/drawing/2014/main" id="{3BBA8AE9-AA96-EF49-382C-442214B2BB85}"/>
                  </a:ext>
                </a:extLst>
              </p:cNvPr>
              <p:cNvSpPr/>
              <p:nvPr/>
            </p:nvSpPr>
            <p:spPr>
              <a:xfrm>
                <a:off x="741405" y="3391929"/>
                <a:ext cx="166816" cy="889686"/>
              </a:xfrm>
              <a:custGeom>
                <a:avLst/>
                <a:gdLst/>
                <a:ahLst/>
                <a:cxnLst/>
                <a:rect l="0" t="0" r="0" b="0"/>
                <a:pathLst>
                  <a:path w="166816" h="889686">
                    <a:moveTo>
                      <a:pt x="166816" y="0"/>
                    </a:moveTo>
                    <a:lnTo>
                      <a:pt x="148281" y="0"/>
                    </a:lnTo>
                    <a:cubicBezTo>
                      <a:pt x="66387" y="0"/>
                      <a:pt x="0" y="66387"/>
                      <a:pt x="0" y="148281"/>
                    </a:cubicBezTo>
                    <a:lnTo>
                      <a:pt x="166816" y="148281"/>
                    </a:lnTo>
                    <a:lnTo>
                      <a:pt x="166816" y="0"/>
                    </a:lnTo>
                    <a:close/>
                    <a:moveTo>
                      <a:pt x="166816" y="148281"/>
                    </a:moveTo>
                    <a:lnTo>
                      <a:pt x="166816" y="741405"/>
                    </a:lnTo>
                    <a:lnTo>
                      <a:pt x="0" y="741405"/>
                    </a:lnTo>
                    <a:lnTo>
                      <a:pt x="0" y="148281"/>
                    </a:lnTo>
                    <a:lnTo>
                      <a:pt x="166816" y="148281"/>
                    </a:lnTo>
                    <a:close/>
                    <a:moveTo>
                      <a:pt x="166816" y="889686"/>
                    </a:moveTo>
                    <a:lnTo>
                      <a:pt x="148281" y="889686"/>
                    </a:lnTo>
                    <a:cubicBezTo>
                      <a:pt x="66387" y="889686"/>
                      <a:pt x="0" y="823299"/>
                      <a:pt x="0" y="741405"/>
                    </a:cubicBezTo>
                    <a:lnTo>
                      <a:pt x="166816" y="741405"/>
                    </a:lnTo>
                    <a:lnTo>
                      <a:pt x="166816" y="889686"/>
                    </a:lnTo>
                    <a:close/>
                  </a:path>
                </a:pathLst>
              </a:custGeom>
              <a:solidFill>
                <a:srgbClr val="8AC6FF"/>
              </a:solidFill>
              <a:ln>
                <a:noFill/>
              </a:ln>
            </p:spPr>
            <p:txBody>
              <a:bodyPr rtlCol="0" anchor="ctr"/>
              <a:lstStyle/>
              <a:p>
                <a:pPr algn="ctr"/>
                <a:endParaRPr sz="2000"/>
              </a:p>
            </p:txBody>
          </p:sp>
          <p:sp>
            <p:nvSpPr>
              <p:cNvPr id="53" name="Rounded Rectangle 50">
                <a:extLst>
                  <a:ext uri="{FF2B5EF4-FFF2-40B4-BE49-F238E27FC236}">
                    <a16:creationId xmlns:a16="http://schemas.microsoft.com/office/drawing/2014/main" id="{D2679A40-1942-91ED-7009-8C3C4EFD3210}"/>
                  </a:ext>
                </a:extLst>
              </p:cNvPr>
              <p:cNvSpPr/>
              <p:nvPr/>
            </p:nvSpPr>
            <p:spPr>
              <a:xfrm>
                <a:off x="741405" y="3391929"/>
                <a:ext cx="166816" cy="889686"/>
              </a:xfrm>
              <a:custGeom>
                <a:avLst/>
                <a:gdLst/>
                <a:ahLst/>
                <a:cxnLst/>
                <a:rect l="0" t="0" r="0" b="0"/>
                <a:pathLst>
                  <a:path w="166816" h="889686">
                    <a:moveTo>
                      <a:pt x="166816" y="0"/>
                    </a:moveTo>
                    <a:lnTo>
                      <a:pt x="148281" y="0"/>
                    </a:lnTo>
                    <a:cubicBezTo>
                      <a:pt x="66387" y="0"/>
                      <a:pt x="0" y="66387"/>
                      <a:pt x="0" y="148281"/>
                    </a:cubicBezTo>
                    <a:moveTo>
                      <a:pt x="166816" y="889686"/>
                    </a:moveTo>
                    <a:lnTo>
                      <a:pt x="148281" y="889686"/>
                    </a:lnTo>
                    <a:cubicBezTo>
                      <a:pt x="66387" y="889686"/>
                      <a:pt x="0" y="823299"/>
                      <a:pt x="0" y="741405"/>
                    </a:cubicBezTo>
                    <a:moveTo>
                      <a:pt x="0" y="741405"/>
                    </a:moveTo>
                    <a:lnTo>
                      <a:pt x="0" y="148281"/>
                    </a:lnTo>
                  </a:path>
                </a:pathLst>
              </a:custGeom>
              <a:noFill/>
              <a:ln w="6950">
                <a:solidFill>
                  <a:srgbClr val="FFFFFF"/>
                </a:solidFill>
              </a:ln>
            </p:spPr>
            <p:txBody>
              <a:bodyPr rtlCol="0" anchor="ctr"/>
              <a:lstStyle/>
              <a:p>
                <a:pPr algn="ctr"/>
                <a:endParaRPr sz="2000"/>
              </a:p>
            </p:txBody>
          </p:sp>
        </p:grpSp>
        <p:grpSp>
          <p:nvGrpSpPr>
            <p:cNvPr id="54" name="Group 53">
              <a:extLst>
                <a:ext uri="{FF2B5EF4-FFF2-40B4-BE49-F238E27FC236}">
                  <a16:creationId xmlns:a16="http://schemas.microsoft.com/office/drawing/2014/main" id="{C247BFCF-92A2-0F67-635F-C252F9204E20}"/>
                </a:ext>
              </a:extLst>
            </p:cNvPr>
            <p:cNvGrpSpPr/>
            <p:nvPr/>
          </p:nvGrpSpPr>
          <p:grpSpPr>
            <a:xfrm>
              <a:off x="2588740" y="4019807"/>
              <a:ext cx="166816" cy="889686"/>
              <a:chOff x="2131540" y="3391929"/>
              <a:chExt cx="166816" cy="889686"/>
            </a:xfrm>
          </p:grpSpPr>
          <p:sp>
            <p:nvSpPr>
              <p:cNvPr id="55" name="Rounded Rectangle 52">
                <a:extLst>
                  <a:ext uri="{FF2B5EF4-FFF2-40B4-BE49-F238E27FC236}">
                    <a16:creationId xmlns:a16="http://schemas.microsoft.com/office/drawing/2014/main" id="{2C8CD56F-386B-438C-90CB-7FBBC308FA29}"/>
                  </a:ext>
                </a:extLst>
              </p:cNvPr>
              <p:cNvSpPr/>
              <p:nvPr/>
            </p:nvSpPr>
            <p:spPr>
              <a:xfrm>
                <a:off x="2131540" y="3391929"/>
                <a:ext cx="166816" cy="889686"/>
              </a:xfrm>
              <a:custGeom>
                <a:avLst/>
                <a:gdLst/>
                <a:ahLst/>
                <a:cxnLst/>
                <a:rect l="0" t="0" r="0" b="0"/>
                <a:pathLst>
                  <a:path w="166816" h="889686">
                    <a:moveTo>
                      <a:pt x="0" y="0"/>
                    </a:moveTo>
                    <a:lnTo>
                      <a:pt x="18535" y="0"/>
                    </a:lnTo>
                    <a:cubicBezTo>
                      <a:pt x="100428" y="0"/>
                      <a:pt x="166816" y="66387"/>
                      <a:pt x="166816" y="148281"/>
                    </a:cubicBezTo>
                    <a:lnTo>
                      <a:pt x="0" y="148281"/>
                    </a:lnTo>
                    <a:lnTo>
                      <a:pt x="0" y="0"/>
                    </a:lnTo>
                    <a:close/>
                    <a:moveTo>
                      <a:pt x="0" y="741405"/>
                    </a:moveTo>
                    <a:lnTo>
                      <a:pt x="0" y="148281"/>
                    </a:lnTo>
                    <a:lnTo>
                      <a:pt x="166816" y="148281"/>
                    </a:lnTo>
                    <a:lnTo>
                      <a:pt x="166816" y="741405"/>
                    </a:lnTo>
                    <a:lnTo>
                      <a:pt x="0" y="741405"/>
                    </a:lnTo>
                    <a:close/>
                    <a:moveTo>
                      <a:pt x="18535" y="889686"/>
                    </a:moveTo>
                    <a:lnTo>
                      <a:pt x="0" y="889686"/>
                    </a:lnTo>
                    <a:lnTo>
                      <a:pt x="0" y="741405"/>
                    </a:lnTo>
                    <a:lnTo>
                      <a:pt x="166816" y="741405"/>
                    </a:lnTo>
                    <a:cubicBezTo>
                      <a:pt x="166816" y="823299"/>
                      <a:pt x="100428" y="889686"/>
                      <a:pt x="18535" y="889686"/>
                    </a:cubicBezTo>
                    <a:close/>
                  </a:path>
                </a:pathLst>
              </a:custGeom>
              <a:solidFill>
                <a:srgbClr val="8AC6FF"/>
              </a:solidFill>
              <a:ln>
                <a:noFill/>
              </a:ln>
            </p:spPr>
            <p:txBody>
              <a:bodyPr rtlCol="0" anchor="ctr"/>
              <a:lstStyle/>
              <a:p>
                <a:pPr algn="ctr"/>
                <a:endParaRPr sz="2000"/>
              </a:p>
            </p:txBody>
          </p:sp>
          <p:sp>
            <p:nvSpPr>
              <p:cNvPr id="56" name="Rounded Rectangle 53">
                <a:extLst>
                  <a:ext uri="{FF2B5EF4-FFF2-40B4-BE49-F238E27FC236}">
                    <a16:creationId xmlns:a16="http://schemas.microsoft.com/office/drawing/2014/main" id="{A2DAF52C-B085-57AB-45B6-87B4F0D56651}"/>
                  </a:ext>
                </a:extLst>
              </p:cNvPr>
              <p:cNvSpPr/>
              <p:nvPr/>
            </p:nvSpPr>
            <p:spPr>
              <a:xfrm>
                <a:off x="2131540" y="3391929"/>
                <a:ext cx="166816" cy="889686"/>
              </a:xfrm>
              <a:custGeom>
                <a:avLst/>
                <a:gdLst/>
                <a:ahLst/>
                <a:cxnLst/>
                <a:rect l="0" t="0" r="0" b="0"/>
                <a:pathLst>
                  <a:path w="166816" h="889686">
                    <a:moveTo>
                      <a:pt x="0" y="0"/>
                    </a:moveTo>
                    <a:lnTo>
                      <a:pt x="18535" y="0"/>
                    </a:lnTo>
                    <a:cubicBezTo>
                      <a:pt x="100428" y="0"/>
                      <a:pt x="166816" y="66387"/>
                      <a:pt x="166816" y="148281"/>
                    </a:cubicBezTo>
                    <a:moveTo>
                      <a:pt x="0" y="889686"/>
                    </a:moveTo>
                    <a:lnTo>
                      <a:pt x="18535" y="889686"/>
                    </a:lnTo>
                    <a:cubicBezTo>
                      <a:pt x="100428" y="889686"/>
                      <a:pt x="166816" y="823299"/>
                      <a:pt x="166816" y="741405"/>
                    </a:cubicBezTo>
                    <a:moveTo>
                      <a:pt x="166816" y="741405"/>
                    </a:moveTo>
                    <a:lnTo>
                      <a:pt x="166816" y="148281"/>
                    </a:lnTo>
                  </a:path>
                </a:pathLst>
              </a:custGeom>
              <a:noFill/>
              <a:ln w="6950">
                <a:solidFill>
                  <a:srgbClr val="FFFFFF"/>
                </a:solidFill>
              </a:ln>
            </p:spPr>
            <p:txBody>
              <a:bodyPr rtlCol="0" anchor="ctr"/>
              <a:lstStyle/>
              <a:p>
                <a:pPr algn="ctr"/>
                <a:endParaRPr sz="2000"/>
              </a:p>
            </p:txBody>
          </p:sp>
        </p:grpSp>
        <p:grpSp>
          <p:nvGrpSpPr>
            <p:cNvPr id="57" name="Group 56">
              <a:extLst>
                <a:ext uri="{FF2B5EF4-FFF2-40B4-BE49-F238E27FC236}">
                  <a16:creationId xmlns:a16="http://schemas.microsoft.com/office/drawing/2014/main" id="{1F4F0F2E-C339-B3FA-14E2-FCB60CDD7539}"/>
                </a:ext>
              </a:extLst>
            </p:cNvPr>
            <p:cNvGrpSpPr/>
            <p:nvPr/>
          </p:nvGrpSpPr>
          <p:grpSpPr>
            <a:xfrm>
              <a:off x="3960340" y="4019807"/>
              <a:ext cx="1223318" cy="889686"/>
              <a:chOff x="3503140" y="3391929"/>
              <a:chExt cx="1223318" cy="889686"/>
            </a:xfrm>
          </p:grpSpPr>
          <p:sp>
            <p:nvSpPr>
              <p:cNvPr id="58" name="Rounded Rectangle 55">
                <a:extLst>
                  <a:ext uri="{FF2B5EF4-FFF2-40B4-BE49-F238E27FC236}">
                    <a16:creationId xmlns:a16="http://schemas.microsoft.com/office/drawing/2014/main" id="{3D8E497E-017D-74E9-ED7D-30C306FEDA0F}"/>
                  </a:ext>
                </a:extLst>
              </p:cNvPr>
              <p:cNvSpPr/>
              <p:nvPr/>
            </p:nvSpPr>
            <p:spPr>
              <a:xfrm>
                <a:off x="3503140" y="3391929"/>
                <a:ext cx="1223318" cy="889686"/>
              </a:xfrm>
              <a:custGeom>
                <a:avLst/>
                <a:gdLst/>
                <a:ahLst/>
                <a:cxnLst/>
                <a:rect l="0" t="0" r="0" b="0"/>
                <a:pathLst>
                  <a:path w="1223318" h="889686">
                    <a:moveTo>
                      <a:pt x="0" y="0"/>
                    </a:moveTo>
                    <a:lnTo>
                      <a:pt x="1223318" y="0"/>
                    </a:lnTo>
                    <a:lnTo>
                      <a:pt x="1223318" y="889686"/>
                    </a:lnTo>
                    <a:lnTo>
                      <a:pt x="0" y="889686"/>
                    </a:lnTo>
                    <a:lnTo>
                      <a:pt x="0" y="0"/>
                    </a:lnTo>
                    <a:close/>
                  </a:path>
                </a:pathLst>
              </a:custGeom>
              <a:solidFill>
                <a:srgbClr val="56ADFF"/>
              </a:solidFill>
              <a:ln>
                <a:noFill/>
              </a:ln>
            </p:spPr>
            <p:txBody>
              <a:bodyPr rtlCol="0" anchor="ctr"/>
              <a:lstStyle/>
              <a:p>
                <a:pPr algn="ctr"/>
                <a:endParaRPr sz="2000"/>
              </a:p>
            </p:txBody>
          </p:sp>
          <p:sp>
            <p:nvSpPr>
              <p:cNvPr id="59" name="Rounded Rectangle 56">
                <a:extLst>
                  <a:ext uri="{FF2B5EF4-FFF2-40B4-BE49-F238E27FC236}">
                    <a16:creationId xmlns:a16="http://schemas.microsoft.com/office/drawing/2014/main" id="{9C8668E5-3DE8-36DC-93E5-9301642C22F3}"/>
                  </a:ext>
                </a:extLst>
              </p:cNvPr>
              <p:cNvSpPr/>
              <p:nvPr/>
            </p:nvSpPr>
            <p:spPr>
              <a:xfrm>
                <a:off x="3503140" y="3391929"/>
                <a:ext cx="1223318" cy="889686"/>
              </a:xfrm>
              <a:custGeom>
                <a:avLst/>
                <a:gdLst/>
                <a:ahLst/>
                <a:cxnLst/>
                <a:rect l="0" t="0" r="0" b="0"/>
                <a:pathLst>
                  <a:path w="1223318" h="889686">
                    <a:moveTo>
                      <a:pt x="0" y="0"/>
                    </a:moveTo>
                    <a:lnTo>
                      <a:pt x="1223318" y="0"/>
                    </a:lnTo>
                    <a:moveTo>
                      <a:pt x="1223318" y="889686"/>
                    </a:moveTo>
                    <a:lnTo>
                      <a:pt x="0" y="889686"/>
                    </a:lnTo>
                  </a:path>
                </a:pathLst>
              </a:custGeom>
              <a:noFill/>
              <a:ln w="6950">
                <a:solidFill>
                  <a:srgbClr val="FFFFFF"/>
                </a:solidFill>
              </a:ln>
            </p:spPr>
            <p:txBody>
              <a:bodyPr rtlCol="0" anchor="ctr"/>
              <a:lstStyle/>
              <a:p>
                <a:pPr algn="ctr"/>
                <a:endParaRPr sz="2000"/>
              </a:p>
            </p:txBody>
          </p:sp>
        </p:grpSp>
        <p:grpSp>
          <p:nvGrpSpPr>
            <p:cNvPr id="60" name="Group 59">
              <a:extLst>
                <a:ext uri="{FF2B5EF4-FFF2-40B4-BE49-F238E27FC236}">
                  <a16:creationId xmlns:a16="http://schemas.microsoft.com/office/drawing/2014/main" id="{D3DC37EF-B118-350F-4A3A-D957CCAF33AF}"/>
                </a:ext>
              </a:extLst>
            </p:cNvPr>
            <p:cNvGrpSpPr/>
            <p:nvPr/>
          </p:nvGrpSpPr>
          <p:grpSpPr>
            <a:xfrm>
              <a:off x="3793524" y="4019807"/>
              <a:ext cx="166816" cy="889686"/>
              <a:chOff x="3336324" y="3391929"/>
              <a:chExt cx="166816" cy="889686"/>
            </a:xfrm>
          </p:grpSpPr>
          <p:sp>
            <p:nvSpPr>
              <p:cNvPr id="61" name="Rounded Rectangle 58">
                <a:extLst>
                  <a:ext uri="{FF2B5EF4-FFF2-40B4-BE49-F238E27FC236}">
                    <a16:creationId xmlns:a16="http://schemas.microsoft.com/office/drawing/2014/main" id="{78CC058D-D0AA-3F20-6D31-04F22F08DDEC}"/>
                  </a:ext>
                </a:extLst>
              </p:cNvPr>
              <p:cNvSpPr/>
              <p:nvPr/>
            </p:nvSpPr>
            <p:spPr>
              <a:xfrm>
                <a:off x="3336324" y="3391929"/>
                <a:ext cx="166816" cy="889686"/>
              </a:xfrm>
              <a:custGeom>
                <a:avLst/>
                <a:gdLst/>
                <a:ahLst/>
                <a:cxnLst/>
                <a:rect l="0" t="0" r="0" b="0"/>
                <a:pathLst>
                  <a:path w="166816" h="889686">
                    <a:moveTo>
                      <a:pt x="166816" y="0"/>
                    </a:moveTo>
                    <a:lnTo>
                      <a:pt x="148281" y="0"/>
                    </a:lnTo>
                    <a:cubicBezTo>
                      <a:pt x="66387" y="0"/>
                      <a:pt x="0" y="66387"/>
                      <a:pt x="0" y="148281"/>
                    </a:cubicBezTo>
                    <a:lnTo>
                      <a:pt x="166816" y="148281"/>
                    </a:lnTo>
                    <a:lnTo>
                      <a:pt x="166816" y="0"/>
                    </a:lnTo>
                    <a:close/>
                    <a:moveTo>
                      <a:pt x="166816" y="148281"/>
                    </a:moveTo>
                    <a:lnTo>
                      <a:pt x="166816" y="741405"/>
                    </a:lnTo>
                    <a:lnTo>
                      <a:pt x="0" y="741405"/>
                    </a:lnTo>
                    <a:lnTo>
                      <a:pt x="0" y="148281"/>
                    </a:lnTo>
                    <a:lnTo>
                      <a:pt x="166816" y="148281"/>
                    </a:lnTo>
                    <a:close/>
                    <a:moveTo>
                      <a:pt x="166816" y="889686"/>
                    </a:moveTo>
                    <a:lnTo>
                      <a:pt x="148281" y="889686"/>
                    </a:lnTo>
                    <a:cubicBezTo>
                      <a:pt x="66387" y="889686"/>
                      <a:pt x="0" y="823299"/>
                      <a:pt x="0" y="741405"/>
                    </a:cubicBezTo>
                    <a:lnTo>
                      <a:pt x="166816" y="741405"/>
                    </a:lnTo>
                    <a:lnTo>
                      <a:pt x="166816" y="889686"/>
                    </a:lnTo>
                    <a:close/>
                  </a:path>
                </a:pathLst>
              </a:custGeom>
              <a:solidFill>
                <a:srgbClr val="56ADFF"/>
              </a:solidFill>
              <a:ln>
                <a:noFill/>
              </a:ln>
            </p:spPr>
            <p:txBody>
              <a:bodyPr rtlCol="0" anchor="ctr"/>
              <a:lstStyle/>
              <a:p>
                <a:pPr algn="ctr"/>
                <a:endParaRPr sz="2000"/>
              </a:p>
            </p:txBody>
          </p:sp>
          <p:sp>
            <p:nvSpPr>
              <p:cNvPr id="62" name="Rounded Rectangle 59">
                <a:extLst>
                  <a:ext uri="{FF2B5EF4-FFF2-40B4-BE49-F238E27FC236}">
                    <a16:creationId xmlns:a16="http://schemas.microsoft.com/office/drawing/2014/main" id="{7FC00F46-3030-B543-F4BF-134F78F90AC8}"/>
                  </a:ext>
                </a:extLst>
              </p:cNvPr>
              <p:cNvSpPr/>
              <p:nvPr/>
            </p:nvSpPr>
            <p:spPr>
              <a:xfrm>
                <a:off x="3336324" y="3391929"/>
                <a:ext cx="166816" cy="889686"/>
              </a:xfrm>
              <a:custGeom>
                <a:avLst/>
                <a:gdLst/>
                <a:ahLst/>
                <a:cxnLst/>
                <a:rect l="0" t="0" r="0" b="0"/>
                <a:pathLst>
                  <a:path w="166816" h="889686">
                    <a:moveTo>
                      <a:pt x="166816" y="0"/>
                    </a:moveTo>
                    <a:lnTo>
                      <a:pt x="148281" y="0"/>
                    </a:lnTo>
                    <a:cubicBezTo>
                      <a:pt x="66387" y="0"/>
                      <a:pt x="0" y="66387"/>
                      <a:pt x="0" y="148281"/>
                    </a:cubicBezTo>
                    <a:moveTo>
                      <a:pt x="166816" y="889686"/>
                    </a:moveTo>
                    <a:lnTo>
                      <a:pt x="148281" y="889686"/>
                    </a:lnTo>
                    <a:cubicBezTo>
                      <a:pt x="66387" y="889686"/>
                      <a:pt x="0" y="823299"/>
                      <a:pt x="0" y="741405"/>
                    </a:cubicBezTo>
                    <a:moveTo>
                      <a:pt x="0" y="741405"/>
                    </a:moveTo>
                    <a:lnTo>
                      <a:pt x="0" y="148281"/>
                    </a:lnTo>
                  </a:path>
                </a:pathLst>
              </a:custGeom>
              <a:noFill/>
              <a:ln w="6950">
                <a:solidFill>
                  <a:srgbClr val="FFFFFF"/>
                </a:solidFill>
              </a:ln>
            </p:spPr>
            <p:txBody>
              <a:bodyPr rtlCol="0" anchor="ctr"/>
              <a:lstStyle/>
              <a:p>
                <a:pPr algn="ctr"/>
                <a:endParaRPr sz="2000"/>
              </a:p>
            </p:txBody>
          </p:sp>
        </p:grpSp>
        <p:grpSp>
          <p:nvGrpSpPr>
            <p:cNvPr id="63" name="Group 62">
              <a:extLst>
                <a:ext uri="{FF2B5EF4-FFF2-40B4-BE49-F238E27FC236}">
                  <a16:creationId xmlns:a16="http://schemas.microsoft.com/office/drawing/2014/main" id="{1A0AC228-0B16-34DB-A50D-02CD7A666D45}"/>
                </a:ext>
              </a:extLst>
            </p:cNvPr>
            <p:cNvGrpSpPr/>
            <p:nvPr/>
          </p:nvGrpSpPr>
          <p:grpSpPr>
            <a:xfrm>
              <a:off x="5183659" y="4019807"/>
              <a:ext cx="166816" cy="889686"/>
              <a:chOff x="4726459" y="3391929"/>
              <a:chExt cx="166816" cy="889686"/>
            </a:xfrm>
          </p:grpSpPr>
          <p:sp>
            <p:nvSpPr>
              <p:cNvPr id="64" name="Rounded Rectangle 61">
                <a:extLst>
                  <a:ext uri="{FF2B5EF4-FFF2-40B4-BE49-F238E27FC236}">
                    <a16:creationId xmlns:a16="http://schemas.microsoft.com/office/drawing/2014/main" id="{C338C8F3-2281-3334-0E68-D12C25B61564}"/>
                  </a:ext>
                </a:extLst>
              </p:cNvPr>
              <p:cNvSpPr/>
              <p:nvPr/>
            </p:nvSpPr>
            <p:spPr>
              <a:xfrm>
                <a:off x="4726459" y="3391929"/>
                <a:ext cx="166816" cy="889686"/>
              </a:xfrm>
              <a:custGeom>
                <a:avLst/>
                <a:gdLst/>
                <a:ahLst/>
                <a:cxnLst/>
                <a:rect l="0" t="0" r="0" b="0"/>
                <a:pathLst>
                  <a:path w="166816" h="889686">
                    <a:moveTo>
                      <a:pt x="0" y="0"/>
                    </a:moveTo>
                    <a:lnTo>
                      <a:pt x="18535" y="0"/>
                    </a:lnTo>
                    <a:cubicBezTo>
                      <a:pt x="100428" y="0"/>
                      <a:pt x="166816" y="66387"/>
                      <a:pt x="166816" y="148281"/>
                    </a:cubicBezTo>
                    <a:lnTo>
                      <a:pt x="0" y="148281"/>
                    </a:lnTo>
                    <a:lnTo>
                      <a:pt x="0" y="0"/>
                    </a:lnTo>
                    <a:close/>
                    <a:moveTo>
                      <a:pt x="0" y="741405"/>
                    </a:moveTo>
                    <a:lnTo>
                      <a:pt x="0" y="148281"/>
                    </a:lnTo>
                    <a:lnTo>
                      <a:pt x="166816" y="148281"/>
                    </a:lnTo>
                    <a:lnTo>
                      <a:pt x="166816" y="741405"/>
                    </a:lnTo>
                    <a:lnTo>
                      <a:pt x="0" y="741405"/>
                    </a:lnTo>
                    <a:close/>
                    <a:moveTo>
                      <a:pt x="18535" y="889686"/>
                    </a:moveTo>
                    <a:lnTo>
                      <a:pt x="0" y="889686"/>
                    </a:lnTo>
                    <a:lnTo>
                      <a:pt x="0" y="741405"/>
                    </a:lnTo>
                    <a:lnTo>
                      <a:pt x="166816" y="741405"/>
                    </a:lnTo>
                    <a:cubicBezTo>
                      <a:pt x="166816" y="823299"/>
                      <a:pt x="100428" y="889686"/>
                      <a:pt x="18535" y="889686"/>
                    </a:cubicBezTo>
                    <a:close/>
                  </a:path>
                </a:pathLst>
              </a:custGeom>
              <a:solidFill>
                <a:srgbClr val="56ADFF"/>
              </a:solidFill>
              <a:ln>
                <a:noFill/>
              </a:ln>
            </p:spPr>
            <p:txBody>
              <a:bodyPr rtlCol="0" anchor="ctr"/>
              <a:lstStyle/>
              <a:p>
                <a:pPr algn="ctr"/>
                <a:endParaRPr sz="2000"/>
              </a:p>
            </p:txBody>
          </p:sp>
          <p:sp>
            <p:nvSpPr>
              <p:cNvPr id="65" name="Rounded Rectangle 62">
                <a:extLst>
                  <a:ext uri="{FF2B5EF4-FFF2-40B4-BE49-F238E27FC236}">
                    <a16:creationId xmlns:a16="http://schemas.microsoft.com/office/drawing/2014/main" id="{099DC7E7-2E08-2C99-2234-DCABCC83CB1B}"/>
                  </a:ext>
                </a:extLst>
              </p:cNvPr>
              <p:cNvSpPr/>
              <p:nvPr/>
            </p:nvSpPr>
            <p:spPr>
              <a:xfrm>
                <a:off x="4726459" y="3391929"/>
                <a:ext cx="166816" cy="889686"/>
              </a:xfrm>
              <a:custGeom>
                <a:avLst/>
                <a:gdLst/>
                <a:ahLst/>
                <a:cxnLst/>
                <a:rect l="0" t="0" r="0" b="0"/>
                <a:pathLst>
                  <a:path w="166816" h="889686">
                    <a:moveTo>
                      <a:pt x="0" y="0"/>
                    </a:moveTo>
                    <a:lnTo>
                      <a:pt x="18535" y="0"/>
                    </a:lnTo>
                    <a:cubicBezTo>
                      <a:pt x="100428" y="0"/>
                      <a:pt x="166816" y="66387"/>
                      <a:pt x="166816" y="148281"/>
                    </a:cubicBezTo>
                    <a:moveTo>
                      <a:pt x="0" y="889686"/>
                    </a:moveTo>
                    <a:lnTo>
                      <a:pt x="18535" y="889686"/>
                    </a:lnTo>
                    <a:cubicBezTo>
                      <a:pt x="100428" y="889686"/>
                      <a:pt x="166816" y="823299"/>
                      <a:pt x="166816" y="741405"/>
                    </a:cubicBezTo>
                    <a:moveTo>
                      <a:pt x="166816" y="741405"/>
                    </a:moveTo>
                    <a:lnTo>
                      <a:pt x="166816" y="148281"/>
                    </a:lnTo>
                  </a:path>
                </a:pathLst>
              </a:custGeom>
              <a:noFill/>
              <a:ln w="6950">
                <a:solidFill>
                  <a:srgbClr val="FFFFFF"/>
                </a:solidFill>
              </a:ln>
            </p:spPr>
            <p:txBody>
              <a:bodyPr rtlCol="0" anchor="ctr"/>
              <a:lstStyle/>
              <a:p>
                <a:pPr algn="ctr"/>
                <a:endParaRPr sz="2000"/>
              </a:p>
            </p:txBody>
          </p:sp>
        </p:grpSp>
        <p:grpSp>
          <p:nvGrpSpPr>
            <p:cNvPr id="66" name="Group 65">
              <a:extLst>
                <a:ext uri="{FF2B5EF4-FFF2-40B4-BE49-F238E27FC236}">
                  <a16:creationId xmlns:a16="http://schemas.microsoft.com/office/drawing/2014/main" id="{71B807AA-DD7E-7C7D-05F5-FB60CB7702C3}"/>
                </a:ext>
              </a:extLst>
            </p:cNvPr>
            <p:cNvGrpSpPr/>
            <p:nvPr/>
          </p:nvGrpSpPr>
          <p:grpSpPr>
            <a:xfrm>
              <a:off x="6555259" y="4019807"/>
              <a:ext cx="1223318" cy="889686"/>
              <a:chOff x="6098059" y="3391929"/>
              <a:chExt cx="1223318" cy="889686"/>
            </a:xfrm>
          </p:grpSpPr>
          <p:sp>
            <p:nvSpPr>
              <p:cNvPr id="67" name="Rounded Rectangle 64">
                <a:extLst>
                  <a:ext uri="{FF2B5EF4-FFF2-40B4-BE49-F238E27FC236}">
                    <a16:creationId xmlns:a16="http://schemas.microsoft.com/office/drawing/2014/main" id="{A68516E8-2659-886B-E62C-E519586AA41E}"/>
                  </a:ext>
                </a:extLst>
              </p:cNvPr>
              <p:cNvSpPr/>
              <p:nvPr/>
            </p:nvSpPr>
            <p:spPr>
              <a:xfrm>
                <a:off x="6098059" y="3391929"/>
                <a:ext cx="1223318" cy="889686"/>
              </a:xfrm>
              <a:custGeom>
                <a:avLst/>
                <a:gdLst/>
                <a:ahLst/>
                <a:cxnLst/>
                <a:rect l="0" t="0" r="0" b="0"/>
                <a:pathLst>
                  <a:path w="1223318" h="889686">
                    <a:moveTo>
                      <a:pt x="0" y="0"/>
                    </a:moveTo>
                    <a:lnTo>
                      <a:pt x="1223318" y="0"/>
                    </a:lnTo>
                    <a:lnTo>
                      <a:pt x="1223318" y="889686"/>
                    </a:lnTo>
                    <a:lnTo>
                      <a:pt x="0" y="889686"/>
                    </a:lnTo>
                    <a:lnTo>
                      <a:pt x="0" y="0"/>
                    </a:lnTo>
                    <a:close/>
                  </a:path>
                </a:pathLst>
              </a:custGeom>
              <a:solidFill>
                <a:srgbClr val="329CFF"/>
              </a:solidFill>
              <a:ln>
                <a:noFill/>
              </a:ln>
            </p:spPr>
            <p:txBody>
              <a:bodyPr rtlCol="0" anchor="ctr"/>
              <a:lstStyle/>
              <a:p>
                <a:pPr algn="ctr"/>
                <a:endParaRPr sz="2000"/>
              </a:p>
            </p:txBody>
          </p:sp>
          <p:sp>
            <p:nvSpPr>
              <p:cNvPr id="68" name="Rounded Rectangle 65">
                <a:extLst>
                  <a:ext uri="{FF2B5EF4-FFF2-40B4-BE49-F238E27FC236}">
                    <a16:creationId xmlns:a16="http://schemas.microsoft.com/office/drawing/2014/main" id="{5EDD4D78-3EE4-4A2E-66E3-577BE784DAA9}"/>
                  </a:ext>
                </a:extLst>
              </p:cNvPr>
              <p:cNvSpPr/>
              <p:nvPr/>
            </p:nvSpPr>
            <p:spPr>
              <a:xfrm>
                <a:off x="6098059" y="3391929"/>
                <a:ext cx="1223318" cy="889686"/>
              </a:xfrm>
              <a:custGeom>
                <a:avLst/>
                <a:gdLst/>
                <a:ahLst/>
                <a:cxnLst/>
                <a:rect l="0" t="0" r="0" b="0"/>
                <a:pathLst>
                  <a:path w="1223318" h="889686">
                    <a:moveTo>
                      <a:pt x="0" y="0"/>
                    </a:moveTo>
                    <a:lnTo>
                      <a:pt x="1223318" y="0"/>
                    </a:lnTo>
                    <a:moveTo>
                      <a:pt x="1223318" y="889686"/>
                    </a:moveTo>
                    <a:lnTo>
                      <a:pt x="0" y="889686"/>
                    </a:lnTo>
                  </a:path>
                </a:pathLst>
              </a:custGeom>
              <a:noFill/>
              <a:ln w="6950">
                <a:solidFill>
                  <a:srgbClr val="FFFFFF"/>
                </a:solidFill>
              </a:ln>
            </p:spPr>
            <p:txBody>
              <a:bodyPr rtlCol="0" anchor="ctr"/>
              <a:lstStyle/>
              <a:p>
                <a:pPr algn="ctr"/>
                <a:endParaRPr sz="2000"/>
              </a:p>
            </p:txBody>
          </p:sp>
        </p:grpSp>
        <p:grpSp>
          <p:nvGrpSpPr>
            <p:cNvPr id="69" name="Group 68">
              <a:extLst>
                <a:ext uri="{FF2B5EF4-FFF2-40B4-BE49-F238E27FC236}">
                  <a16:creationId xmlns:a16="http://schemas.microsoft.com/office/drawing/2014/main" id="{8EA1A902-5222-2ED6-376E-8F7BA70B1986}"/>
                </a:ext>
              </a:extLst>
            </p:cNvPr>
            <p:cNvGrpSpPr/>
            <p:nvPr/>
          </p:nvGrpSpPr>
          <p:grpSpPr>
            <a:xfrm>
              <a:off x="6388443" y="4019807"/>
              <a:ext cx="166816" cy="889686"/>
              <a:chOff x="5931243" y="3391929"/>
              <a:chExt cx="166816" cy="889686"/>
            </a:xfrm>
          </p:grpSpPr>
          <p:sp>
            <p:nvSpPr>
              <p:cNvPr id="70" name="Rounded Rectangle 67">
                <a:extLst>
                  <a:ext uri="{FF2B5EF4-FFF2-40B4-BE49-F238E27FC236}">
                    <a16:creationId xmlns:a16="http://schemas.microsoft.com/office/drawing/2014/main" id="{1D4483DE-0185-BA86-313C-DC4590C324C8}"/>
                  </a:ext>
                </a:extLst>
              </p:cNvPr>
              <p:cNvSpPr/>
              <p:nvPr/>
            </p:nvSpPr>
            <p:spPr>
              <a:xfrm>
                <a:off x="5931243" y="3391929"/>
                <a:ext cx="166816" cy="889686"/>
              </a:xfrm>
              <a:custGeom>
                <a:avLst/>
                <a:gdLst/>
                <a:ahLst/>
                <a:cxnLst/>
                <a:rect l="0" t="0" r="0" b="0"/>
                <a:pathLst>
                  <a:path w="166816" h="889686">
                    <a:moveTo>
                      <a:pt x="166816" y="0"/>
                    </a:moveTo>
                    <a:lnTo>
                      <a:pt x="148281" y="0"/>
                    </a:lnTo>
                    <a:cubicBezTo>
                      <a:pt x="66387" y="0"/>
                      <a:pt x="0" y="66387"/>
                      <a:pt x="0" y="148281"/>
                    </a:cubicBezTo>
                    <a:lnTo>
                      <a:pt x="166816" y="148281"/>
                    </a:lnTo>
                    <a:lnTo>
                      <a:pt x="166816" y="0"/>
                    </a:lnTo>
                    <a:close/>
                    <a:moveTo>
                      <a:pt x="166816" y="148281"/>
                    </a:moveTo>
                    <a:lnTo>
                      <a:pt x="166816" y="741405"/>
                    </a:lnTo>
                    <a:lnTo>
                      <a:pt x="0" y="741405"/>
                    </a:lnTo>
                    <a:lnTo>
                      <a:pt x="0" y="148281"/>
                    </a:lnTo>
                    <a:lnTo>
                      <a:pt x="166816" y="148281"/>
                    </a:lnTo>
                    <a:close/>
                    <a:moveTo>
                      <a:pt x="166816" y="889686"/>
                    </a:moveTo>
                    <a:lnTo>
                      <a:pt x="148281" y="889686"/>
                    </a:lnTo>
                    <a:cubicBezTo>
                      <a:pt x="66387" y="889686"/>
                      <a:pt x="0" y="823299"/>
                      <a:pt x="0" y="741405"/>
                    </a:cubicBezTo>
                    <a:lnTo>
                      <a:pt x="166816" y="741405"/>
                    </a:lnTo>
                    <a:lnTo>
                      <a:pt x="166816" y="889686"/>
                    </a:lnTo>
                    <a:close/>
                  </a:path>
                </a:pathLst>
              </a:custGeom>
              <a:solidFill>
                <a:srgbClr val="329CFF"/>
              </a:solidFill>
              <a:ln>
                <a:noFill/>
              </a:ln>
            </p:spPr>
            <p:txBody>
              <a:bodyPr rtlCol="0" anchor="ctr"/>
              <a:lstStyle/>
              <a:p>
                <a:pPr algn="ctr"/>
                <a:endParaRPr sz="2000"/>
              </a:p>
            </p:txBody>
          </p:sp>
          <p:sp>
            <p:nvSpPr>
              <p:cNvPr id="71" name="Rounded Rectangle 68">
                <a:extLst>
                  <a:ext uri="{FF2B5EF4-FFF2-40B4-BE49-F238E27FC236}">
                    <a16:creationId xmlns:a16="http://schemas.microsoft.com/office/drawing/2014/main" id="{71AC9A36-7548-350F-3E23-CA78C855109B}"/>
                  </a:ext>
                </a:extLst>
              </p:cNvPr>
              <p:cNvSpPr/>
              <p:nvPr/>
            </p:nvSpPr>
            <p:spPr>
              <a:xfrm>
                <a:off x="5931243" y="3391929"/>
                <a:ext cx="166816" cy="889686"/>
              </a:xfrm>
              <a:custGeom>
                <a:avLst/>
                <a:gdLst/>
                <a:ahLst/>
                <a:cxnLst/>
                <a:rect l="0" t="0" r="0" b="0"/>
                <a:pathLst>
                  <a:path w="166816" h="889686">
                    <a:moveTo>
                      <a:pt x="166816" y="0"/>
                    </a:moveTo>
                    <a:lnTo>
                      <a:pt x="148281" y="0"/>
                    </a:lnTo>
                    <a:cubicBezTo>
                      <a:pt x="66387" y="0"/>
                      <a:pt x="0" y="66387"/>
                      <a:pt x="0" y="148281"/>
                    </a:cubicBezTo>
                    <a:moveTo>
                      <a:pt x="166816" y="889686"/>
                    </a:moveTo>
                    <a:lnTo>
                      <a:pt x="148281" y="889686"/>
                    </a:lnTo>
                    <a:cubicBezTo>
                      <a:pt x="66387" y="889686"/>
                      <a:pt x="0" y="823299"/>
                      <a:pt x="0" y="741405"/>
                    </a:cubicBezTo>
                    <a:moveTo>
                      <a:pt x="0" y="741405"/>
                    </a:moveTo>
                    <a:lnTo>
                      <a:pt x="0" y="148281"/>
                    </a:lnTo>
                  </a:path>
                </a:pathLst>
              </a:custGeom>
              <a:noFill/>
              <a:ln w="6950">
                <a:solidFill>
                  <a:srgbClr val="FFFFFF"/>
                </a:solidFill>
              </a:ln>
            </p:spPr>
            <p:txBody>
              <a:bodyPr rtlCol="0" anchor="ctr"/>
              <a:lstStyle/>
              <a:p>
                <a:pPr algn="ctr"/>
                <a:endParaRPr sz="2000"/>
              </a:p>
            </p:txBody>
          </p:sp>
        </p:grpSp>
        <p:grpSp>
          <p:nvGrpSpPr>
            <p:cNvPr id="72" name="Group 71">
              <a:extLst>
                <a:ext uri="{FF2B5EF4-FFF2-40B4-BE49-F238E27FC236}">
                  <a16:creationId xmlns:a16="http://schemas.microsoft.com/office/drawing/2014/main" id="{55130207-6E8A-7317-4327-79ADFAE2CE59}"/>
                </a:ext>
              </a:extLst>
            </p:cNvPr>
            <p:cNvGrpSpPr/>
            <p:nvPr/>
          </p:nvGrpSpPr>
          <p:grpSpPr>
            <a:xfrm>
              <a:off x="7778578" y="4019807"/>
              <a:ext cx="166816" cy="889686"/>
              <a:chOff x="7321378" y="3391929"/>
              <a:chExt cx="166816" cy="889686"/>
            </a:xfrm>
          </p:grpSpPr>
          <p:sp>
            <p:nvSpPr>
              <p:cNvPr id="73" name="Rounded Rectangle 70">
                <a:extLst>
                  <a:ext uri="{FF2B5EF4-FFF2-40B4-BE49-F238E27FC236}">
                    <a16:creationId xmlns:a16="http://schemas.microsoft.com/office/drawing/2014/main" id="{2F3EF324-FA4B-7536-2343-EEAB290F9FC6}"/>
                  </a:ext>
                </a:extLst>
              </p:cNvPr>
              <p:cNvSpPr/>
              <p:nvPr/>
            </p:nvSpPr>
            <p:spPr>
              <a:xfrm>
                <a:off x="7321378" y="3391929"/>
                <a:ext cx="166816" cy="889686"/>
              </a:xfrm>
              <a:custGeom>
                <a:avLst/>
                <a:gdLst/>
                <a:ahLst/>
                <a:cxnLst/>
                <a:rect l="0" t="0" r="0" b="0"/>
                <a:pathLst>
                  <a:path w="166816" h="889686">
                    <a:moveTo>
                      <a:pt x="0" y="0"/>
                    </a:moveTo>
                    <a:lnTo>
                      <a:pt x="18535" y="0"/>
                    </a:lnTo>
                    <a:cubicBezTo>
                      <a:pt x="100428" y="0"/>
                      <a:pt x="166816" y="66387"/>
                      <a:pt x="166816" y="148281"/>
                    </a:cubicBezTo>
                    <a:lnTo>
                      <a:pt x="0" y="148281"/>
                    </a:lnTo>
                    <a:lnTo>
                      <a:pt x="0" y="0"/>
                    </a:lnTo>
                    <a:close/>
                    <a:moveTo>
                      <a:pt x="0" y="741405"/>
                    </a:moveTo>
                    <a:lnTo>
                      <a:pt x="0" y="148281"/>
                    </a:lnTo>
                    <a:lnTo>
                      <a:pt x="166816" y="148281"/>
                    </a:lnTo>
                    <a:lnTo>
                      <a:pt x="166816" y="741405"/>
                    </a:lnTo>
                    <a:lnTo>
                      <a:pt x="0" y="741405"/>
                    </a:lnTo>
                    <a:close/>
                    <a:moveTo>
                      <a:pt x="18535" y="889686"/>
                    </a:moveTo>
                    <a:lnTo>
                      <a:pt x="0" y="889686"/>
                    </a:lnTo>
                    <a:lnTo>
                      <a:pt x="0" y="741405"/>
                    </a:lnTo>
                    <a:lnTo>
                      <a:pt x="166816" y="741405"/>
                    </a:lnTo>
                    <a:cubicBezTo>
                      <a:pt x="166816" y="823299"/>
                      <a:pt x="100428" y="889686"/>
                      <a:pt x="18535" y="889686"/>
                    </a:cubicBezTo>
                    <a:close/>
                  </a:path>
                </a:pathLst>
              </a:custGeom>
              <a:solidFill>
                <a:srgbClr val="329CFF"/>
              </a:solidFill>
              <a:ln>
                <a:noFill/>
              </a:ln>
            </p:spPr>
            <p:txBody>
              <a:bodyPr rtlCol="0" anchor="ctr"/>
              <a:lstStyle/>
              <a:p>
                <a:pPr algn="ctr"/>
                <a:endParaRPr sz="2000"/>
              </a:p>
            </p:txBody>
          </p:sp>
          <p:sp>
            <p:nvSpPr>
              <p:cNvPr id="74" name="Rounded Rectangle 71">
                <a:extLst>
                  <a:ext uri="{FF2B5EF4-FFF2-40B4-BE49-F238E27FC236}">
                    <a16:creationId xmlns:a16="http://schemas.microsoft.com/office/drawing/2014/main" id="{819F27CA-88BD-39E8-E31C-1B32D5C89204}"/>
                  </a:ext>
                </a:extLst>
              </p:cNvPr>
              <p:cNvSpPr/>
              <p:nvPr/>
            </p:nvSpPr>
            <p:spPr>
              <a:xfrm>
                <a:off x="7321378" y="3391929"/>
                <a:ext cx="166816" cy="889686"/>
              </a:xfrm>
              <a:custGeom>
                <a:avLst/>
                <a:gdLst/>
                <a:ahLst/>
                <a:cxnLst/>
                <a:rect l="0" t="0" r="0" b="0"/>
                <a:pathLst>
                  <a:path w="166816" h="889686">
                    <a:moveTo>
                      <a:pt x="0" y="0"/>
                    </a:moveTo>
                    <a:lnTo>
                      <a:pt x="18535" y="0"/>
                    </a:lnTo>
                    <a:cubicBezTo>
                      <a:pt x="100428" y="0"/>
                      <a:pt x="166816" y="66387"/>
                      <a:pt x="166816" y="148281"/>
                    </a:cubicBezTo>
                    <a:moveTo>
                      <a:pt x="0" y="889686"/>
                    </a:moveTo>
                    <a:lnTo>
                      <a:pt x="18535" y="889686"/>
                    </a:lnTo>
                    <a:cubicBezTo>
                      <a:pt x="100428" y="889686"/>
                      <a:pt x="166816" y="823299"/>
                      <a:pt x="166816" y="741405"/>
                    </a:cubicBezTo>
                    <a:moveTo>
                      <a:pt x="166816" y="741405"/>
                    </a:moveTo>
                    <a:lnTo>
                      <a:pt x="166816" y="148281"/>
                    </a:lnTo>
                  </a:path>
                </a:pathLst>
              </a:custGeom>
              <a:noFill/>
              <a:ln w="6950">
                <a:solidFill>
                  <a:srgbClr val="FFFFFF"/>
                </a:solidFill>
              </a:ln>
            </p:spPr>
            <p:txBody>
              <a:bodyPr rtlCol="0" anchor="ctr"/>
              <a:lstStyle/>
              <a:p>
                <a:pPr algn="ctr"/>
                <a:endParaRPr sz="2000"/>
              </a:p>
            </p:txBody>
          </p:sp>
        </p:grpSp>
        <p:grpSp>
          <p:nvGrpSpPr>
            <p:cNvPr id="75" name="Group 74">
              <a:extLst>
                <a:ext uri="{FF2B5EF4-FFF2-40B4-BE49-F238E27FC236}">
                  <a16:creationId xmlns:a16="http://schemas.microsoft.com/office/drawing/2014/main" id="{6CA86759-8115-075C-3A36-E88B1747FB5E}"/>
                </a:ext>
              </a:extLst>
            </p:cNvPr>
            <p:cNvGrpSpPr/>
            <p:nvPr/>
          </p:nvGrpSpPr>
          <p:grpSpPr>
            <a:xfrm>
              <a:off x="5706628" y="5272782"/>
              <a:ext cx="375985" cy="51898"/>
              <a:chOff x="5249428" y="4644904"/>
              <a:chExt cx="375985" cy="51898"/>
            </a:xfrm>
          </p:grpSpPr>
          <p:sp>
            <p:nvSpPr>
              <p:cNvPr id="76" name="Rounded Rectangle 73">
                <a:extLst>
                  <a:ext uri="{FF2B5EF4-FFF2-40B4-BE49-F238E27FC236}">
                    <a16:creationId xmlns:a16="http://schemas.microsoft.com/office/drawing/2014/main" id="{4C934D7D-16BC-B060-42EC-4B9F8593DADB}"/>
                  </a:ext>
                </a:extLst>
              </p:cNvPr>
              <p:cNvSpPr/>
              <p:nvPr/>
            </p:nvSpPr>
            <p:spPr>
              <a:xfrm>
                <a:off x="5262403" y="4670854"/>
                <a:ext cx="363010" cy="9267"/>
              </a:xfrm>
              <a:custGeom>
                <a:avLst/>
                <a:gdLst/>
                <a:ahLst/>
                <a:cxnLst/>
                <a:rect l="0" t="0" r="0" b="0"/>
                <a:pathLst>
                  <a:path w="363010" h="9267">
                    <a:moveTo>
                      <a:pt x="0" y="0"/>
                    </a:moveTo>
                    <a:lnTo>
                      <a:pt x="363010" y="0"/>
                    </a:lnTo>
                  </a:path>
                </a:pathLst>
              </a:custGeom>
              <a:noFill/>
              <a:ln w="6950">
                <a:solidFill>
                  <a:srgbClr val="077BE7"/>
                </a:solidFill>
              </a:ln>
            </p:spPr>
            <p:txBody>
              <a:bodyPr rtlCol="0" anchor="ctr"/>
              <a:lstStyle/>
              <a:p>
                <a:pPr algn="ctr"/>
                <a:endParaRPr sz="2000"/>
              </a:p>
            </p:txBody>
          </p:sp>
          <p:sp>
            <p:nvSpPr>
              <p:cNvPr id="77" name="Rounded Rectangle 74">
                <a:extLst>
                  <a:ext uri="{FF2B5EF4-FFF2-40B4-BE49-F238E27FC236}">
                    <a16:creationId xmlns:a16="http://schemas.microsoft.com/office/drawing/2014/main" id="{B4AEEF3C-6FE8-8C47-7DC4-F2FB1097A77C}"/>
                  </a:ext>
                </a:extLst>
              </p:cNvPr>
              <p:cNvSpPr/>
              <p:nvPr/>
            </p:nvSpPr>
            <p:spPr>
              <a:xfrm>
                <a:off x="5249428" y="4644904"/>
                <a:ext cx="45411" cy="51898"/>
              </a:xfrm>
              <a:custGeom>
                <a:avLst/>
                <a:gdLst/>
                <a:ahLst/>
                <a:cxnLst/>
                <a:rect l="0" t="0" r="0" b="0"/>
                <a:pathLst>
                  <a:path w="45411" h="51898">
                    <a:moveTo>
                      <a:pt x="0" y="25949"/>
                    </a:moveTo>
                    <a:lnTo>
                      <a:pt x="45411" y="0"/>
                    </a:lnTo>
                    <a:lnTo>
                      <a:pt x="45411" y="51898"/>
                    </a:lnTo>
                    <a:close/>
                  </a:path>
                </a:pathLst>
              </a:custGeom>
              <a:solidFill>
                <a:srgbClr val="077BE7"/>
              </a:solidFill>
              <a:ln w="6950">
                <a:solidFill>
                  <a:srgbClr val="077BE7"/>
                </a:solidFill>
              </a:ln>
            </p:spPr>
            <p:txBody>
              <a:bodyPr rtlCol="0" anchor="ctr"/>
              <a:lstStyle/>
              <a:p>
                <a:pPr algn="ctr"/>
                <a:endParaRPr sz="2000"/>
              </a:p>
            </p:txBody>
          </p:sp>
        </p:grpSp>
        <p:grpSp>
          <p:nvGrpSpPr>
            <p:cNvPr id="78" name="Group 77">
              <a:extLst>
                <a:ext uri="{FF2B5EF4-FFF2-40B4-BE49-F238E27FC236}">
                  <a16:creationId xmlns:a16="http://schemas.microsoft.com/office/drawing/2014/main" id="{F59DAF12-44BF-71BC-500C-F6D88B1E6249}"/>
                </a:ext>
              </a:extLst>
            </p:cNvPr>
            <p:cNvGrpSpPr/>
            <p:nvPr/>
          </p:nvGrpSpPr>
          <p:grpSpPr>
            <a:xfrm>
              <a:off x="3111709" y="5272782"/>
              <a:ext cx="375984" cy="51898"/>
              <a:chOff x="2654509" y="4644904"/>
              <a:chExt cx="375984" cy="51898"/>
            </a:xfrm>
          </p:grpSpPr>
          <p:sp>
            <p:nvSpPr>
              <p:cNvPr id="79" name="Rounded Rectangle 76">
                <a:extLst>
                  <a:ext uri="{FF2B5EF4-FFF2-40B4-BE49-F238E27FC236}">
                    <a16:creationId xmlns:a16="http://schemas.microsoft.com/office/drawing/2014/main" id="{D6EABB47-B8FC-3B36-9934-69CD3EE17E25}"/>
                  </a:ext>
                </a:extLst>
              </p:cNvPr>
              <p:cNvSpPr/>
              <p:nvPr/>
            </p:nvSpPr>
            <p:spPr>
              <a:xfrm>
                <a:off x="2667483" y="4670854"/>
                <a:ext cx="363010" cy="9267"/>
              </a:xfrm>
              <a:custGeom>
                <a:avLst/>
                <a:gdLst/>
                <a:ahLst/>
                <a:cxnLst/>
                <a:rect l="0" t="0" r="0" b="0"/>
                <a:pathLst>
                  <a:path w="363010" h="9267">
                    <a:moveTo>
                      <a:pt x="0" y="0"/>
                    </a:moveTo>
                    <a:lnTo>
                      <a:pt x="363010" y="0"/>
                    </a:lnTo>
                  </a:path>
                </a:pathLst>
              </a:custGeom>
              <a:noFill/>
              <a:ln w="6950">
                <a:solidFill>
                  <a:srgbClr val="077BE7"/>
                </a:solidFill>
              </a:ln>
            </p:spPr>
            <p:txBody>
              <a:bodyPr rtlCol="0" anchor="ctr"/>
              <a:lstStyle/>
              <a:p>
                <a:pPr algn="ctr"/>
                <a:endParaRPr sz="2000"/>
              </a:p>
            </p:txBody>
          </p:sp>
          <p:sp>
            <p:nvSpPr>
              <p:cNvPr id="80" name="Rounded Rectangle 77">
                <a:extLst>
                  <a:ext uri="{FF2B5EF4-FFF2-40B4-BE49-F238E27FC236}">
                    <a16:creationId xmlns:a16="http://schemas.microsoft.com/office/drawing/2014/main" id="{F7945AB9-1C37-48AF-73AE-7B2FB001F7E6}"/>
                  </a:ext>
                </a:extLst>
              </p:cNvPr>
              <p:cNvSpPr/>
              <p:nvPr/>
            </p:nvSpPr>
            <p:spPr>
              <a:xfrm>
                <a:off x="2654509" y="4644904"/>
                <a:ext cx="45411" cy="51898"/>
              </a:xfrm>
              <a:custGeom>
                <a:avLst/>
                <a:gdLst/>
                <a:ahLst/>
                <a:cxnLst/>
                <a:rect l="0" t="0" r="0" b="0"/>
                <a:pathLst>
                  <a:path w="45411" h="51898">
                    <a:moveTo>
                      <a:pt x="0" y="25949"/>
                    </a:moveTo>
                    <a:lnTo>
                      <a:pt x="45411" y="0"/>
                    </a:lnTo>
                    <a:lnTo>
                      <a:pt x="45411" y="51898"/>
                    </a:lnTo>
                    <a:close/>
                  </a:path>
                </a:pathLst>
              </a:custGeom>
              <a:solidFill>
                <a:srgbClr val="077BE7"/>
              </a:solidFill>
              <a:ln w="6950">
                <a:solidFill>
                  <a:srgbClr val="077BE7"/>
                </a:solidFill>
              </a:ln>
            </p:spPr>
            <p:txBody>
              <a:bodyPr rtlCol="0" anchor="ctr"/>
              <a:lstStyle/>
              <a:p>
                <a:pPr algn="ctr"/>
                <a:endParaRPr sz="2000"/>
              </a:p>
            </p:txBody>
          </p:sp>
        </p:grpSp>
        <p:grpSp>
          <p:nvGrpSpPr>
            <p:cNvPr id="81" name="Group 80">
              <a:extLst>
                <a:ext uri="{FF2B5EF4-FFF2-40B4-BE49-F238E27FC236}">
                  <a16:creationId xmlns:a16="http://schemas.microsoft.com/office/drawing/2014/main" id="{F5C24700-D3E6-AD4C-4258-10353A0C1D7E}"/>
                </a:ext>
              </a:extLst>
            </p:cNvPr>
            <p:cNvGrpSpPr/>
            <p:nvPr/>
          </p:nvGrpSpPr>
          <p:grpSpPr>
            <a:xfrm>
              <a:off x="902043" y="4687072"/>
              <a:ext cx="2150075" cy="1056502"/>
              <a:chOff x="444843" y="4059194"/>
              <a:chExt cx="2150075" cy="1056502"/>
            </a:xfrm>
          </p:grpSpPr>
          <p:sp>
            <p:nvSpPr>
              <p:cNvPr id="82" name="Rounded Rectangle 79">
                <a:extLst>
                  <a:ext uri="{FF2B5EF4-FFF2-40B4-BE49-F238E27FC236}">
                    <a16:creationId xmlns:a16="http://schemas.microsoft.com/office/drawing/2014/main" id="{0FBEAA30-D2EA-B079-1DE4-A768A0E97B1C}"/>
                  </a:ext>
                </a:extLst>
              </p:cNvPr>
              <p:cNvSpPr/>
              <p:nvPr/>
            </p:nvSpPr>
            <p:spPr>
              <a:xfrm>
                <a:off x="444843" y="4059194"/>
                <a:ext cx="2150075" cy="1056502"/>
              </a:xfrm>
              <a:custGeom>
                <a:avLst/>
                <a:gdLst/>
                <a:ahLst/>
                <a:cxnLst/>
                <a:rect l="0" t="0" r="0" b="0"/>
                <a:pathLst>
                  <a:path w="2150075" h="1056502">
                    <a:moveTo>
                      <a:pt x="2150075" y="231689"/>
                    </a:moveTo>
                    <a:lnTo>
                      <a:pt x="2150075" y="444843"/>
                    </a:lnTo>
                    <a:lnTo>
                      <a:pt x="0" y="444843"/>
                    </a:lnTo>
                    <a:lnTo>
                      <a:pt x="0" y="231689"/>
                    </a:lnTo>
                    <a:lnTo>
                      <a:pt x="2150075" y="231689"/>
                    </a:lnTo>
                    <a:close/>
                    <a:moveTo>
                      <a:pt x="0" y="231689"/>
                    </a:moveTo>
                    <a:lnTo>
                      <a:pt x="0" y="148281"/>
                    </a:lnTo>
                    <a:cubicBezTo>
                      <a:pt x="0" y="66386"/>
                      <a:pt x="66384" y="0"/>
                      <a:pt x="148281" y="0"/>
                    </a:cubicBezTo>
                    <a:lnTo>
                      <a:pt x="287294" y="0"/>
                    </a:lnTo>
                    <a:lnTo>
                      <a:pt x="287294" y="74140"/>
                    </a:lnTo>
                    <a:cubicBezTo>
                      <a:pt x="287294" y="166816"/>
                      <a:pt x="362946" y="231689"/>
                      <a:pt x="444843" y="231689"/>
                    </a:cubicBezTo>
                    <a:lnTo>
                      <a:pt x="463378" y="231689"/>
                    </a:lnTo>
                    <a:lnTo>
                      <a:pt x="0" y="231689"/>
                    </a:lnTo>
                    <a:close/>
                    <a:moveTo>
                      <a:pt x="2150075" y="231689"/>
                    </a:moveTo>
                    <a:lnTo>
                      <a:pt x="2150075" y="148281"/>
                    </a:lnTo>
                    <a:cubicBezTo>
                      <a:pt x="2150075" y="66386"/>
                      <a:pt x="2083691" y="0"/>
                      <a:pt x="2001794" y="0"/>
                    </a:cubicBezTo>
                    <a:lnTo>
                      <a:pt x="1862781" y="0"/>
                    </a:lnTo>
                    <a:lnTo>
                      <a:pt x="1862781" y="74140"/>
                    </a:lnTo>
                    <a:cubicBezTo>
                      <a:pt x="1862781" y="166816"/>
                      <a:pt x="1787129" y="231689"/>
                      <a:pt x="1705232" y="231689"/>
                    </a:cubicBezTo>
                    <a:lnTo>
                      <a:pt x="1686697" y="231689"/>
                    </a:lnTo>
                    <a:lnTo>
                      <a:pt x="2150075" y="231689"/>
                    </a:lnTo>
                    <a:close/>
                    <a:moveTo>
                      <a:pt x="0" y="444843"/>
                    </a:moveTo>
                    <a:lnTo>
                      <a:pt x="2150075" y="444843"/>
                    </a:lnTo>
                    <a:lnTo>
                      <a:pt x="2150075" y="889686"/>
                    </a:lnTo>
                    <a:lnTo>
                      <a:pt x="0" y="889686"/>
                    </a:lnTo>
                    <a:lnTo>
                      <a:pt x="0" y="444843"/>
                    </a:lnTo>
                    <a:close/>
                    <a:moveTo>
                      <a:pt x="0" y="889686"/>
                    </a:moveTo>
                    <a:lnTo>
                      <a:pt x="2150075" y="889686"/>
                    </a:lnTo>
                    <a:lnTo>
                      <a:pt x="2150075" y="908221"/>
                    </a:lnTo>
                    <a:cubicBezTo>
                      <a:pt x="2150075" y="990115"/>
                      <a:pt x="2083688" y="1056502"/>
                      <a:pt x="2001794" y="1056502"/>
                    </a:cubicBezTo>
                    <a:lnTo>
                      <a:pt x="148281" y="1056502"/>
                    </a:lnTo>
                    <a:cubicBezTo>
                      <a:pt x="66387" y="1056502"/>
                      <a:pt x="0" y="990115"/>
                      <a:pt x="0" y="908221"/>
                    </a:cubicBezTo>
                    <a:lnTo>
                      <a:pt x="0" y="889686"/>
                    </a:lnTo>
                    <a:close/>
                  </a:path>
                </a:pathLst>
              </a:custGeom>
              <a:solidFill>
                <a:srgbClr val="8AC6FF"/>
              </a:solidFill>
              <a:ln>
                <a:noFill/>
              </a:ln>
            </p:spPr>
            <p:txBody>
              <a:bodyPr rtlCol="0" anchor="ctr"/>
              <a:lstStyle/>
              <a:p>
                <a:pPr algn="ctr"/>
                <a:endParaRPr sz="2000"/>
              </a:p>
            </p:txBody>
          </p:sp>
          <p:sp>
            <p:nvSpPr>
              <p:cNvPr id="83" name="Rounded Rectangle 80">
                <a:extLst>
                  <a:ext uri="{FF2B5EF4-FFF2-40B4-BE49-F238E27FC236}">
                    <a16:creationId xmlns:a16="http://schemas.microsoft.com/office/drawing/2014/main" id="{6DA9A161-8F5E-749C-A675-58C5A2169AA8}"/>
                  </a:ext>
                </a:extLst>
              </p:cNvPr>
              <p:cNvSpPr/>
              <p:nvPr/>
            </p:nvSpPr>
            <p:spPr>
              <a:xfrm>
                <a:off x="444843" y="4059194"/>
                <a:ext cx="2150075" cy="1056502"/>
              </a:xfrm>
              <a:custGeom>
                <a:avLst/>
                <a:gdLst/>
                <a:ahLst/>
                <a:cxnLst/>
                <a:rect l="0" t="0" r="0" b="0"/>
                <a:pathLst>
                  <a:path w="2150075" h="1056502">
                    <a:moveTo>
                      <a:pt x="2150075" y="333632"/>
                    </a:moveTo>
                    <a:lnTo>
                      <a:pt x="2150075" y="889686"/>
                    </a:lnTo>
                    <a:moveTo>
                      <a:pt x="0" y="889686"/>
                    </a:moveTo>
                    <a:lnTo>
                      <a:pt x="0" y="333632"/>
                    </a:lnTo>
                    <a:moveTo>
                      <a:pt x="2150075" y="889686"/>
                    </a:moveTo>
                    <a:lnTo>
                      <a:pt x="2150075" y="908221"/>
                    </a:lnTo>
                    <a:cubicBezTo>
                      <a:pt x="2150075" y="990115"/>
                      <a:pt x="2083688" y="1056502"/>
                      <a:pt x="2001794" y="1056502"/>
                    </a:cubicBezTo>
                    <a:lnTo>
                      <a:pt x="148281" y="1056502"/>
                    </a:lnTo>
                    <a:cubicBezTo>
                      <a:pt x="66387" y="1056502"/>
                      <a:pt x="0" y="990115"/>
                      <a:pt x="0" y="908221"/>
                    </a:cubicBezTo>
                    <a:lnTo>
                      <a:pt x="0" y="889686"/>
                    </a:lnTo>
                    <a:moveTo>
                      <a:pt x="0" y="333632"/>
                    </a:moveTo>
                    <a:lnTo>
                      <a:pt x="0" y="148281"/>
                    </a:lnTo>
                    <a:cubicBezTo>
                      <a:pt x="0" y="66387"/>
                      <a:pt x="66387" y="0"/>
                      <a:pt x="148281" y="0"/>
                    </a:cubicBezTo>
                    <a:lnTo>
                      <a:pt x="296562" y="0"/>
                    </a:lnTo>
                    <a:moveTo>
                      <a:pt x="2150075" y="333632"/>
                    </a:moveTo>
                    <a:lnTo>
                      <a:pt x="2150075" y="148281"/>
                    </a:lnTo>
                    <a:cubicBezTo>
                      <a:pt x="2150075" y="66387"/>
                      <a:pt x="2083688" y="0"/>
                      <a:pt x="2001794" y="0"/>
                    </a:cubicBezTo>
                    <a:lnTo>
                      <a:pt x="1853513" y="0"/>
                    </a:lnTo>
                  </a:path>
                </a:pathLst>
              </a:custGeom>
              <a:noFill/>
              <a:ln w="6950">
                <a:solidFill>
                  <a:srgbClr val="FFFFFF"/>
                </a:solidFill>
              </a:ln>
            </p:spPr>
            <p:txBody>
              <a:bodyPr rtlCol="0" anchor="ctr"/>
              <a:lstStyle/>
              <a:p>
                <a:pPr algn="ctr"/>
                <a:endParaRPr sz="2000"/>
              </a:p>
            </p:txBody>
          </p:sp>
        </p:grpSp>
        <p:grpSp>
          <p:nvGrpSpPr>
            <p:cNvPr id="84" name="Group 83">
              <a:extLst>
                <a:ext uri="{FF2B5EF4-FFF2-40B4-BE49-F238E27FC236}">
                  <a16:creationId xmlns:a16="http://schemas.microsoft.com/office/drawing/2014/main" id="{4DE84ABB-8D14-BB4F-C53F-A61248778FC0}"/>
                </a:ext>
              </a:extLst>
            </p:cNvPr>
            <p:cNvGrpSpPr/>
            <p:nvPr/>
          </p:nvGrpSpPr>
          <p:grpSpPr>
            <a:xfrm>
              <a:off x="3496962" y="4687072"/>
              <a:ext cx="2150075" cy="1056502"/>
              <a:chOff x="3039762" y="4059194"/>
              <a:chExt cx="2150075" cy="1056502"/>
            </a:xfrm>
          </p:grpSpPr>
          <p:sp>
            <p:nvSpPr>
              <p:cNvPr id="85" name="Rounded Rectangle 82">
                <a:extLst>
                  <a:ext uri="{FF2B5EF4-FFF2-40B4-BE49-F238E27FC236}">
                    <a16:creationId xmlns:a16="http://schemas.microsoft.com/office/drawing/2014/main" id="{4E258C6D-6FD1-6F02-E1C4-2624CF1C63FE}"/>
                  </a:ext>
                </a:extLst>
              </p:cNvPr>
              <p:cNvSpPr/>
              <p:nvPr/>
            </p:nvSpPr>
            <p:spPr>
              <a:xfrm>
                <a:off x="3039762" y="4059194"/>
                <a:ext cx="2150075" cy="1056502"/>
              </a:xfrm>
              <a:custGeom>
                <a:avLst/>
                <a:gdLst/>
                <a:ahLst/>
                <a:cxnLst/>
                <a:rect l="0" t="0" r="0" b="0"/>
                <a:pathLst>
                  <a:path w="2150075" h="1056502">
                    <a:moveTo>
                      <a:pt x="2150075" y="231689"/>
                    </a:moveTo>
                    <a:lnTo>
                      <a:pt x="2150075" y="444843"/>
                    </a:lnTo>
                    <a:lnTo>
                      <a:pt x="0" y="444843"/>
                    </a:lnTo>
                    <a:lnTo>
                      <a:pt x="0" y="231689"/>
                    </a:lnTo>
                    <a:lnTo>
                      <a:pt x="2150075" y="231689"/>
                    </a:lnTo>
                    <a:close/>
                    <a:moveTo>
                      <a:pt x="0" y="231689"/>
                    </a:moveTo>
                    <a:lnTo>
                      <a:pt x="0" y="148281"/>
                    </a:lnTo>
                    <a:cubicBezTo>
                      <a:pt x="0" y="66386"/>
                      <a:pt x="66384" y="0"/>
                      <a:pt x="148281" y="0"/>
                    </a:cubicBezTo>
                    <a:lnTo>
                      <a:pt x="287294" y="0"/>
                    </a:lnTo>
                    <a:lnTo>
                      <a:pt x="287294" y="74140"/>
                    </a:lnTo>
                    <a:cubicBezTo>
                      <a:pt x="287294" y="166816"/>
                      <a:pt x="362946" y="231689"/>
                      <a:pt x="444843" y="231689"/>
                    </a:cubicBezTo>
                    <a:lnTo>
                      <a:pt x="463378" y="231689"/>
                    </a:lnTo>
                    <a:lnTo>
                      <a:pt x="0" y="231689"/>
                    </a:lnTo>
                    <a:close/>
                    <a:moveTo>
                      <a:pt x="2150075" y="231689"/>
                    </a:moveTo>
                    <a:lnTo>
                      <a:pt x="2150075" y="148281"/>
                    </a:lnTo>
                    <a:cubicBezTo>
                      <a:pt x="2150075" y="66386"/>
                      <a:pt x="2083691" y="0"/>
                      <a:pt x="2001794" y="0"/>
                    </a:cubicBezTo>
                    <a:lnTo>
                      <a:pt x="1862781" y="0"/>
                    </a:lnTo>
                    <a:lnTo>
                      <a:pt x="1862781" y="74140"/>
                    </a:lnTo>
                    <a:cubicBezTo>
                      <a:pt x="1862781" y="166816"/>
                      <a:pt x="1787129" y="231689"/>
                      <a:pt x="1705232" y="231689"/>
                    </a:cubicBezTo>
                    <a:lnTo>
                      <a:pt x="1686697" y="231689"/>
                    </a:lnTo>
                    <a:lnTo>
                      <a:pt x="2150075" y="231689"/>
                    </a:lnTo>
                    <a:close/>
                    <a:moveTo>
                      <a:pt x="0" y="444843"/>
                    </a:moveTo>
                    <a:lnTo>
                      <a:pt x="2150075" y="444843"/>
                    </a:lnTo>
                    <a:lnTo>
                      <a:pt x="2150075" y="889686"/>
                    </a:lnTo>
                    <a:lnTo>
                      <a:pt x="0" y="889686"/>
                    </a:lnTo>
                    <a:lnTo>
                      <a:pt x="0" y="444843"/>
                    </a:lnTo>
                    <a:close/>
                    <a:moveTo>
                      <a:pt x="0" y="889686"/>
                    </a:moveTo>
                    <a:lnTo>
                      <a:pt x="2150075" y="889686"/>
                    </a:lnTo>
                    <a:lnTo>
                      <a:pt x="2150075" y="908221"/>
                    </a:lnTo>
                    <a:cubicBezTo>
                      <a:pt x="2150075" y="990115"/>
                      <a:pt x="2083688" y="1056502"/>
                      <a:pt x="2001794" y="1056502"/>
                    </a:cubicBezTo>
                    <a:lnTo>
                      <a:pt x="148281" y="1056502"/>
                    </a:lnTo>
                    <a:cubicBezTo>
                      <a:pt x="66387" y="1056502"/>
                      <a:pt x="0" y="990115"/>
                      <a:pt x="0" y="908221"/>
                    </a:cubicBezTo>
                    <a:lnTo>
                      <a:pt x="0" y="889686"/>
                    </a:lnTo>
                    <a:close/>
                  </a:path>
                </a:pathLst>
              </a:custGeom>
              <a:solidFill>
                <a:srgbClr val="56ADFF"/>
              </a:solidFill>
              <a:ln>
                <a:noFill/>
              </a:ln>
            </p:spPr>
            <p:txBody>
              <a:bodyPr rtlCol="0" anchor="ctr"/>
              <a:lstStyle/>
              <a:p>
                <a:pPr algn="ctr"/>
                <a:endParaRPr sz="2000"/>
              </a:p>
            </p:txBody>
          </p:sp>
          <p:sp>
            <p:nvSpPr>
              <p:cNvPr id="86" name="Rounded Rectangle 83">
                <a:extLst>
                  <a:ext uri="{FF2B5EF4-FFF2-40B4-BE49-F238E27FC236}">
                    <a16:creationId xmlns:a16="http://schemas.microsoft.com/office/drawing/2014/main" id="{2F102170-E71D-F7D3-3AD8-3F62ABFADFD0}"/>
                  </a:ext>
                </a:extLst>
              </p:cNvPr>
              <p:cNvSpPr/>
              <p:nvPr/>
            </p:nvSpPr>
            <p:spPr>
              <a:xfrm>
                <a:off x="3039762" y="4059194"/>
                <a:ext cx="2150075" cy="1056502"/>
              </a:xfrm>
              <a:custGeom>
                <a:avLst/>
                <a:gdLst/>
                <a:ahLst/>
                <a:cxnLst/>
                <a:rect l="0" t="0" r="0" b="0"/>
                <a:pathLst>
                  <a:path w="2150075" h="1056502">
                    <a:moveTo>
                      <a:pt x="2150075" y="333632"/>
                    </a:moveTo>
                    <a:lnTo>
                      <a:pt x="2150075" y="889686"/>
                    </a:lnTo>
                    <a:moveTo>
                      <a:pt x="0" y="889686"/>
                    </a:moveTo>
                    <a:lnTo>
                      <a:pt x="0" y="333632"/>
                    </a:lnTo>
                    <a:moveTo>
                      <a:pt x="2150075" y="889686"/>
                    </a:moveTo>
                    <a:lnTo>
                      <a:pt x="2150075" y="908221"/>
                    </a:lnTo>
                    <a:cubicBezTo>
                      <a:pt x="2150075" y="990115"/>
                      <a:pt x="2083688" y="1056502"/>
                      <a:pt x="2001794" y="1056502"/>
                    </a:cubicBezTo>
                    <a:lnTo>
                      <a:pt x="148281" y="1056502"/>
                    </a:lnTo>
                    <a:cubicBezTo>
                      <a:pt x="66387" y="1056502"/>
                      <a:pt x="0" y="990115"/>
                      <a:pt x="0" y="908221"/>
                    </a:cubicBezTo>
                    <a:lnTo>
                      <a:pt x="0" y="889686"/>
                    </a:lnTo>
                    <a:moveTo>
                      <a:pt x="0" y="333632"/>
                    </a:moveTo>
                    <a:lnTo>
                      <a:pt x="0" y="148281"/>
                    </a:lnTo>
                    <a:cubicBezTo>
                      <a:pt x="0" y="66387"/>
                      <a:pt x="66387" y="0"/>
                      <a:pt x="148281" y="0"/>
                    </a:cubicBezTo>
                    <a:lnTo>
                      <a:pt x="296562" y="0"/>
                    </a:lnTo>
                    <a:moveTo>
                      <a:pt x="2150075" y="333632"/>
                    </a:moveTo>
                    <a:lnTo>
                      <a:pt x="2150075" y="148281"/>
                    </a:lnTo>
                    <a:cubicBezTo>
                      <a:pt x="2150075" y="66387"/>
                      <a:pt x="2083688" y="0"/>
                      <a:pt x="2001794" y="0"/>
                    </a:cubicBezTo>
                    <a:lnTo>
                      <a:pt x="1853513" y="0"/>
                    </a:lnTo>
                  </a:path>
                </a:pathLst>
              </a:custGeom>
              <a:noFill/>
              <a:ln w="6950">
                <a:solidFill>
                  <a:srgbClr val="FFFFFF"/>
                </a:solidFill>
              </a:ln>
            </p:spPr>
            <p:txBody>
              <a:bodyPr rtlCol="0" anchor="ctr"/>
              <a:lstStyle/>
              <a:p>
                <a:pPr algn="ctr"/>
                <a:endParaRPr sz="2000"/>
              </a:p>
            </p:txBody>
          </p:sp>
        </p:grpSp>
        <p:grpSp>
          <p:nvGrpSpPr>
            <p:cNvPr id="87" name="Group 86">
              <a:extLst>
                <a:ext uri="{FF2B5EF4-FFF2-40B4-BE49-F238E27FC236}">
                  <a16:creationId xmlns:a16="http://schemas.microsoft.com/office/drawing/2014/main" id="{2009924E-9CCE-AFDB-DF33-1DA5B75194D8}"/>
                </a:ext>
              </a:extLst>
            </p:cNvPr>
            <p:cNvGrpSpPr/>
            <p:nvPr/>
          </p:nvGrpSpPr>
          <p:grpSpPr>
            <a:xfrm>
              <a:off x="6091881" y="4687072"/>
              <a:ext cx="2150075" cy="1056502"/>
              <a:chOff x="5634681" y="4059194"/>
              <a:chExt cx="2150075" cy="1056502"/>
            </a:xfrm>
          </p:grpSpPr>
          <p:sp>
            <p:nvSpPr>
              <p:cNvPr id="88" name="Rounded Rectangle 85">
                <a:extLst>
                  <a:ext uri="{FF2B5EF4-FFF2-40B4-BE49-F238E27FC236}">
                    <a16:creationId xmlns:a16="http://schemas.microsoft.com/office/drawing/2014/main" id="{07DB3FD7-4409-A563-D565-33256B828D68}"/>
                  </a:ext>
                </a:extLst>
              </p:cNvPr>
              <p:cNvSpPr/>
              <p:nvPr/>
            </p:nvSpPr>
            <p:spPr>
              <a:xfrm>
                <a:off x="5634681" y="4059194"/>
                <a:ext cx="2150075" cy="1056502"/>
              </a:xfrm>
              <a:custGeom>
                <a:avLst/>
                <a:gdLst/>
                <a:ahLst/>
                <a:cxnLst/>
                <a:rect l="0" t="0" r="0" b="0"/>
                <a:pathLst>
                  <a:path w="2150075" h="1056502">
                    <a:moveTo>
                      <a:pt x="2150075" y="231689"/>
                    </a:moveTo>
                    <a:lnTo>
                      <a:pt x="2150075" y="444843"/>
                    </a:lnTo>
                    <a:lnTo>
                      <a:pt x="0" y="444843"/>
                    </a:lnTo>
                    <a:lnTo>
                      <a:pt x="0" y="231689"/>
                    </a:lnTo>
                    <a:lnTo>
                      <a:pt x="2150075" y="231689"/>
                    </a:lnTo>
                    <a:close/>
                    <a:moveTo>
                      <a:pt x="0" y="231689"/>
                    </a:moveTo>
                    <a:lnTo>
                      <a:pt x="0" y="148281"/>
                    </a:lnTo>
                    <a:cubicBezTo>
                      <a:pt x="0" y="66386"/>
                      <a:pt x="66384" y="0"/>
                      <a:pt x="148281" y="0"/>
                    </a:cubicBezTo>
                    <a:lnTo>
                      <a:pt x="287294" y="0"/>
                    </a:lnTo>
                    <a:lnTo>
                      <a:pt x="287294" y="74140"/>
                    </a:lnTo>
                    <a:cubicBezTo>
                      <a:pt x="287294" y="166816"/>
                      <a:pt x="362946" y="231689"/>
                      <a:pt x="444843" y="231689"/>
                    </a:cubicBezTo>
                    <a:lnTo>
                      <a:pt x="463378" y="231689"/>
                    </a:lnTo>
                    <a:lnTo>
                      <a:pt x="0" y="231689"/>
                    </a:lnTo>
                    <a:close/>
                    <a:moveTo>
                      <a:pt x="2150075" y="231689"/>
                    </a:moveTo>
                    <a:lnTo>
                      <a:pt x="2150075" y="148281"/>
                    </a:lnTo>
                    <a:cubicBezTo>
                      <a:pt x="2150075" y="66386"/>
                      <a:pt x="2083691" y="0"/>
                      <a:pt x="2001794" y="0"/>
                    </a:cubicBezTo>
                    <a:lnTo>
                      <a:pt x="1862781" y="0"/>
                    </a:lnTo>
                    <a:lnTo>
                      <a:pt x="1862781" y="74140"/>
                    </a:lnTo>
                    <a:cubicBezTo>
                      <a:pt x="1862781" y="166816"/>
                      <a:pt x="1787129" y="231689"/>
                      <a:pt x="1705232" y="231689"/>
                    </a:cubicBezTo>
                    <a:lnTo>
                      <a:pt x="1686697" y="231689"/>
                    </a:lnTo>
                    <a:lnTo>
                      <a:pt x="2150075" y="231689"/>
                    </a:lnTo>
                    <a:close/>
                    <a:moveTo>
                      <a:pt x="0" y="444843"/>
                    </a:moveTo>
                    <a:lnTo>
                      <a:pt x="2150075" y="444843"/>
                    </a:lnTo>
                    <a:lnTo>
                      <a:pt x="2150075" y="889686"/>
                    </a:lnTo>
                    <a:lnTo>
                      <a:pt x="0" y="889686"/>
                    </a:lnTo>
                    <a:lnTo>
                      <a:pt x="0" y="444843"/>
                    </a:lnTo>
                    <a:close/>
                    <a:moveTo>
                      <a:pt x="0" y="889686"/>
                    </a:moveTo>
                    <a:lnTo>
                      <a:pt x="2150075" y="889686"/>
                    </a:lnTo>
                    <a:lnTo>
                      <a:pt x="2150075" y="908221"/>
                    </a:lnTo>
                    <a:cubicBezTo>
                      <a:pt x="2150075" y="990115"/>
                      <a:pt x="2083688" y="1056502"/>
                      <a:pt x="2001794" y="1056502"/>
                    </a:cubicBezTo>
                    <a:lnTo>
                      <a:pt x="148281" y="1056502"/>
                    </a:lnTo>
                    <a:cubicBezTo>
                      <a:pt x="66387" y="1056502"/>
                      <a:pt x="0" y="990115"/>
                      <a:pt x="0" y="908221"/>
                    </a:cubicBezTo>
                    <a:lnTo>
                      <a:pt x="0" y="889686"/>
                    </a:lnTo>
                    <a:close/>
                  </a:path>
                </a:pathLst>
              </a:custGeom>
              <a:solidFill>
                <a:srgbClr val="329CFF"/>
              </a:solidFill>
              <a:ln>
                <a:noFill/>
              </a:ln>
            </p:spPr>
            <p:txBody>
              <a:bodyPr rtlCol="0" anchor="ctr"/>
              <a:lstStyle/>
              <a:p>
                <a:pPr algn="ctr"/>
                <a:endParaRPr sz="2000"/>
              </a:p>
            </p:txBody>
          </p:sp>
          <p:sp>
            <p:nvSpPr>
              <p:cNvPr id="89" name="Rounded Rectangle 86">
                <a:extLst>
                  <a:ext uri="{FF2B5EF4-FFF2-40B4-BE49-F238E27FC236}">
                    <a16:creationId xmlns:a16="http://schemas.microsoft.com/office/drawing/2014/main" id="{3AB26D74-EADF-9E66-BFDD-BD35AC01F0FB}"/>
                  </a:ext>
                </a:extLst>
              </p:cNvPr>
              <p:cNvSpPr/>
              <p:nvPr/>
            </p:nvSpPr>
            <p:spPr>
              <a:xfrm>
                <a:off x="5634681" y="4059194"/>
                <a:ext cx="2150075" cy="1056502"/>
              </a:xfrm>
              <a:custGeom>
                <a:avLst/>
                <a:gdLst/>
                <a:ahLst/>
                <a:cxnLst/>
                <a:rect l="0" t="0" r="0" b="0"/>
                <a:pathLst>
                  <a:path w="2150075" h="1056502">
                    <a:moveTo>
                      <a:pt x="2150075" y="333632"/>
                    </a:moveTo>
                    <a:lnTo>
                      <a:pt x="2150075" y="889686"/>
                    </a:lnTo>
                    <a:moveTo>
                      <a:pt x="0" y="889686"/>
                    </a:moveTo>
                    <a:lnTo>
                      <a:pt x="0" y="333632"/>
                    </a:lnTo>
                    <a:moveTo>
                      <a:pt x="2150075" y="889686"/>
                    </a:moveTo>
                    <a:lnTo>
                      <a:pt x="2150075" y="908221"/>
                    </a:lnTo>
                    <a:cubicBezTo>
                      <a:pt x="2150075" y="990115"/>
                      <a:pt x="2083688" y="1056502"/>
                      <a:pt x="2001794" y="1056502"/>
                    </a:cubicBezTo>
                    <a:lnTo>
                      <a:pt x="148281" y="1056502"/>
                    </a:lnTo>
                    <a:cubicBezTo>
                      <a:pt x="66387" y="1056502"/>
                      <a:pt x="0" y="990115"/>
                      <a:pt x="0" y="908221"/>
                    </a:cubicBezTo>
                    <a:lnTo>
                      <a:pt x="0" y="889686"/>
                    </a:lnTo>
                    <a:moveTo>
                      <a:pt x="0" y="333632"/>
                    </a:moveTo>
                    <a:lnTo>
                      <a:pt x="0" y="148281"/>
                    </a:lnTo>
                    <a:cubicBezTo>
                      <a:pt x="0" y="66387"/>
                      <a:pt x="66387" y="0"/>
                      <a:pt x="148281" y="0"/>
                    </a:cubicBezTo>
                    <a:lnTo>
                      <a:pt x="296562" y="0"/>
                    </a:lnTo>
                    <a:moveTo>
                      <a:pt x="2150075" y="333632"/>
                    </a:moveTo>
                    <a:lnTo>
                      <a:pt x="2150075" y="148281"/>
                    </a:lnTo>
                    <a:cubicBezTo>
                      <a:pt x="2150075" y="66387"/>
                      <a:pt x="2083688" y="0"/>
                      <a:pt x="2001794" y="0"/>
                    </a:cubicBezTo>
                    <a:lnTo>
                      <a:pt x="1853513" y="0"/>
                    </a:lnTo>
                  </a:path>
                </a:pathLst>
              </a:custGeom>
              <a:noFill/>
              <a:ln w="6950">
                <a:solidFill>
                  <a:srgbClr val="FFFFFF"/>
                </a:solidFill>
              </a:ln>
            </p:spPr>
            <p:txBody>
              <a:bodyPr rtlCol="0" anchor="ctr"/>
              <a:lstStyle/>
              <a:p>
                <a:pPr algn="ctr"/>
                <a:endParaRPr sz="2000"/>
              </a:p>
            </p:txBody>
          </p:sp>
        </p:grpSp>
        <p:sp>
          <p:nvSpPr>
            <p:cNvPr id="90" name="TextBox 89">
              <a:extLst>
                <a:ext uri="{FF2B5EF4-FFF2-40B4-BE49-F238E27FC236}">
                  <a16:creationId xmlns:a16="http://schemas.microsoft.com/office/drawing/2014/main" id="{8B873DCA-7391-362F-7B1E-6040CABF2AE7}"/>
                </a:ext>
              </a:extLst>
            </p:cNvPr>
            <p:cNvSpPr txBox="1"/>
            <p:nvPr/>
          </p:nvSpPr>
          <p:spPr>
            <a:xfrm>
              <a:off x="6594945" y="2967938"/>
              <a:ext cx="1143882" cy="250115"/>
            </a:xfrm>
            <a:prstGeom prst="rect">
              <a:avLst/>
            </a:prstGeom>
            <a:noFill/>
            <a:ln>
              <a:noFill/>
            </a:ln>
          </p:spPr>
          <p:txBody>
            <a:bodyPr wrap="none" lIns="0" tIns="0" rIns="0" bIns="0" anchor="t">
              <a:spAutoFit/>
            </a:bodyPr>
            <a:lstStyle/>
            <a:p>
              <a:pPr algn="ctr"/>
              <a:r>
                <a:rPr sz="1050" b="0">
                  <a:solidFill>
                    <a:srgbClr val="FFFFFF"/>
                  </a:solidFill>
                  <a:latin typeface="Arial"/>
                </a:rPr>
                <a:t>Select model type based
on use case</a:t>
              </a:r>
            </a:p>
          </p:txBody>
        </p:sp>
        <p:sp>
          <p:nvSpPr>
            <p:cNvPr id="91" name="TextBox 90">
              <a:extLst>
                <a:ext uri="{FF2B5EF4-FFF2-40B4-BE49-F238E27FC236}">
                  <a16:creationId xmlns:a16="http://schemas.microsoft.com/office/drawing/2014/main" id="{79B6EC3F-05CF-257C-658A-F1838692B87E}"/>
                </a:ext>
              </a:extLst>
            </p:cNvPr>
            <p:cNvSpPr txBox="1"/>
            <p:nvPr/>
          </p:nvSpPr>
          <p:spPr>
            <a:xfrm>
              <a:off x="3987679" y="2967938"/>
              <a:ext cx="1168695" cy="250115"/>
            </a:xfrm>
            <a:prstGeom prst="rect">
              <a:avLst/>
            </a:prstGeom>
            <a:noFill/>
            <a:ln>
              <a:noFill/>
            </a:ln>
          </p:spPr>
          <p:txBody>
            <a:bodyPr wrap="none" lIns="0" tIns="0" rIns="0" bIns="0" anchor="t">
              <a:spAutoFit/>
            </a:bodyPr>
            <a:lstStyle/>
            <a:p>
              <a:pPr algn="ctr"/>
              <a:r>
                <a:rPr sz="1050" b="0">
                  <a:solidFill>
                    <a:srgbClr val="FFFFFF"/>
                  </a:solidFill>
                  <a:latin typeface="Arial"/>
                </a:rPr>
                <a:t>Collect and clean diverse
datasets</a:t>
              </a:r>
            </a:p>
          </p:txBody>
        </p:sp>
        <p:sp>
          <p:nvSpPr>
            <p:cNvPr id="92" name="TextBox 91">
              <a:extLst>
                <a:ext uri="{FF2B5EF4-FFF2-40B4-BE49-F238E27FC236}">
                  <a16:creationId xmlns:a16="http://schemas.microsoft.com/office/drawing/2014/main" id="{DEC7B322-9C58-403A-FA63-C925CCC9FB3C}"/>
                </a:ext>
              </a:extLst>
            </p:cNvPr>
            <p:cNvSpPr txBox="1"/>
            <p:nvPr/>
          </p:nvSpPr>
          <p:spPr>
            <a:xfrm>
              <a:off x="1504409" y="4140286"/>
              <a:ext cx="945278" cy="571693"/>
            </a:xfrm>
            <a:prstGeom prst="rect">
              <a:avLst/>
            </a:prstGeom>
            <a:noFill/>
            <a:ln>
              <a:noFill/>
            </a:ln>
          </p:spPr>
          <p:txBody>
            <a:bodyPr wrap="none" lIns="0" tIns="0" rIns="0" bIns="0" anchor="t">
              <a:spAutoFit/>
            </a:bodyPr>
            <a:lstStyle/>
            <a:p>
              <a:pPr algn="ctr"/>
              <a:r>
                <a:rPr sz="1600" b="1">
                  <a:solidFill>
                    <a:srgbClr val="FFFFFF"/>
                  </a:solidFill>
                  <a:latin typeface="Arial"/>
                </a:rPr>
                <a:t>Deploy,
Monitor, and
Refine</a:t>
              </a:r>
            </a:p>
          </p:txBody>
        </p:sp>
        <p:sp>
          <p:nvSpPr>
            <p:cNvPr id="93" name="TextBox 92">
              <a:extLst>
                <a:ext uri="{FF2B5EF4-FFF2-40B4-BE49-F238E27FC236}">
                  <a16:creationId xmlns:a16="http://schemas.microsoft.com/office/drawing/2014/main" id="{75EDB3D7-5919-4878-7CBD-F8E0A106864C}"/>
                </a:ext>
              </a:extLst>
            </p:cNvPr>
            <p:cNvSpPr txBox="1"/>
            <p:nvPr/>
          </p:nvSpPr>
          <p:spPr>
            <a:xfrm>
              <a:off x="1384696" y="2967938"/>
              <a:ext cx="1184823" cy="250115"/>
            </a:xfrm>
            <a:prstGeom prst="rect">
              <a:avLst/>
            </a:prstGeom>
            <a:noFill/>
            <a:ln>
              <a:noFill/>
            </a:ln>
          </p:spPr>
          <p:txBody>
            <a:bodyPr wrap="none" lIns="0" tIns="0" rIns="0" bIns="0" anchor="t">
              <a:spAutoFit/>
            </a:bodyPr>
            <a:lstStyle/>
            <a:p>
              <a:pPr algn="ctr"/>
              <a:r>
                <a:rPr sz="1050" b="0">
                  <a:solidFill>
                    <a:srgbClr val="FFFFFF"/>
                  </a:solidFill>
                  <a:latin typeface="Arial"/>
                </a:rPr>
                <a:t>Identify business problem
and set goals</a:t>
              </a:r>
            </a:p>
          </p:txBody>
        </p:sp>
        <p:sp>
          <p:nvSpPr>
            <p:cNvPr id="94" name="TextBox 93">
              <a:extLst>
                <a:ext uri="{FF2B5EF4-FFF2-40B4-BE49-F238E27FC236}">
                  <a16:creationId xmlns:a16="http://schemas.microsoft.com/office/drawing/2014/main" id="{2A5670A1-FA06-E119-94BC-FEA7EF333C35}"/>
                </a:ext>
              </a:extLst>
            </p:cNvPr>
            <p:cNvSpPr txBox="1"/>
            <p:nvPr/>
          </p:nvSpPr>
          <p:spPr>
            <a:xfrm>
              <a:off x="6735143" y="2082886"/>
              <a:ext cx="863494" cy="381129"/>
            </a:xfrm>
            <a:prstGeom prst="rect">
              <a:avLst/>
            </a:prstGeom>
            <a:noFill/>
            <a:ln>
              <a:noFill/>
            </a:ln>
          </p:spPr>
          <p:txBody>
            <a:bodyPr wrap="none" lIns="0" tIns="0" rIns="0" bIns="0" anchor="t">
              <a:spAutoFit/>
            </a:bodyPr>
            <a:lstStyle/>
            <a:p>
              <a:pPr algn="ctr"/>
              <a:r>
                <a:rPr sz="1600" b="1">
                  <a:solidFill>
                    <a:srgbClr val="FFFFFF"/>
                  </a:solidFill>
                  <a:latin typeface="Arial"/>
                </a:rPr>
                <a:t>Choose the
AI Model</a:t>
              </a:r>
            </a:p>
          </p:txBody>
        </p:sp>
        <p:sp>
          <p:nvSpPr>
            <p:cNvPr id="95" name="TextBox 94">
              <a:extLst>
                <a:ext uri="{FF2B5EF4-FFF2-40B4-BE49-F238E27FC236}">
                  <a16:creationId xmlns:a16="http://schemas.microsoft.com/office/drawing/2014/main" id="{4804082C-D2DA-0A27-7981-D972F413E515}"/>
                </a:ext>
              </a:extLst>
            </p:cNvPr>
            <p:cNvSpPr txBox="1"/>
            <p:nvPr/>
          </p:nvSpPr>
          <p:spPr>
            <a:xfrm>
              <a:off x="4068978" y="2082886"/>
              <a:ext cx="1006070" cy="381129"/>
            </a:xfrm>
            <a:prstGeom prst="rect">
              <a:avLst/>
            </a:prstGeom>
            <a:noFill/>
            <a:ln>
              <a:noFill/>
            </a:ln>
          </p:spPr>
          <p:txBody>
            <a:bodyPr wrap="none" lIns="0" tIns="0" rIns="0" bIns="0" anchor="t">
              <a:spAutoFit/>
            </a:bodyPr>
            <a:lstStyle/>
            <a:p>
              <a:pPr algn="ctr"/>
              <a:r>
                <a:rPr sz="1600" b="1">
                  <a:solidFill>
                    <a:srgbClr val="FFFFFF"/>
                  </a:solidFill>
                  <a:latin typeface="Arial"/>
                </a:rPr>
                <a:t>Prepare
Training Data</a:t>
              </a:r>
            </a:p>
          </p:txBody>
        </p:sp>
        <p:sp>
          <p:nvSpPr>
            <p:cNvPr id="96" name="TextBox 95">
              <a:extLst>
                <a:ext uri="{FF2B5EF4-FFF2-40B4-BE49-F238E27FC236}">
                  <a16:creationId xmlns:a16="http://schemas.microsoft.com/office/drawing/2014/main" id="{0788EA4A-94F0-259F-328D-C52868FB5754}"/>
                </a:ext>
              </a:extLst>
            </p:cNvPr>
            <p:cNvSpPr txBox="1"/>
            <p:nvPr/>
          </p:nvSpPr>
          <p:spPr>
            <a:xfrm>
              <a:off x="4251649" y="4140286"/>
              <a:ext cx="640772" cy="571693"/>
            </a:xfrm>
            <a:prstGeom prst="rect">
              <a:avLst/>
            </a:prstGeom>
            <a:noFill/>
            <a:ln>
              <a:noFill/>
            </a:ln>
          </p:spPr>
          <p:txBody>
            <a:bodyPr wrap="none" lIns="0" tIns="0" rIns="0" bIns="0" anchor="t">
              <a:spAutoFit/>
            </a:bodyPr>
            <a:lstStyle/>
            <a:p>
              <a:pPr algn="ctr"/>
              <a:r>
                <a:rPr sz="1600" b="1">
                  <a:solidFill>
                    <a:srgbClr val="FFFFFF"/>
                  </a:solidFill>
                  <a:latin typeface="Arial"/>
                </a:rPr>
                <a:t>Test and
Validate
Output</a:t>
              </a:r>
            </a:p>
          </p:txBody>
        </p:sp>
        <p:sp>
          <p:nvSpPr>
            <p:cNvPr id="97" name="TextBox 96">
              <a:extLst>
                <a:ext uri="{FF2B5EF4-FFF2-40B4-BE49-F238E27FC236}">
                  <a16:creationId xmlns:a16="http://schemas.microsoft.com/office/drawing/2014/main" id="{6AF222E4-4C9E-E361-08AB-DD08EE992609}"/>
                </a:ext>
              </a:extLst>
            </p:cNvPr>
            <p:cNvSpPr txBox="1"/>
            <p:nvPr/>
          </p:nvSpPr>
          <p:spPr>
            <a:xfrm>
              <a:off x="1496938" y="1971675"/>
              <a:ext cx="960265" cy="571693"/>
            </a:xfrm>
            <a:prstGeom prst="rect">
              <a:avLst/>
            </a:prstGeom>
            <a:noFill/>
            <a:ln>
              <a:noFill/>
            </a:ln>
          </p:spPr>
          <p:txBody>
            <a:bodyPr wrap="none" lIns="0" tIns="0" rIns="0" bIns="0" anchor="t">
              <a:spAutoFit/>
            </a:bodyPr>
            <a:lstStyle/>
            <a:p>
              <a:pPr algn="ctr"/>
              <a:r>
                <a:rPr sz="1600" b="1">
                  <a:solidFill>
                    <a:srgbClr val="FFFFFF"/>
                  </a:solidFill>
                  <a:latin typeface="Arial"/>
                </a:rPr>
                <a:t>Define
Purpose and
Use Cases</a:t>
              </a:r>
            </a:p>
          </p:txBody>
        </p:sp>
        <p:sp>
          <p:nvSpPr>
            <p:cNvPr id="98" name="TextBox 97">
              <a:extLst>
                <a:ext uri="{FF2B5EF4-FFF2-40B4-BE49-F238E27FC236}">
                  <a16:creationId xmlns:a16="http://schemas.microsoft.com/office/drawing/2014/main" id="{66D89EE9-F694-442B-81E4-23BA859754D1}"/>
                </a:ext>
              </a:extLst>
            </p:cNvPr>
            <p:cNvSpPr txBox="1"/>
            <p:nvPr/>
          </p:nvSpPr>
          <p:spPr>
            <a:xfrm>
              <a:off x="6736933" y="4251496"/>
              <a:ext cx="859970" cy="381129"/>
            </a:xfrm>
            <a:prstGeom prst="rect">
              <a:avLst/>
            </a:prstGeom>
            <a:noFill/>
            <a:ln>
              <a:noFill/>
            </a:ln>
          </p:spPr>
          <p:txBody>
            <a:bodyPr wrap="none" lIns="0" tIns="0" rIns="0" bIns="0" anchor="t">
              <a:spAutoFit/>
            </a:bodyPr>
            <a:lstStyle/>
            <a:p>
              <a:pPr algn="ctr"/>
              <a:r>
                <a:rPr sz="1600" b="1">
                  <a:solidFill>
                    <a:srgbClr val="FFFFFF"/>
                  </a:solidFill>
                  <a:latin typeface="Arial"/>
                </a:rPr>
                <a:t>Train the AI
Agent</a:t>
              </a:r>
            </a:p>
          </p:txBody>
        </p:sp>
        <p:sp>
          <p:nvSpPr>
            <p:cNvPr id="99" name="TextBox 98">
              <a:extLst>
                <a:ext uri="{FF2B5EF4-FFF2-40B4-BE49-F238E27FC236}">
                  <a16:creationId xmlns:a16="http://schemas.microsoft.com/office/drawing/2014/main" id="{E3F13EE8-4EE2-1FF5-050F-337F381D3F27}"/>
                </a:ext>
              </a:extLst>
            </p:cNvPr>
            <p:cNvSpPr txBox="1"/>
            <p:nvPr/>
          </p:nvSpPr>
          <p:spPr>
            <a:xfrm>
              <a:off x="1393978" y="5136549"/>
              <a:ext cx="1166214" cy="250115"/>
            </a:xfrm>
            <a:prstGeom prst="rect">
              <a:avLst/>
            </a:prstGeom>
            <a:noFill/>
            <a:ln>
              <a:noFill/>
            </a:ln>
          </p:spPr>
          <p:txBody>
            <a:bodyPr wrap="none" lIns="0" tIns="0" rIns="0" bIns="0" anchor="t">
              <a:spAutoFit/>
            </a:bodyPr>
            <a:lstStyle/>
            <a:p>
              <a:pPr algn="ctr"/>
              <a:r>
                <a:rPr sz="1050" b="0">
                  <a:solidFill>
                    <a:srgbClr val="FFFFFF"/>
                  </a:solidFill>
                  <a:latin typeface="Arial"/>
                </a:rPr>
                <a:t>Integrate and monitor the
agent's performance</a:t>
              </a:r>
            </a:p>
          </p:txBody>
        </p:sp>
        <p:sp>
          <p:nvSpPr>
            <p:cNvPr id="100" name="TextBox 99">
              <a:extLst>
                <a:ext uri="{FF2B5EF4-FFF2-40B4-BE49-F238E27FC236}">
                  <a16:creationId xmlns:a16="http://schemas.microsoft.com/office/drawing/2014/main" id="{AC9E7FD7-F877-7F76-8B2F-084E2661571F}"/>
                </a:ext>
              </a:extLst>
            </p:cNvPr>
            <p:cNvSpPr txBox="1"/>
            <p:nvPr/>
          </p:nvSpPr>
          <p:spPr>
            <a:xfrm>
              <a:off x="3977148" y="5136549"/>
              <a:ext cx="1189786" cy="250115"/>
            </a:xfrm>
            <a:prstGeom prst="rect">
              <a:avLst/>
            </a:prstGeom>
            <a:noFill/>
            <a:ln>
              <a:noFill/>
            </a:ln>
          </p:spPr>
          <p:txBody>
            <a:bodyPr wrap="none" lIns="0" tIns="0" rIns="0" bIns="0" anchor="t">
              <a:spAutoFit/>
            </a:bodyPr>
            <a:lstStyle/>
            <a:p>
              <a:pPr algn="ctr"/>
              <a:r>
                <a:rPr sz="1050" b="0">
                  <a:solidFill>
                    <a:srgbClr val="FFFFFF"/>
                  </a:solidFill>
                  <a:latin typeface="Arial"/>
                </a:rPr>
                <a:t>Implement testing against
real-world scenarios</a:t>
              </a:r>
            </a:p>
          </p:txBody>
        </p:sp>
        <p:sp>
          <p:nvSpPr>
            <p:cNvPr id="101" name="TextBox 100">
              <a:extLst>
                <a:ext uri="{FF2B5EF4-FFF2-40B4-BE49-F238E27FC236}">
                  <a16:creationId xmlns:a16="http://schemas.microsoft.com/office/drawing/2014/main" id="{10D2F80B-B3B2-08C7-C1B2-F093F49F9487}"/>
                </a:ext>
              </a:extLst>
            </p:cNvPr>
            <p:cNvSpPr txBox="1"/>
            <p:nvPr/>
          </p:nvSpPr>
          <p:spPr>
            <a:xfrm>
              <a:off x="6600589" y="5136549"/>
              <a:ext cx="1132716" cy="250115"/>
            </a:xfrm>
            <a:prstGeom prst="rect">
              <a:avLst/>
            </a:prstGeom>
            <a:noFill/>
            <a:ln>
              <a:noFill/>
            </a:ln>
          </p:spPr>
          <p:txBody>
            <a:bodyPr wrap="none" lIns="0" tIns="0" rIns="0" bIns="0" anchor="t">
              <a:spAutoFit/>
            </a:bodyPr>
            <a:lstStyle/>
            <a:p>
              <a:pPr algn="ctr"/>
              <a:r>
                <a:rPr sz="1050" b="0">
                  <a:solidFill>
                    <a:srgbClr val="FFFFFF"/>
                  </a:solidFill>
                  <a:latin typeface="Arial"/>
                </a:rPr>
                <a:t>Use learning methods to
train the agent</a:t>
              </a:r>
            </a:p>
          </p:txBody>
        </p:sp>
      </p:grpSp>
    </p:spTree>
    <p:extLst>
      <p:ext uri="{BB962C8B-B14F-4D97-AF65-F5344CB8AC3E}">
        <p14:creationId xmlns:p14="http://schemas.microsoft.com/office/powerpoint/2010/main" val="313513355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45941800-721F-D98D-F78F-D95331F63B6B}"/>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4331B14B-A8D1-E137-7962-C2A30DE53960}"/>
              </a:ext>
            </a:extLst>
          </p:cNvPr>
          <p:cNvSpPr>
            <a:spLocks noGrp="1"/>
          </p:cNvSpPr>
          <p:nvPr>
            <p:ph type="title"/>
          </p:nvPr>
        </p:nvSpPr>
        <p:spPr/>
        <p:txBody>
          <a:bodyPr/>
          <a:lstStyle/>
          <a:p>
            <a:r>
              <a:rPr lang="en-US"/>
              <a:t>Agenda</a:t>
            </a:r>
          </a:p>
        </p:txBody>
      </p:sp>
      <p:sp>
        <p:nvSpPr>
          <p:cNvPr id="7" name="Text Placeholder 6">
            <a:extLst>
              <a:ext uri="{FF2B5EF4-FFF2-40B4-BE49-F238E27FC236}">
                <a16:creationId xmlns:a16="http://schemas.microsoft.com/office/drawing/2014/main" id="{EA88C93E-9016-461C-63FE-8487A5152C8E}"/>
              </a:ext>
            </a:extLst>
          </p:cNvPr>
          <p:cNvSpPr>
            <a:spLocks noGrp="1"/>
          </p:cNvSpPr>
          <p:nvPr>
            <p:ph type="body" sz="quarter" idx="10"/>
          </p:nvPr>
        </p:nvSpPr>
        <p:spPr/>
        <p:txBody>
          <a:bodyPr/>
          <a:lstStyle/>
          <a:p>
            <a:r>
              <a:rPr lang="en-US"/>
              <a:t>Intro to Agents</a:t>
            </a:r>
          </a:p>
          <a:p>
            <a:r>
              <a:rPr lang="en-US"/>
              <a:t>Prompt Engineering for AI Agents</a:t>
            </a:r>
          </a:p>
          <a:p>
            <a:r>
              <a:rPr lang="en-US"/>
              <a:t>Reasoning</a:t>
            </a:r>
          </a:p>
          <a:p>
            <a:r>
              <a:rPr lang="en-US"/>
              <a:t>Planning</a:t>
            </a:r>
          </a:p>
          <a:p>
            <a:r>
              <a:rPr lang="en-US"/>
              <a:t>Tool Use</a:t>
            </a:r>
          </a:p>
          <a:p>
            <a:r>
              <a:rPr lang="en-US"/>
              <a:t>Retrieval-Augmented generation</a:t>
            </a:r>
          </a:p>
          <a:p>
            <a:r>
              <a:rPr lang="en-US"/>
              <a:t>Building Agentic Workflows</a:t>
            </a:r>
          </a:p>
          <a:p>
            <a:r>
              <a:rPr lang="en-US"/>
              <a:t>Benchmarking Agent Applications</a:t>
            </a:r>
          </a:p>
          <a:p>
            <a:r>
              <a:rPr lang="en-US"/>
              <a:t>Privacy Safety and Ethics</a:t>
            </a:r>
          </a:p>
          <a:p>
            <a:r>
              <a:rPr lang="en-US"/>
              <a:t>Human-agent interaction and personalization</a:t>
            </a:r>
          </a:p>
          <a:p>
            <a:r>
              <a:rPr lang="en-US"/>
              <a:t>Building Multi-Agent Systems with MCP and A2A</a:t>
            </a:r>
          </a:p>
          <a:p>
            <a:endParaRPr lang="en-US"/>
          </a:p>
        </p:txBody>
      </p:sp>
    </p:spTree>
    <p:extLst>
      <p:ext uri="{BB962C8B-B14F-4D97-AF65-F5344CB8AC3E}">
        <p14:creationId xmlns:p14="http://schemas.microsoft.com/office/powerpoint/2010/main" val="96824165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EAE36C-983F-7D2C-C8F0-1C0482AE54C4}"/>
              </a:ext>
            </a:extLst>
          </p:cNvPr>
          <p:cNvSpPr>
            <a:spLocks noGrp="1"/>
          </p:cNvSpPr>
          <p:nvPr>
            <p:ph type="title"/>
          </p:nvPr>
        </p:nvSpPr>
        <p:spPr/>
        <p:txBody>
          <a:bodyPr/>
          <a:lstStyle/>
          <a:p>
            <a:r>
              <a:rPr lang="en-US"/>
              <a:t>Best Practices for Success</a:t>
            </a:r>
          </a:p>
        </p:txBody>
      </p:sp>
      <p:grpSp>
        <p:nvGrpSpPr>
          <p:cNvPr id="69" name="Group 68">
            <a:extLst>
              <a:ext uri="{FF2B5EF4-FFF2-40B4-BE49-F238E27FC236}">
                <a16:creationId xmlns:a16="http://schemas.microsoft.com/office/drawing/2014/main" id="{6035A0E8-94BB-EB7E-5392-D4190DC427FD}"/>
              </a:ext>
            </a:extLst>
          </p:cNvPr>
          <p:cNvGrpSpPr/>
          <p:nvPr/>
        </p:nvGrpSpPr>
        <p:grpSpPr>
          <a:xfrm>
            <a:off x="1417023" y="704649"/>
            <a:ext cx="9357953" cy="5508769"/>
            <a:chOff x="1367200" y="841856"/>
            <a:chExt cx="9357953" cy="5508769"/>
          </a:xfrm>
        </p:grpSpPr>
        <p:grpSp>
          <p:nvGrpSpPr>
            <p:cNvPr id="68" name="Group 67">
              <a:extLst>
                <a:ext uri="{FF2B5EF4-FFF2-40B4-BE49-F238E27FC236}">
                  <a16:creationId xmlns:a16="http://schemas.microsoft.com/office/drawing/2014/main" id="{45B5101E-AADF-2B16-92C7-8083EEAE73A5}"/>
                </a:ext>
              </a:extLst>
            </p:cNvPr>
            <p:cNvGrpSpPr>
              <a:grpSpLocks noChangeAspect="1"/>
            </p:cNvGrpSpPr>
            <p:nvPr/>
          </p:nvGrpSpPr>
          <p:grpSpPr>
            <a:xfrm>
              <a:off x="3330716" y="1870065"/>
              <a:ext cx="5530568" cy="4480560"/>
              <a:chOff x="3721476" y="2361695"/>
              <a:chExt cx="4225971" cy="3423650"/>
            </a:xfrm>
          </p:grpSpPr>
          <p:grpSp>
            <p:nvGrpSpPr>
              <p:cNvPr id="3" name="Group 2">
                <a:extLst>
                  <a:ext uri="{FF2B5EF4-FFF2-40B4-BE49-F238E27FC236}">
                    <a16:creationId xmlns:a16="http://schemas.microsoft.com/office/drawing/2014/main" id="{B674F3DE-D7BE-E0ED-537F-29C058E58B4A}"/>
                  </a:ext>
                </a:extLst>
              </p:cNvPr>
              <p:cNvGrpSpPr/>
              <p:nvPr/>
            </p:nvGrpSpPr>
            <p:grpSpPr>
              <a:xfrm>
                <a:off x="5077777" y="3717982"/>
                <a:ext cx="1513303" cy="1363030"/>
                <a:chOff x="3273932" y="3172452"/>
                <a:chExt cx="1256093" cy="1131361"/>
              </a:xfrm>
            </p:grpSpPr>
            <p:sp>
              <p:nvSpPr>
                <p:cNvPr id="4" name="Rounded Rectangle 1">
                  <a:extLst>
                    <a:ext uri="{FF2B5EF4-FFF2-40B4-BE49-F238E27FC236}">
                      <a16:creationId xmlns:a16="http://schemas.microsoft.com/office/drawing/2014/main" id="{1C4CB5D7-8625-68C6-8D86-CA67C59500E5}"/>
                    </a:ext>
                  </a:extLst>
                </p:cNvPr>
                <p:cNvSpPr/>
                <p:nvPr/>
              </p:nvSpPr>
              <p:spPr>
                <a:xfrm>
                  <a:off x="3902005" y="4044141"/>
                  <a:ext cx="534410" cy="259651"/>
                </a:xfrm>
                <a:custGeom>
                  <a:avLst/>
                  <a:gdLst/>
                  <a:ahLst/>
                  <a:cxnLst/>
                  <a:rect l="0" t="0" r="0" b="0"/>
                  <a:pathLst>
                    <a:path w="534410" h="259651">
                      <a:moveTo>
                        <a:pt x="534410" y="1"/>
                      </a:moveTo>
                      <a:lnTo>
                        <a:pt x="384501" y="259651"/>
                      </a:lnTo>
                      <a:lnTo>
                        <a:pt x="0" y="37675"/>
                      </a:lnTo>
                      <a:lnTo>
                        <a:pt x="65251" y="0"/>
                      </a:lnTo>
                      <a:lnTo>
                        <a:pt x="534410" y="1"/>
                      </a:lnTo>
                      <a:close/>
                    </a:path>
                  </a:pathLst>
                </a:custGeom>
                <a:solidFill>
                  <a:srgbClr val="1A1A1A"/>
                </a:solidFill>
                <a:ln>
                  <a:noFill/>
                </a:ln>
              </p:spPr>
              <p:txBody>
                <a:bodyPr rtlCol="0" anchor="ctr"/>
                <a:lstStyle/>
                <a:p>
                  <a:pPr algn="ctr"/>
                  <a:endParaRPr sz="2000"/>
                </a:p>
              </p:txBody>
            </p:sp>
            <p:sp>
              <p:nvSpPr>
                <p:cNvPr id="5" name="Rounded Rectangle 2">
                  <a:extLst>
                    <a:ext uri="{FF2B5EF4-FFF2-40B4-BE49-F238E27FC236}">
                      <a16:creationId xmlns:a16="http://schemas.microsoft.com/office/drawing/2014/main" id="{9E16EC30-89E7-20D4-4AAC-CFAF760C0359}"/>
                    </a:ext>
                  </a:extLst>
                </p:cNvPr>
                <p:cNvSpPr/>
                <p:nvPr/>
              </p:nvSpPr>
              <p:spPr>
                <a:xfrm>
                  <a:off x="3967276" y="3744259"/>
                  <a:ext cx="519364" cy="299884"/>
                </a:xfrm>
                <a:custGeom>
                  <a:avLst/>
                  <a:gdLst/>
                  <a:ahLst/>
                  <a:cxnLst/>
                  <a:rect l="0" t="0" r="0" b="0"/>
                  <a:pathLst>
                    <a:path w="519364" h="299884">
                      <a:moveTo>
                        <a:pt x="519364" y="0"/>
                      </a:moveTo>
                      <a:lnTo>
                        <a:pt x="519364" y="299867"/>
                      </a:lnTo>
                      <a:lnTo>
                        <a:pt x="0" y="299884"/>
                      </a:lnTo>
                      <a:lnTo>
                        <a:pt x="56550" y="267232"/>
                      </a:lnTo>
                      <a:lnTo>
                        <a:pt x="56538" y="267212"/>
                      </a:lnTo>
                      <a:close/>
                      <a:moveTo>
                        <a:pt x="0" y="299884"/>
                      </a:moveTo>
                      <a:lnTo>
                        <a:pt x="469161" y="299884"/>
                      </a:lnTo>
                      <a:moveTo>
                        <a:pt x="56497" y="267236"/>
                      </a:moveTo>
                      <a:lnTo>
                        <a:pt x="56521" y="267223"/>
                      </a:lnTo>
                      <a:moveTo>
                        <a:pt x="56521" y="267223"/>
                      </a:moveTo>
                      <a:lnTo>
                        <a:pt x="56525" y="267231"/>
                      </a:lnTo>
                      <a:moveTo>
                        <a:pt x="56521" y="267223"/>
                      </a:moveTo>
                      <a:lnTo>
                        <a:pt x="56538" y="267212"/>
                      </a:lnTo>
                    </a:path>
                  </a:pathLst>
                </a:custGeom>
                <a:solidFill>
                  <a:srgbClr val="1A1A1A"/>
                </a:solidFill>
                <a:ln>
                  <a:noFill/>
                </a:ln>
              </p:spPr>
              <p:txBody>
                <a:bodyPr rtlCol="0" anchor="ctr"/>
                <a:lstStyle/>
                <a:p>
                  <a:pPr algn="ctr"/>
                  <a:endParaRPr sz="2000"/>
                </a:p>
              </p:txBody>
            </p:sp>
            <p:sp>
              <p:nvSpPr>
                <p:cNvPr id="6" name="Rounded Rectangle 3">
                  <a:extLst>
                    <a:ext uri="{FF2B5EF4-FFF2-40B4-BE49-F238E27FC236}">
                      <a16:creationId xmlns:a16="http://schemas.microsoft.com/office/drawing/2014/main" id="{E5D8AFDA-9427-9629-A76E-A2DFC406FB0D}"/>
                    </a:ext>
                  </a:extLst>
                </p:cNvPr>
                <p:cNvSpPr/>
                <p:nvPr/>
              </p:nvSpPr>
              <p:spPr>
                <a:xfrm>
                  <a:off x="3901938" y="3459547"/>
                  <a:ext cx="628087" cy="551948"/>
                </a:xfrm>
                <a:custGeom>
                  <a:avLst/>
                  <a:gdLst/>
                  <a:ahLst/>
                  <a:cxnLst/>
                  <a:rect l="0" t="0" r="0" b="0"/>
                  <a:pathLst>
                    <a:path w="628087" h="551948">
                      <a:moveTo>
                        <a:pt x="121805" y="551948"/>
                      </a:moveTo>
                      <a:lnTo>
                        <a:pt x="0" y="340974"/>
                      </a:lnTo>
                      <a:lnTo>
                        <a:pt x="46" y="341001"/>
                      </a:lnTo>
                      <a:moveTo>
                        <a:pt x="46" y="341001"/>
                      </a:moveTo>
                      <a:lnTo>
                        <a:pt x="210998" y="462794"/>
                      </a:lnTo>
                      <a:lnTo>
                        <a:pt x="478193" y="0"/>
                      </a:lnTo>
                      <a:lnTo>
                        <a:pt x="628087" y="259624"/>
                      </a:lnTo>
                      <a:lnTo>
                        <a:pt x="121834" y="551943"/>
                      </a:lnTo>
                      <a:lnTo>
                        <a:pt x="46" y="341001"/>
                      </a:lnTo>
                      <a:close/>
                    </a:path>
                  </a:pathLst>
                </a:custGeom>
                <a:solidFill>
                  <a:srgbClr val="1A1A1A"/>
                </a:solidFill>
                <a:ln>
                  <a:noFill/>
                </a:ln>
              </p:spPr>
              <p:txBody>
                <a:bodyPr rtlCol="0" anchor="ctr"/>
                <a:lstStyle/>
                <a:p>
                  <a:pPr algn="ctr"/>
                  <a:endParaRPr sz="2000"/>
                </a:p>
              </p:txBody>
            </p:sp>
            <p:sp>
              <p:nvSpPr>
                <p:cNvPr id="7" name="Rounded Rectangle 4">
                  <a:extLst>
                    <a:ext uri="{FF2B5EF4-FFF2-40B4-BE49-F238E27FC236}">
                      <a16:creationId xmlns:a16="http://schemas.microsoft.com/office/drawing/2014/main" id="{28786CD1-2898-EC67-2D2A-E635EF2205EA}"/>
                    </a:ext>
                  </a:extLst>
                </p:cNvPr>
                <p:cNvSpPr/>
                <p:nvPr/>
              </p:nvSpPr>
              <p:spPr>
                <a:xfrm>
                  <a:off x="3901938" y="3266110"/>
                  <a:ext cx="503275" cy="656231"/>
                </a:xfrm>
                <a:custGeom>
                  <a:avLst/>
                  <a:gdLst/>
                  <a:ahLst/>
                  <a:cxnLst/>
                  <a:rect l="0" t="0" r="0" b="0"/>
                  <a:pathLst>
                    <a:path w="503275" h="656231">
                      <a:moveTo>
                        <a:pt x="210984" y="656231"/>
                      </a:moveTo>
                      <a:lnTo>
                        <a:pt x="0" y="534418"/>
                      </a:lnTo>
                      <a:lnTo>
                        <a:pt x="243587" y="534418"/>
                      </a:lnTo>
                      <a:lnTo>
                        <a:pt x="243587" y="0"/>
                      </a:lnTo>
                      <a:lnTo>
                        <a:pt x="503275" y="149930"/>
                      </a:lnTo>
                      <a:lnTo>
                        <a:pt x="210984" y="656231"/>
                      </a:lnTo>
                      <a:close/>
                    </a:path>
                  </a:pathLst>
                </a:custGeom>
                <a:solidFill>
                  <a:srgbClr val="1A1A1A"/>
                </a:solidFill>
                <a:ln>
                  <a:noFill/>
                </a:ln>
              </p:spPr>
              <p:txBody>
                <a:bodyPr rtlCol="0" anchor="ctr"/>
                <a:lstStyle/>
                <a:p>
                  <a:pPr algn="ctr"/>
                  <a:endParaRPr sz="2000"/>
                </a:p>
              </p:txBody>
            </p:sp>
            <p:sp>
              <p:nvSpPr>
                <p:cNvPr id="8" name="Rounded Rectangle 5">
                  <a:extLst>
                    <a:ext uri="{FF2B5EF4-FFF2-40B4-BE49-F238E27FC236}">
                      <a16:creationId xmlns:a16="http://schemas.microsoft.com/office/drawing/2014/main" id="{286B0ACA-A2D3-5AF7-956F-902F383F3FDA}"/>
                    </a:ext>
                  </a:extLst>
                </p:cNvPr>
                <p:cNvSpPr/>
                <p:nvPr/>
              </p:nvSpPr>
              <p:spPr>
                <a:xfrm>
                  <a:off x="3845735" y="3215913"/>
                  <a:ext cx="299811" cy="584614"/>
                </a:xfrm>
                <a:custGeom>
                  <a:avLst/>
                  <a:gdLst/>
                  <a:ahLst/>
                  <a:cxnLst/>
                  <a:rect l="0" t="0" r="0" b="0"/>
                  <a:pathLst>
                    <a:path w="299811" h="584614">
                      <a:moveTo>
                        <a:pt x="299811" y="584614"/>
                      </a:moveTo>
                      <a:lnTo>
                        <a:pt x="56249" y="584614"/>
                      </a:lnTo>
                      <a:lnTo>
                        <a:pt x="267207" y="462818"/>
                      </a:lnTo>
                      <a:lnTo>
                        <a:pt x="0" y="0"/>
                      </a:lnTo>
                      <a:lnTo>
                        <a:pt x="299792" y="0"/>
                      </a:lnTo>
                      <a:lnTo>
                        <a:pt x="299811" y="584614"/>
                      </a:lnTo>
                      <a:close/>
                    </a:path>
                  </a:pathLst>
                </a:custGeom>
                <a:solidFill>
                  <a:srgbClr val="1A1A1A"/>
                </a:solidFill>
                <a:ln>
                  <a:noFill/>
                </a:ln>
              </p:spPr>
              <p:txBody>
                <a:bodyPr rtlCol="0" anchor="ctr"/>
                <a:lstStyle/>
                <a:p>
                  <a:pPr algn="ctr"/>
                  <a:endParaRPr sz="2000"/>
                </a:p>
              </p:txBody>
            </p:sp>
            <p:sp>
              <p:nvSpPr>
                <p:cNvPr id="9" name="Rounded Rectangle 6">
                  <a:extLst>
                    <a:ext uri="{FF2B5EF4-FFF2-40B4-BE49-F238E27FC236}">
                      <a16:creationId xmlns:a16="http://schemas.microsoft.com/office/drawing/2014/main" id="{68A10187-2CAE-7828-35DD-9E6F6F5301B0}"/>
                    </a:ext>
                  </a:extLst>
                </p:cNvPr>
                <p:cNvSpPr/>
                <p:nvPr/>
              </p:nvSpPr>
              <p:spPr>
                <a:xfrm>
                  <a:off x="3560975" y="3172452"/>
                  <a:ext cx="551972" cy="628064"/>
                </a:xfrm>
                <a:custGeom>
                  <a:avLst/>
                  <a:gdLst/>
                  <a:ahLst/>
                  <a:cxnLst/>
                  <a:rect l="0" t="0" r="0" b="0"/>
                  <a:pathLst>
                    <a:path w="551972" h="628064">
                      <a:moveTo>
                        <a:pt x="551972" y="506281"/>
                      </a:moveTo>
                      <a:lnTo>
                        <a:pt x="341037" y="628064"/>
                      </a:lnTo>
                      <a:lnTo>
                        <a:pt x="462826" y="417120"/>
                      </a:lnTo>
                      <a:lnTo>
                        <a:pt x="0" y="149907"/>
                      </a:lnTo>
                      <a:lnTo>
                        <a:pt x="259648" y="0"/>
                      </a:lnTo>
                      <a:lnTo>
                        <a:pt x="551972" y="506281"/>
                      </a:lnTo>
                      <a:close/>
                    </a:path>
                  </a:pathLst>
                </a:custGeom>
                <a:solidFill>
                  <a:srgbClr val="1A1A1A"/>
                </a:solidFill>
                <a:ln>
                  <a:noFill/>
                </a:ln>
              </p:spPr>
              <p:txBody>
                <a:bodyPr rtlCol="0" anchor="ctr"/>
                <a:lstStyle/>
                <a:p>
                  <a:pPr algn="ctr"/>
                  <a:endParaRPr sz="2000"/>
                </a:p>
              </p:txBody>
            </p:sp>
            <p:sp>
              <p:nvSpPr>
                <p:cNvPr id="10" name="Rounded Rectangle 7">
                  <a:extLst>
                    <a:ext uri="{FF2B5EF4-FFF2-40B4-BE49-F238E27FC236}">
                      <a16:creationId xmlns:a16="http://schemas.microsoft.com/office/drawing/2014/main" id="{6DFCB8DD-07F7-29F9-EE4F-82762B5F7137}"/>
                    </a:ext>
                  </a:extLst>
                </p:cNvPr>
                <p:cNvSpPr/>
                <p:nvPr/>
              </p:nvSpPr>
              <p:spPr>
                <a:xfrm>
                  <a:off x="3367562" y="3297280"/>
                  <a:ext cx="656208" cy="503248"/>
                </a:xfrm>
                <a:custGeom>
                  <a:avLst/>
                  <a:gdLst/>
                  <a:ahLst/>
                  <a:cxnLst/>
                  <a:rect l="0" t="0" r="0" b="0"/>
                  <a:pathLst>
                    <a:path w="656208" h="503248">
                      <a:moveTo>
                        <a:pt x="656208" y="292291"/>
                      </a:moveTo>
                      <a:lnTo>
                        <a:pt x="534412" y="503248"/>
                      </a:lnTo>
                      <a:lnTo>
                        <a:pt x="534412" y="259648"/>
                      </a:lnTo>
                      <a:lnTo>
                        <a:pt x="0" y="259648"/>
                      </a:lnTo>
                      <a:lnTo>
                        <a:pt x="149907" y="0"/>
                      </a:lnTo>
                      <a:lnTo>
                        <a:pt x="656208" y="292291"/>
                      </a:lnTo>
                      <a:close/>
                    </a:path>
                  </a:pathLst>
                </a:custGeom>
                <a:solidFill>
                  <a:srgbClr val="1A1A1A"/>
                </a:solidFill>
                <a:ln>
                  <a:noFill/>
                </a:ln>
              </p:spPr>
              <p:txBody>
                <a:bodyPr rtlCol="0" anchor="ctr"/>
                <a:lstStyle/>
                <a:p>
                  <a:pPr algn="ctr"/>
                  <a:endParaRPr sz="2000"/>
                </a:p>
              </p:txBody>
            </p:sp>
            <p:sp>
              <p:nvSpPr>
                <p:cNvPr id="11" name="Rounded Rectangle 8">
                  <a:extLst>
                    <a:ext uri="{FF2B5EF4-FFF2-40B4-BE49-F238E27FC236}">
                      <a16:creationId xmlns:a16="http://schemas.microsoft.com/office/drawing/2014/main" id="{B9E51F4F-B165-2C6D-1406-26B2721663C4}"/>
                    </a:ext>
                  </a:extLst>
                </p:cNvPr>
                <p:cNvSpPr/>
                <p:nvPr/>
              </p:nvSpPr>
              <p:spPr>
                <a:xfrm>
                  <a:off x="3317385" y="3556927"/>
                  <a:ext cx="584614" cy="299849"/>
                </a:xfrm>
                <a:custGeom>
                  <a:avLst/>
                  <a:gdLst/>
                  <a:ahLst/>
                  <a:cxnLst/>
                  <a:rect l="0" t="0" r="0" b="0"/>
                  <a:pathLst>
                    <a:path w="584614" h="299849">
                      <a:moveTo>
                        <a:pt x="584614" y="0"/>
                      </a:moveTo>
                      <a:lnTo>
                        <a:pt x="584614" y="243690"/>
                      </a:lnTo>
                      <a:lnTo>
                        <a:pt x="462779" y="32664"/>
                      </a:lnTo>
                      <a:lnTo>
                        <a:pt x="0" y="299849"/>
                      </a:lnTo>
                      <a:lnTo>
                        <a:pt x="0" y="18"/>
                      </a:lnTo>
                      <a:lnTo>
                        <a:pt x="584614" y="0"/>
                      </a:lnTo>
                      <a:close/>
                    </a:path>
                  </a:pathLst>
                </a:custGeom>
                <a:solidFill>
                  <a:srgbClr val="1A1A1A"/>
                </a:solidFill>
                <a:ln>
                  <a:noFill/>
                </a:ln>
              </p:spPr>
              <p:txBody>
                <a:bodyPr rtlCol="0" anchor="ctr"/>
                <a:lstStyle/>
                <a:p>
                  <a:pPr algn="ctr"/>
                  <a:endParaRPr sz="2000"/>
                </a:p>
              </p:txBody>
            </p:sp>
            <p:sp>
              <p:nvSpPr>
                <p:cNvPr id="12" name="Rounded Rectangle 9">
                  <a:extLst>
                    <a:ext uri="{FF2B5EF4-FFF2-40B4-BE49-F238E27FC236}">
                      <a16:creationId xmlns:a16="http://schemas.microsoft.com/office/drawing/2014/main" id="{CD3F70A2-1D84-B2D9-F455-93744203CD15}"/>
                    </a:ext>
                  </a:extLst>
                </p:cNvPr>
                <p:cNvSpPr/>
                <p:nvPr/>
              </p:nvSpPr>
              <p:spPr>
                <a:xfrm>
                  <a:off x="3273932" y="3589580"/>
                  <a:ext cx="749872" cy="714233"/>
                </a:xfrm>
                <a:custGeom>
                  <a:avLst/>
                  <a:gdLst/>
                  <a:ahLst/>
                  <a:cxnLst/>
                  <a:rect l="0" t="0" r="0" b="0"/>
                  <a:pathLst>
                    <a:path w="749872" h="714233">
                      <a:moveTo>
                        <a:pt x="506253" y="4"/>
                      </a:moveTo>
                      <a:lnTo>
                        <a:pt x="749843" y="421915"/>
                      </a:lnTo>
                      <a:moveTo>
                        <a:pt x="506281" y="0"/>
                      </a:moveTo>
                      <a:lnTo>
                        <a:pt x="749872" y="421910"/>
                      </a:lnTo>
                      <a:lnTo>
                        <a:pt x="243590" y="714233"/>
                      </a:lnTo>
                      <a:lnTo>
                        <a:pt x="0" y="292323"/>
                      </a:lnTo>
                      <a:close/>
                    </a:path>
                  </a:pathLst>
                </a:custGeom>
                <a:solidFill>
                  <a:srgbClr val="1A1A1A"/>
                </a:solidFill>
                <a:ln>
                  <a:noFill/>
                </a:ln>
              </p:spPr>
              <p:txBody>
                <a:bodyPr rtlCol="0" anchor="ctr"/>
                <a:lstStyle/>
                <a:p>
                  <a:pPr algn="ctr"/>
                  <a:endParaRPr sz="2000"/>
                </a:p>
              </p:txBody>
            </p:sp>
            <p:sp>
              <p:nvSpPr>
                <p:cNvPr id="13" name="Rounded Rectangle 10">
                  <a:extLst>
                    <a:ext uri="{FF2B5EF4-FFF2-40B4-BE49-F238E27FC236}">
                      <a16:creationId xmlns:a16="http://schemas.microsoft.com/office/drawing/2014/main" id="{B545D506-3805-1C17-EB8D-6EEAD25EF446}"/>
                    </a:ext>
                  </a:extLst>
                </p:cNvPr>
                <p:cNvSpPr/>
                <p:nvPr/>
              </p:nvSpPr>
              <p:spPr>
                <a:xfrm>
                  <a:off x="3902005" y="4044141"/>
                  <a:ext cx="534410" cy="259651"/>
                </a:xfrm>
                <a:custGeom>
                  <a:avLst/>
                  <a:gdLst/>
                  <a:ahLst/>
                  <a:cxnLst/>
                  <a:rect l="0" t="0" r="0" b="0"/>
                  <a:pathLst>
                    <a:path w="534410" h="259651">
                      <a:moveTo>
                        <a:pt x="534410" y="1"/>
                      </a:moveTo>
                      <a:lnTo>
                        <a:pt x="384501" y="259651"/>
                      </a:lnTo>
                      <a:lnTo>
                        <a:pt x="0" y="37675"/>
                      </a:lnTo>
                      <a:lnTo>
                        <a:pt x="65251" y="0"/>
                      </a:lnTo>
                      <a:lnTo>
                        <a:pt x="534410" y="1"/>
                      </a:lnTo>
                      <a:close/>
                    </a:path>
                  </a:pathLst>
                </a:custGeom>
                <a:noFill/>
                <a:ln w="6089">
                  <a:solidFill>
                    <a:srgbClr val="FFFFFF"/>
                  </a:solidFill>
                </a:ln>
              </p:spPr>
              <p:txBody>
                <a:bodyPr rtlCol="0" anchor="ctr"/>
                <a:lstStyle/>
                <a:p>
                  <a:pPr algn="ctr"/>
                  <a:endParaRPr sz="2000"/>
                </a:p>
              </p:txBody>
            </p:sp>
            <p:sp>
              <p:nvSpPr>
                <p:cNvPr id="14" name="Rounded Rectangle 11">
                  <a:extLst>
                    <a:ext uri="{FF2B5EF4-FFF2-40B4-BE49-F238E27FC236}">
                      <a16:creationId xmlns:a16="http://schemas.microsoft.com/office/drawing/2014/main" id="{C1E7F924-E4B0-7442-0F9D-2E687A8FC4FD}"/>
                    </a:ext>
                  </a:extLst>
                </p:cNvPr>
                <p:cNvSpPr/>
                <p:nvPr/>
              </p:nvSpPr>
              <p:spPr>
                <a:xfrm>
                  <a:off x="3967276" y="3744259"/>
                  <a:ext cx="519364" cy="299884"/>
                </a:xfrm>
                <a:custGeom>
                  <a:avLst/>
                  <a:gdLst/>
                  <a:ahLst/>
                  <a:cxnLst/>
                  <a:rect l="0" t="0" r="0" b="0"/>
                  <a:pathLst>
                    <a:path w="519364" h="299884">
                      <a:moveTo>
                        <a:pt x="519364" y="0"/>
                      </a:moveTo>
                      <a:lnTo>
                        <a:pt x="519364" y="299867"/>
                      </a:lnTo>
                      <a:lnTo>
                        <a:pt x="0" y="299884"/>
                      </a:lnTo>
                      <a:lnTo>
                        <a:pt x="56550" y="267232"/>
                      </a:lnTo>
                      <a:lnTo>
                        <a:pt x="56538" y="267212"/>
                      </a:lnTo>
                      <a:close/>
                      <a:moveTo>
                        <a:pt x="0" y="299884"/>
                      </a:moveTo>
                      <a:lnTo>
                        <a:pt x="469161" y="299884"/>
                      </a:lnTo>
                      <a:moveTo>
                        <a:pt x="56497" y="267236"/>
                      </a:moveTo>
                      <a:lnTo>
                        <a:pt x="56521" y="267223"/>
                      </a:lnTo>
                      <a:moveTo>
                        <a:pt x="56521" y="267223"/>
                      </a:moveTo>
                      <a:lnTo>
                        <a:pt x="56525" y="267231"/>
                      </a:lnTo>
                      <a:moveTo>
                        <a:pt x="56521" y="267223"/>
                      </a:moveTo>
                      <a:lnTo>
                        <a:pt x="56538" y="267212"/>
                      </a:lnTo>
                    </a:path>
                  </a:pathLst>
                </a:custGeom>
                <a:noFill/>
                <a:ln w="6089">
                  <a:solidFill>
                    <a:srgbClr val="FFFFFF"/>
                  </a:solidFill>
                </a:ln>
              </p:spPr>
              <p:txBody>
                <a:bodyPr rtlCol="0" anchor="ctr"/>
                <a:lstStyle/>
                <a:p>
                  <a:pPr algn="ctr"/>
                  <a:endParaRPr sz="2000"/>
                </a:p>
              </p:txBody>
            </p:sp>
            <p:sp>
              <p:nvSpPr>
                <p:cNvPr id="15" name="Rounded Rectangle 12">
                  <a:extLst>
                    <a:ext uri="{FF2B5EF4-FFF2-40B4-BE49-F238E27FC236}">
                      <a16:creationId xmlns:a16="http://schemas.microsoft.com/office/drawing/2014/main" id="{E50480BE-CE5D-C1A3-FD85-29973D6417F2}"/>
                    </a:ext>
                  </a:extLst>
                </p:cNvPr>
                <p:cNvSpPr/>
                <p:nvPr/>
              </p:nvSpPr>
              <p:spPr>
                <a:xfrm>
                  <a:off x="3901938" y="3459547"/>
                  <a:ext cx="628087" cy="551948"/>
                </a:xfrm>
                <a:custGeom>
                  <a:avLst/>
                  <a:gdLst/>
                  <a:ahLst/>
                  <a:cxnLst/>
                  <a:rect l="0" t="0" r="0" b="0"/>
                  <a:pathLst>
                    <a:path w="628087" h="551948">
                      <a:moveTo>
                        <a:pt x="121805" y="551948"/>
                      </a:moveTo>
                      <a:lnTo>
                        <a:pt x="0" y="340974"/>
                      </a:lnTo>
                      <a:lnTo>
                        <a:pt x="46" y="341001"/>
                      </a:lnTo>
                      <a:moveTo>
                        <a:pt x="46" y="341001"/>
                      </a:moveTo>
                      <a:lnTo>
                        <a:pt x="210998" y="462794"/>
                      </a:lnTo>
                      <a:lnTo>
                        <a:pt x="478193" y="0"/>
                      </a:lnTo>
                      <a:lnTo>
                        <a:pt x="628087" y="259624"/>
                      </a:lnTo>
                      <a:lnTo>
                        <a:pt x="121834" y="551943"/>
                      </a:lnTo>
                      <a:lnTo>
                        <a:pt x="46" y="341001"/>
                      </a:lnTo>
                      <a:close/>
                    </a:path>
                  </a:pathLst>
                </a:custGeom>
                <a:noFill/>
                <a:ln w="6089">
                  <a:solidFill>
                    <a:srgbClr val="FFFFFF"/>
                  </a:solidFill>
                </a:ln>
              </p:spPr>
              <p:txBody>
                <a:bodyPr rtlCol="0" anchor="ctr"/>
                <a:lstStyle/>
                <a:p>
                  <a:pPr algn="ctr"/>
                  <a:endParaRPr sz="2000"/>
                </a:p>
              </p:txBody>
            </p:sp>
            <p:sp>
              <p:nvSpPr>
                <p:cNvPr id="16" name="Rounded Rectangle 13">
                  <a:extLst>
                    <a:ext uri="{FF2B5EF4-FFF2-40B4-BE49-F238E27FC236}">
                      <a16:creationId xmlns:a16="http://schemas.microsoft.com/office/drawing/2014/main" id="{D24E561E-1E61-E63D-0CE7-018B52AC94E4}"/>
                    </a:ext>
                  </a:extLst>
                </p:cNvPr>
                <p:cNvSpPr/>
                <p:nvPr/>
              </p:nvSpPr>
              <p:spPr>
                <a:xfrm>
                  <a:off x="3901938" y="3266110"/>
                  <a:ext cx="503275" cy="656231"/>
                </a:xfrm>
                <a:custGeom>
                  <a:avLst/>
                  <a:gdLst/>
                  <a:ahLst/>
                  <a:cxnLst/>
                  <a:rect l="0" t="0" r="0" b="0"/>
                  <a:pathLst>
                    <a:path w="503275" h="656231">
                      <a:moveTo>
                        <a:pt x="210984" y="656231"/>
                      </a:moveTo>
                      <a:lnTo>
                        <a:pt x="0" y="534418"/>
                      </a:lnTo>
                      <a:lnTo>
                        <a:pt x="243587" y="534418"/>
                      </a:lnTo>
                      <a:lnTo>
                        <a:pt x="243587" y="0"/>
                      </a:lnTo>
                      <a:lnTo>
                        <a:pt x="503275" y="149930"/>
                      </a:lnTo>
                      <a:lnTo>
                        <a:pt x="210984" y="656231"/>
                      </a:lnTo>
                      <a:close/>
                    </a:path>
                  </a:pathLst>
                </a:custGeom>
                <a:noFill/>
                <a:ln w="6089">
                  <a:solidFill>
                    <a:srgbClr val="FFFFFF"/>
                  </a:solidFill>
                </a:ln>
              </p:spPr>
              <p:txBody>
                <a:bodyPr rtlCol="0" anchor="ctr"/>
                <a:lstStyle/>
                <a:p>
                  <a:pPr algn="ctr"/>
                  <a:endParaRPr sz="2000"/>
                </a:p>
              </p:txBody>
            </p:sp>
            <p:sp>
              <p:nvSpPr>
                <p:cNvPr id="17" name="Rounded Rectangle 14">
                  <a:extLst>
                    <a:ext uri="{FF2B5EF4-FFF2-40B4-BE49-F238E27FC236}">
                      <a16:creationId xmlns:a16="http://schemas.microsoft.com/office/drawing/2014/main" id="{59D0730B-0EF2-72C4-2925-C385889F091D}"/>
                    </a:ext>
                  </a:extLst>
                </p:cNvPr>
                <p:cNvSpPr/>
                <p:nvPr/>
              </p:nvSpPr>
              <p:spPr>
                <a:xfrm>
                  <a:off x="3845735" y="3215913"/>
                  <a:ext cx="299811" cy="584614"/>
                </a:xfrm>
                <a:custGeom>
                  <a:avLst/>
                  <a:gdLst/>
                  <a:ahLst/>
                  <a:cxnLst/>
                  <a:rect l="0" t="0" r="0" b="0"/>
                  <a:pathLst>
                    <a:path w="299811" h="584614">
                      <a:moveTo>
                        <a:pt x="299811" y="584614"/>
                      </a:moveTo>
                      <a:lnTo>
                        <a:pt x="56249" y="584614"/>
                      </a:lnTo>
                      <a:lnTo>
                        <a:pt x="267207" y="462818"/>
                      </a:lnTo>
                      <a:lnTo>
                        <a:pt x="0" y="0"/>
                      </a:lnTo>
                      <a:lnTo>
                        <a:pt x="299792" y="0"/>
                      </a:lnTo>
                      <a:lnTo>
                        <a:pt x="299811" y="584614"/>
                      </a:lnTo>
                      <a:close/>
                    </a:path>
                  </a:pathLst>
                </a:custGeom>
                <a:noFill/>
                <a:ln w="6089">
                  <a:solidFill>
                    <a:srgbClr val="FFFFFF"/>
                  </a:solidFill>
                </a:ln>
              </p:spPr>
              <p:txBody>
                <a:bodyPr rtlCol="0" anchor="ctr"/>
                <a:lstStyle/>
                <a:p>
                  <a:pPr algn="ctr"/>
                  <a:endParaRPr sz="2000"/>
                </a:p>
              </p:txBody>
            </p:sp>
            <p:sp>
              <p:nvSpPr>
                <p:cNvPr id="18" name="Rounded Rectangle 15">
                  <a:extLst>
                    <a:ext uri="{FF2B5EF4-FFF2-40B4-BE49-F238E27FC236}">
                      <a16:creationId xmlns:a16="http://schemas.microsoft.com/office/drawing/2014/main" id="{477ABB4D-08D2-2B7C-69D6-057DE87AAAE7}"/>
                    </a:ext>
                  </a:extLst>
                </p:cNvPr>
                <p:cNvSpPr/>
                <p:nvPr/>
              </p:nvSpPr>
              <p:spPr>
                <a:xfrm>
                  <a:off x="3560975" y="3172452"/>
                  <a:ext cx="551972" cy="628064"/>
                </a:xfrm>
                <a:custGeom>
                  <a:avLst/>
                  <a:gdLst/>
                  <a:ahLst/>
                  <a:cxnLst/>
                  <a:rect l="0" t="0" r="0" b="0"/>
                  <a:pathLst>
                    <a:path w="551972" h="628064">
                      <a:moveTo>
                        <a:pt x="551972" y="506281"/>
                      </a:moveTo>
                      <a:lnTo>
                        <a:pt x="341037" y="628064"/>
                      </a:lnTo>
                      <a:lnTo>
                        <a:pt x="462826" y="417120"/>
                      </a:lnTo>
                      <a:lnTo>
                        <a:pt x="0" y="149907"/>
                      </a:lnTo>
                      <a:lnTo>
                        <a:pt x="259648" y="0"/>
                      </a:lnTo>
                      <a:lnTo>
                        <a:pt x="551972" y="506281"/>
                      </a:lnTo>
                      <a:close/>
                    </a:path>
                  </a:pathLst>
                </a:custGeom>
                <a:noFill/>
                <a:ln w="6089">
                  <a:solidFill>
                    <a:srgbClr val="FFFFFF"/>
                  </a:solidFill>
                </a:ln>
              </p:spPr>
              <p:txBody>
                <a:bodyPr rtlCol="0" anchor="ctr"/>
                <a:lstStyle/>
                <a:p>
                  <a:pPr algn="ctr"/>
                  <a:endParaRPr sz="2000"/>
                </a:p>
              </p:txBody>
            </p:sp>
            <p:sp>
              <p:nvSpPr>
                <p:cNvPr id="19" name="Rounded Rectangle 16">
                  <a:extLst>
                    <a:ext uri="{FF2B5EF4-FFF2-40B4-BE49-F238E27FC236}">
                      <a16:creationId xmlns:a16="http://schemas.microsoft.com/office/drawing/2014/main" id="{485F7F48-CBEF-66D9-82EF-B83A62D5E188}"/>
                    </a:ext>
                  </a:extLst>
                </p:cNvPr>
                <p:cNvSpPr/>
                <p:nvPr/>
              </p:nvSpPr>
              <p:spPr>
                <a:xfrm>
                  <a:off x="3367562" y="3297280"/>
                  <a:ext cx="656208" cy="503248"/>
                </a:xfrm>
                <a:custGeom>
                  <a:avLst/>
                  <a:gdLst/>
                  <a:ahLst/>
                  <a:cxnLst/>
                  <a:rect l="0" t="0" r="0" b="0"/>
                  <a:pathLst>
                    <a:path w="656208" h="503248">
                      <a:moveTo>
                        <a:pt x="656208" y="292291"/>
                      </a:moveTo>
                      <a:lnTo>
                        <a:pt x="534412" y="503248"/>
                      </a:lnTo>
                      <a:lnTo>
                        <a:pt x="534412" y="259648"/>
                      </a:lnTo>
                      <a:lnTo>
                        <a:pt x="0" y="259648"/>
                      </a:lnTo>
                      <a:lnTo>
                        <a:pt x="149907" y="0"/>
                      </a:lnTo>
                      <a:lnTo>
                        <a:pt x="656208" y="292291"/>
                      </a:lnTo>
                      <a:close/>
                    </a:path>
                  </a:pathLst>
                </a:custGeom>
                <a:noFill/>
                <a:ln w="6089">
                  <a:solidFill>
                    <a:srgbClr val="FFFFFF"/>
                  </a:solidFill>
                </a:ln>
              </p:spPr>
              <p:txBody>
                <a:bodyPr rtlCol="0" anchor="ctr"/>
                <a:lstStyle/>
                <a:p>
                  <a:pPr algn="ctr"/>
                  <a:endParaRPr sz="2000"/>
                </a:p>
              </p:txBody>
            </p:sp>
            <p:sp>
              <p:nvSpPr>
                <p:cNvPr id="20" name="Rounded Rectangle 17">
                  <a:extLst>
                    <a:ext uri="{FF2B5EF4-FFF2-40B4-BE49-F238E27FC236}">
                      <a16:creationId xmlns:a16="http://schemas.microsoft.com/office/drawing/2014/main" id="{91D64523-51FE-683A-295A-1B9D1F27A46C}"/>
                    </a:ext>
                  </a:extLst>
                </p:cNvPr>
                <p:cNvSpPr/>
                <p:nvPr/>
              </p:nvSpPr>
              <p:spPr>
                <a:xfrm>
                  <a:off x="3317385" y="3556927"/>
                  <a:ext cx="584614" cy="299849"/>
                </a:xfrm>
                <a:custGeom>
                  <a:avLst/>
                  <a:gdLst/>
                  <a:ahLst/>
                  <a:cxnLst/>
                  <a:rect l="0" t="0" r="0" b="0"/>
                  <a:pathLst>
                    <a:path w="584614" h="299849">
                      <a:moveTo>
                        <a:pt x="584614" y="0"/>
                      </a:moveTo>
                      <a:lnTo>
                        <a:pt x="584614" y="243690"/>
                      </a:lnTo>
                      <a:lnTo>
                        <a:pt x="462779" y="32664"/>
                      </a:lnTo>
                      <a:lnTo>
                        <a:pt x="0" y="299849"/>
                      </a:lnTo>
                      <a:lnTo>
                        <a:pt x="0" y="18"/>
                      </a:lnTo>
                      <a:lnTo>
                        <a:pt x="584614" y="0"/>
                      </a:lnTo>
                      <a:close/>
                    </a:path>
                  </a:pathLst>
                </a:custGeom>
                <a:noFill/>
                <a:ln w="6089">
                  <a:solidFill>
                    <a:srgbClr val="FFFFFF"/>
                  </a:solidFill>
                </a:ln>
              </p:spPr>
              <p:txBody>
                <a:bodyPr rtlCol="0" anchor="ctr"/>
                <a:lstStyle/>
                <a:p>
                  <a:pPr algn="ctr"/>
                  <a:endParaRPr sz="2000"/>
                </a:p>
              </p:txBody>
            </p:sp>
            <p:sp>
              <p:nvSpPr>
                <p:cNvPr id="21" name="Rounded Rectangle 18">
                  <a:extLst>
                    <a:ext uri="{FF2B5EF4-FFF2-40B4-BE49-F238E27FC236}">
                      <a16:creationId xmlns:a16="http://schemas.microsoft.com/office/drawing/2014/main" id="{5AFACCD1-4800-CDF7-03FF-A3DD04400BCC}"/>
                    </a:ext>
                  </a:extLst>
                </p:cNvPr>
                <p:cNvSpPr/>
                <p:nvPr/>
              </p:nvSpPr>
              <p:spPr>
                <a:xfrm>
                  <a:off x="3273932" y="3589580"/>
                  <a:ext cx="749872" cy="714233"/>
                </a:xfrm>
                <a:custGeom>
                  <a:avLst/>
                  <a:gdLst/>
                  <a:ahLst/>
                  <a:cxnLst/>
                  <a:rect l="0" t="0" r="0" b="0"/>
                  <a:pathLst>
                    <a:path w="749872" h="714233">
                      <a:moveTo>
                        <a:pt x="506253" y="4"/>
                      </a:moveTo>
                      <a:lnTo>
                        <a:pt x="749843" y="421915"/>
                      </a:lnTo>
                      <a:moveTo>
                        <a:pt x="506281" y="0"/>
                      </a:moveTo>
                      <a:lnTo>
                        <a:pt x="749872" y="421910"/>
                      </a:lnTo>
                      <a:lnTo>
                        <a:pt x="243590" y="714233"/>
                      </a:lnTo>
                      <a:lnTo>
                        <a:pt x="0" y="292323"/>
                      </a:lnTo>
                      <a:close/>
                    </a:path>
                  </a:pathLst>
                </a:custGeom>
                <a:noFill/>
                <a:ln w="6089">
                  <a:solidFill>
                    <a:srgbClr val="FFFFFF"/>
                  </a:solidFill>
                </a:ln>
              </p:spPr>
              <p:txBody>
                <a:bodyPr rtlCol="0" anchor="ctr"/>
                <a:lstStyle/>
                <a:p>
                  <a:pPr algn="ctr"/>
                  <a:endParaRPr sz="2000"/>
                </a:p>
              </p:txBody>
            </p:sp>
          </p:grpSp>
          <p:grpSp>
            <p:nvGrpSpPr>
              <p:cNvPr id="22" name="Group 21">
                <a:extLst>
                  <a:ext uri="{FF2B5EF4-FFF2-40B4-BE49-F238E27FC236}">
                    <a16:creationId xmlns:a16="http://schemas.microsoft.com/office/drawing/2014/main" id="{CA9AFE33-DB2E-25A1-CE45-1C4D7CDBDD2C}"/>
                  </a:ext>
                </a:extLst>
              </p:cNvPr>
              <p:cNvGrpSpPr/>
              <p:nvPr/>
            </p:nvGrpSpPr>
            <p:grpSpPr>
              <a:xfrm>
                <a:off x="6297674" y="4768179"/>
                <a:ext cx="1513392" cy="1017166"/>
                <a:chOff x="4286488" y="4044151"/>
                <a:chExt cx="1256167" cy="844282"/>
              </a:xfrm>
            </p:grpSpPr>
            <p:sp>
              <p:nvSpPr>
                <p:cNvPr id="23" name="Rounded Rectangle 20">
                  <a:extLst>
                    <a:ext uri="{FF2B5EF4-FFF2-40B4-BE49-F238E27FC236}">
                      <a16:creationId xmlns:a16="http://schemas.microsoft.com/office/drawing/2014/main" id="{A11462D3-955C-482A-EA2F-E6BF0029D70D}"/>
                    </a:ext>
                  </a:extLst>
                </p:cNvPr>
                <p:cNvSpPr/>
                <p:nvPr/>
              </p:nvSpPr>
              <p:spPr>
                <a:xfrm>
                  <a:off x="4286488" y="4044151"/>
                  <a:ext cx="1256167" cy="844282"/>
                </a:xfrm>
                <a:custGeom>
                  <a:avLst/>
                  <a:gdLst/>
                  <a:ahLst/>
                  <a:cxnLst/>
                  <a:rect l="0" t="0" r="0" b="0"/>
                  <a:pathLst>
                    <a:path w="1256167" h="844282">
                      <a:moveTo>
                        <a:pt x="1256167" y="422372"/>
                      </a:moveTo>
                      <a:lnTo>
                        <a:pt x="1012577" y="844282"/>
                      </a:lnTo>
                      <a:lnTo>
                        <a:pt x="0" y="259649"/>
                      </a:lnTo>
                      <a:lnTo>
                        <a:pt x="149908" y="0"/>
                      </a:lnTo>
                      <a:lnTo>
                        <a:pt x="524597" y="0"/>
                      </a:lnTo>
                      <a:lnTo>
                        <a:pt x="1256167" y="422372"/>
                      </a:lnTo>
                      <a:close/>
                    </a:path>
                  </a:pathLst>
                </a:custGeom>
                <a:solidFill>
                  <a:srgbClr val="8AC6FF"/>
                </a:solidFill>
                <a:ln>
                  <a:noFill/>
                </a:ln>
              </p:spPr>
              <p:txBody>
                <a:bodyPr rtlCol="0" anchor="ctr"/>
                <a:lstStyle/>
                <a:p>
                  <a:pPr algn="ctr"/>
                  <a:endParaRPr sz="2000"/>
                </a:p>
              </p:txBody>
            </p:sp>
            <p:sp>
              <p:nvSpPr>
                <p:cNvPr id="24" name="Rounded Rectangle 21">
                  <a:extLst>
                    <a:ext uri="{FF2B5EF4-FFF2-40B4-BE49-F238E27FC236}">
                      <a16:creationId xmlns:a16="http://schemas.microsoft.com/office/drawing/2014/main" id="{7F7BC751-4089-B3F6-B498-632B92DE2A1F}"/>
                    </a:ext>
                  </a:extLst>
                </p:cNvPr>
                <p:cNvSpPr/>
                <p:nvPr/>
              </p:nvSpPr>
              <p:spPr>
                <a:xfrm>
                  <a:off x="4286488" y="4044151"/>
                  <a:ext cx="1256167" cy="844282"/>
                </a:xfrm>
                <a:custGeom>
                  <a:avLst/>
                  <a:gdLst/>
                  <a:ahLst/>
                  <a:cxnLst/>
                  <a:rect l="0" t="0" r="0" b="0"/>
                  <a:pathLst>
                    <a:path w="1256167" h="844282">
                      <a:moveTo>
                        <a:pt x="1256167" y="422372"/>
                      </a:moveTo>
                      <a:lnTo>
                        <a:pt x="1012577" y="844282"/>
                      </a:lnTo>
                      <a:lnTo>
                        <a:pt x="0" y="259649"/>
                      </a:lnTo>
                      <a:lnTo>
                        <a:pt x="149908" y="0"/>
                      </a:lnTo>
                      <a:lnTo>
                        <a:pt x="524597" y="0"/>
                      </a:lnTo>
                      <a:lnTo>
                        <a:pt x="1256167" y="422372"/>
                      </a:lnTo>
                      <a:close/>
                    </a:path>
                  </a:pathLst>
                </a:custGeom>
                <a:noFill/>
                <a:ln w="6089">
                  <a:solidFill>
                    <a:srgbClr val="FFFFFF"/>
                  </a:solidFill>
                </a:ln>
              </p:spPr>
              <p:txBody>
                <a:bodyPr rtlCol="0" anchor="ctr"/>
                <a:lstStyle/>
                <a:p>
                  <a:pPr algn="ctr"/>
                  <a:endParaRPr sz="2000"/>
                </a:p>
              </p:txBody>
            </p:sp>
          </p:grpSp>
          <p:grpSp>
            <p:nvGrpSpPr>
              <p:cNvPr id="25" name="Group 24">
                <a:extLst>
                  <a:ext uri="{FF2B5EF4-FFF2-40B4-BE49-F238E27FC236}">
                    <a16:creationId xmlns:a16="http://schemas.microsoft.com/office/drawing/2014/main" id="{CF933A9B-5F38-FEE5-5DC4-24A103DF581E}"/>
                  </a:ext>
                </a:extLst>
              </p:cNvPr>
              <p:cNvGrpSpPr/>
              <p:nvPr/>
            </p:nvGrpSpPr>
            <p:grpSpPr>
              <a:xfrm>
                <a:off x="6538789" y="4181239"/>
                <a:ext cx="1408658" cy="586940"/>
                <a:chOff x="4486622" y="3556971"/>
                <a:chExt cx="1169234" cy="487180"/>
              </a:xfrm>
            </p:grpSpPr>
            <p:sp>
              <p:nvSpPr>
                <p:cNvPr id="26" name="Rounded Rectangle 23">
                  <a:extLst>
                    <a:ext uri="{FF2B5EF4-FFF2-40B4-BE49-F238E27FC236}">
                      <a16:creationId xmlns:a16="http://schemas.microsoft.com/office/drawing/2014/main" id="{F0C7A325-CF93-A0DB-C7D1-B95B709D978B}"/>
                    </a:ext>
                  </a:extLst>
                </p:cNvPr>
                <p:cNvSpPr/>
                <p:nvPr/>
              </p:nvSpPr>
              <p:spPr>
                <a:xfrm>
                  <a:off x="4486622" y="3556971"/>
                  <a:ext cx="1169234" cy="487180"/>
                </a:xfrm>
                <a:custGeom>
                  <a:avLst/>
                  <a:gdLst/>
                  <a:ahLst/>
                  <a:cxnLst/>
                  <a:rect l="0" t="0" r="0" b="0"/>
                  <a:pathLst>
                    <a:path w="1169234" h="487180">
                      <a:moveTo>
                        <a:pt x="1169234" y="0"/>
                      </a:moveTo>
                      <a:lnTo>
                        <a:pt x="1169234" y="487180"/>
                      </a:lnTo>
                      <a:lnTo>
                        <a:pt x="0" y="487161"/>
                      </a:lnTo>
                      <a:lnTo>
                        <a:pt x="0" y="187294"/>
                      </a:lnTo>
                      <a:lnTo>
                        <a:pt x="324402" y="0"/>
                      </a:lnTo>
                      <a:lnTo>
                        <a:pt x="1169234" y="0"/>
                      </a:lnTo>
                      <a:close/>
                    </a:path>
                  </a:pathLst>
                </a:custGeom>
                <a:solidFill>
                  <a:srgbClr val="67B6FF"/>
                </a:solidFill>
                <a:ln>
                  <a:noFill/>
                </a:ln>
              </p:spPr>
              <p:txBody>
                <a:bodyPr rtlCol="0" anchor="ctr"/>
                <a:lstStyle/>
                <a:p>
                  <a:pPr algn="ctr"/>
                  <a:endParaRPr sz="2000"/>
                </a:p>
              </p:txBody>
            </p:sp>
            <p:sp>
              <p:nvSpPr>
                <p:cNvPr id="27" name="Rounded Rectangle 24">
                  <a:extLst>
                    <a:ext uri="{FF2B5EF4-FFF2-40B4-BE49-F238E27FC236}">
                      <a16:creationId xmlns:a16="http://schemas.microsoft.com/office/drawing/2014/main" id="{941C6FAD-AAE6-834D-1BF0-C01AF2E2449D}"/>
                    </a:ext>
                  </a:extLst>
                </p:cNvPr>
                <p:cNvSpPr/>
                <p:nvPr/>
              </p:nvSpPr>
              <p:spPr>
                <a:xfrm>
                  <a:off x="4486622" y="3556971"/>
                  <a:ext cx="1169234" cy="487180"/>
                </a:xfrm>
                <a:custGeom>
                  <a:avLst/>
                  <a:gdLst/>
                  <a:ahLst/>
                  <a:cxnLst/>
                  <a:rect l="0" t="0" r="0" b="0"/>
                  <a:pathLst>
                    <a:path w="1169234" h="487180">
                      <a:moveTo>
                        <a:pt x="1169234" y="0"/>
                      </a:moveTo>
                      <a:lnTo>
                        <a:pt x="1169234" y="487180"/>
                      </a:lnTo>
                      <a:lnTo>
                        <a:pt x="0" y="487161"/>
                      </a:lnTo>
                      <a:lnTo>
                        <a:pt x="0" y="187294"/>
                      </a:lnTo>
                      <a:lnTo>
                        <a:pt x="324402" y="0"/>
                      </a:lnTo>
                      <a:lnTo>
                        <a:pt x="1169234" y="0"/>
                      </a:lnTo>
                      <a:close/>
                    </a:path>
                  </a:pathLst>
                </a:custGeom>
                <a:noFill/>
                <a:ln w="6089">
                  <a:solidFill>
                    <a:srgbClr val="FFFFFF"/>
                  </a:solidFill>
                </a:ln>
              </p:spPr>
              <p:txBody>
                <a:bodyPr rtlCol="0" anchor="ctr"/>
                <a:lstStyle/>
                <a:p>
                  <a:pPr algn="ctr"/>
                  <a:endParaRPr sz="2000"/>
                </a:p>
              </p:txBody>
            </p:sp>
          </p:grpSp>
          <p:grpSp>
            <p:nvGrpSpPr>
              <p:cNvPr id="28" name="Group 27">
                <a:extLst>
                  <a:ext uri="{FF2B5EF4-FFF2-40B4-BE49-F238E27FC236}">
                    <a16:creationId xmlns:a16="http://schemas.microsoft.com/office/drawing/2014/main" id="{862EDB3D-19D0-F2FD-788D-9ECDC4CFB56C}"/>
                  </a:ext>
                </a:extLst>
              </p:cNvPr>
              <p:cNvGrpSpPr/>
              <p:nvPr/>
            </p:nvGrpSpPr>
            <p:grpSpPr>
              <a:xfrm>
                <a:off x="6410474" y="3164048"/>
                <a:ext cx="1400533" cy="1212615"/>
                <a:chOff x="4380116" y="2712668"/>
                <a:chExt cx="1162490" cy="1006511"/>
              </a:xfrm>
            </p:grpSpPr>
            <p:sp>
              <p:nvSpPr>
                <p:cNvPr id="29" name="Rounded Rectangle 26">
                  <a:extLst>
                    <a:ext uri="{FF2B5EF4-FFF2-40B4-BE49-F238E27FC236}">
                      <a16:creationId xmlns:a16="http://schemas.microsoft.com/office/drawing/2014/main" id="{DF5E23F3-E04D-171E-477F-5F3E619B4109}"/>
                    </a:ext>
                  </a:extLst>
                </p:cNvPr>
                <p:cNvSpPr/>
                <p:nvPr/>
              </p:nvSpPr>
              <p:spPr>
                <a:xfrm>
                  <a:off x="4380116" y="2712668"/>
                  <a:ext cx="1162490" cy="1006511"/>
                </a:xfrm>
                <a:custGeom>
                  <a:avLst/>
                  <a:gdLst/>
                  <a:ahLst/>
                  <a:cxnLst/>
                  <a:rect l="0" t="0" r="0" b="0"/>
                  <a:pathLst>
                    <a:path w="1162490" h="1006511">
                      <a:moveTo>
                        <a:pt x="918900" y="0"/>
                      </a:moveTo>
                      <a:lnTo>
                        <a:pt x="1162490" y="421910"/>
                      </a:lnTo>
                      <a:lnTo>
                        <a:pt x="149894" y="1006511"/>
                      </a:lnTo>
                      <a:lnTo>
                        <a:pt x="0" y="746886"/>
                      </a:lnTo>
                      <a:lnTo>
                        <a:pt x="187372" y="422347"/>
                      </a:lnTo>
                      <a:lnTo>
                        <a:pt x="918900" y="0"/>
                      </a:lnTo>
                      <a:close/>
                    </a:path>
                  </a:pathLst>
                </a:custGeom>
                <a:solidFill>
                  <a:srgbClr val="44A5FF"/>
                </a:solidFill>
                <a:ln>
                  <a:noFill/>
                </a:ln>
              </p:spPr>
              <p:txBody>
                <a:bodyPr rtlCol="0" anchor="ctr"/>
                <a:lstStyle/>
                <a:p>
                  <a:pPr algn="ctr"/>
                  <a:endParaRPr sz="2000"/>
                </a:p>
              </p:txBody>
            </p:sp>
            <p:sp>
              <p:nvSpPr>
                <p:cNvPr id="30" name="Rounded Rectangle 27">
                  <a:extLst>
                    <a:ext uri="{FF2B5EF4-FFF2-40B4-BE49-F238E27FC236}">
                      <a16:creationId xmlns:a16="http://schemas.microsoft.com/office/drawing/2014/main" id="{11BB0B66-75BD-04D3-ECA7-50E119F10059}"/>
                    </a:ext>
                  </a:extLst>
                </p:cNvPr>
                <p:cNvSpPr/>
                <p:nvPr/>
              </p:nvSpPr>
              <p:spPr>
                <a:xfrm>
                  <a:off x="4380116" y="2712668"/>
                  <a:ext cx="1162490" cy="1006511"/>
                </a:xfrm>
                <a:custGeom>
                  <a:avLst/>
                  <a:gdLst/>
                  <a:ahLst/>
                  <a:cxnLst/>
                  <a:rect l="0" t="0" r="0" b="0"/>
                  <a:pathLst>
                    <a:path w="1162490" h="1006511">
                      <a:moveTo>
                        <a:pt x="918900" y="0"/>
                      </a:moveTo>
                      <a:lnTo>
                        <a:pt x="1162490" y="421910"/>
                      </a:lnTo>
                      <a:lnTo>
                        <a:pt x="149894" y="1006511"/>
                      </a:lnTo>
                      <a:lnTo>
                        <a:pt x="0" y="746886"/>
                      </a:lnTo>
                      <a:lnTo>
                        <a:pt x="187372" y="422347"/>
                      </a:lnTo>
                      <a:lnTo>
                        <a:pt x="918900" y="0"/>
                      </a:lnTo>
                      <a:close/>
                    </a:path>
                  </a:pathLst>
                </a:custGeom>
                <a:noFill/>
                <a:ln w="6089">
                  <a:solidFill>
                    <a:srgbClr val="FFFFFF"/>
                  </a:solidFill>
                </a:ln>
              </p:spPr>
              <p:txBody>
                <a:bodyPr rtlCol="0" anchor="ctr"/>
                <a:lstStyle/>
                <a:p>
                  <a:pPr algn="ctr"/>
                  <a:endParaRPr sz="2000"/>
                </a:p>
              </p:txBody>
            </p:sp>
          </p:grpSp>
          <p:grpSp>
            <p:nvGrpSpPr>
              <p:cNvPr id="31" name="Group 30">
                <a:extLst>
                  <a:ext uri="{FF2B5EF4-FFF2-40B4-BE49-F238E27FC236}">
                    <a16:creationId xmlns:a16="http://schemas.microsoft.com/office/drawing/2014/main" id="{75D39FEB-3135-030C-3B5B-AE9DD3B96910}"/>
                  </a:ext>
                </a:extLst>
              </p:cNvPr>
              <p:cNvGrpSpPr/>
              <p:nvPr/>
            </p:nvGrpSpPr>
            <p:grpSpPr>
              <a:xfrm>
                <a:off x="6127853" y="2498056"/>
                <a:ext cx="1017211" cy="1513393"/>
                <a:chOff x="4145531" y="2159872"/>
                <a:chExt cx="844320" cy="1256167"/>
              </a:xfrm>
            </p:grpSpPr>
            <p:sp>
              <p:nvSpPr>
                <p:cNvPr id="32" name="Rounded Rectangle 29">
                  <a:extLst>
                    <a:ext uri="{FF2B5EF4-FFF2-40B4-BE49-F238E27FC236}">
                      <a16:creationId xmlns:a16="http://schemas.microsoft.com/office/drawing/2014/main" id="{5DB171C9-9BD1-5F00-1ACE-62E0E5F67743}"/>
                    </a:ext>
                  </a:extLst>
                </p:cNvPr>
                <p:cNvSpPr/>
                <p:nvPr/>
              </p:nvSpPr>
              <p:spPr>
                <a:xfrm>
                  <a:off x="4145531" y="2159872"/>
                  <a:ext cx="844320" cy="1256167"/>
                </a:xfrm>
                <a:custGeom>
                  <a:avLst/>
                  <a:gdLst/>
                  <a:ahLst/>
                  <a:cxnLst/>
                  <a:rect l="0" t="0" r="0" b="0"/>
                  <a:pathLst>
                    <a:path w="844320" h="1256167">
                      <a:moveTo>
                        <a:pt x="422410" y="0"/>
                      </a:moveTo>
                      <a:lnTo>
                        <a:pt x="844320" y="243590"/>
                      </a:lnTo>
                      <a:lnTo>
                        <a:pt x="259688" y="1256167"/>
                      </a:lnTo>
                      <a:lnTo>
                        <a:pt x="0" y="1106236"/>
                      </a:lnTo>
                      <a:lnTo>
                        <a:pt x="0" y="731636"/>
                      </a:lnTo>
                      <a:lnTo>
                        <a:pt x="422410" y="0"/>
                      </a:lnTo>
                      <a:close/>
                    </a:path>
                  </a:pathLst>
                </a:custGeom>
                <a:solidFill>
                  <a:srgbClr val="329CFF"/>
                </a:solidFill>
                <a:ln>
                  <a:noFill/>
                </a:ln>
              </p:spPr>
              <p:txBody>
                <a:bodyPr rtlCol="0" anchor="ctr"/>
                <a:lstStyle/>
                <a:p>
                  <a:pPr algn="ctr"/>
                  <a:endParaRPr sz="2000"/>
                </a:p>
              </p:txBody>
            </p:sp>
            <p:sp>
              <p:nvSpPr>
                <p:cNvPr id="33" name="Rounded Rectangle 30">
                  <a:extLst>
                    <a:ext uri="{FF2B5EF4-FFF2-40B4-BE49-F238E27FC236}">
                      <a16:creationId xmlns:a16="http://schemas.microsoft.com/office/drawing/2014/main" id="{11C04C03-4B32-F377-31B7-12F0DA54767B}"/>
                    </a:ext>
                  </a:extLst>
                </p:cNvPr>
                <p:cNvSpPr/>
                <p:nvPr/>
              </p:nvSpPr>
              <p:spPr>
                <a:xfrm>
                  <a:off x="4145531" y="2159872"/>
                  <a:ext cx="844320" cy="1256167"/>
                </a:xfrm>
                <a:custGeom>
                  <a:avLst/>
                  <a:gdLst/>
                  <a:ahLst/>
                  <a:cxnLst/>
                  <a:rect l="0" t="0" r="0" b="0"/>
                  <a:pathLst>
                    <a:path w="844320" h="1256167">
                      <a:moveTo>
                        <a:pt x="422410" y="0"/>
                      </a:moveTo>
                      <a:lnTo>
                        <a:pt x="844320" y="243590"/>
                      </a:lnTo>
                      <a:lnTo>
                        <a:pt x="259688" y="1256167"/>
                      </a:lnTo>
                      <a:lnTo>
                        <a:pt x="0" y="1106236"/>
                      </a:lnTo>
                      <a:lnTo>
                        <a:pt x="0" y="731636"/>
                      </a:lnTo>
                      <a:lnTo>
                        <a:pt x="422410" y="0"/>
                      </a:lnTo>
                      <a:close/>
                    </a:path>
                  </a:pathLst>
                </a:custGeom>
                <a:noFill/>
                <a:ln w="6089">
                  <a:solidFill>
                    <a:srgbClr val="FFFFFF"/>
                  </a:solidFill>
                </a:ln>
              </p:spPr>
              <p:txBody>
                <a:bodyPr rtlCol="0" anchor="ctr"/>
                <a:lstStyle/>
                <a:p>
                  <a:pPr algn="ctr"/>
                  <a:endParaRPr sz="2000"/>
                </a:p>
              </p:txBody>
            </p:sp>
          </p:grpSp>
          <p:grpSp>
            <p:nvGrpSpPr>
              <p:cNvPr id="34" name="Group 33">
                <a:extLst>
                  <a:ext uri="{FF2B5EF4-FFF2-40B4-BE49-F238E27FC236}">
                    <a16:creationId xmlns:a16="http://schemas.microsoft.com/office/drawing/2014/main" id="{340BE84A-1B72-7B57-51AD-9803997C92ED}"/>
                  </a:ext>
                </a:extLst>
              </p:cNvPr>
              <p:cNvGrpSpPr/>
              <p:nvPr/>
            </p:nvGrpSpPr>
            <p:grpSpPr>
              <a:xfrm>
                <a:off x="5540912" y="2361695"/>
                <a:ext cx="586940" cy="1408658"/>
                <a:chOff x="3658350" y="2046688"/>
                <a:chExt cx="487180" cy="1169234"/>
              </a:xfrm>
            </p:grpSpPr>
            <p:sp>
              <p:nvSpPr>
                <p:cNvPr id="35" name="Rounded Rectangle 32">
                  <a:extLst>
                    <a:ext uri="{FF2B5EF4-FFF2-40B4-BE49-F238E27FC236}">
                      <a16:creationId xmlns:a16="http://schemas.microsoft.com/office/drawing/2014/main" id="{147B6450-2C36-31E4-AE83-1E7C709D1142}"/>
                    </a:ext>
                  </a:extLst>
                </p:cNvPr>
                <p:cNvSpPr/>
                <p:nvPr/>
              </p:nvSpPr>
              <p:spPr>
                <a:xfrm>
                  <a:off x="3658350" y="2046688"/>
                  <a:ext cx="487180" cy="1169234"/>
                </a:xfrm>
                <a:custGeom>
                  <a:avLst/>
                  <a:gdLst/>
                  <a:ahLst/>
                  <a:cxnLst/>
                  <a:rect l="0" t="0" r="0" b="0"/>
                  <a:pathLst>
                    <a:path w="487180" h="1169234">
                      <a:moveTo>
                        <a:pt x="0" y="0"/>
                      </a:moveTo>
                      <a:lnTo>
                        <a:pt x="487180" y="0"/>
                      </a:lnTo>
                      <a:lnTo>
                        <a:pt x="487161" y="1169234"/>
                      </a:lnTo>
                      <a:lnTo>
                        <a:pt x="187368" y="1169234"/>
                      </a:lnTo>
                      <a:lnTo>
                        <a:pt x="0" y="844701"/>
                      </a:lnTo>
                      <a:lnTo>
                        <a:pt x="0" y="0"/>
                      </a:lnTo>
                      <a:close/>
                    </a:path>
                  </a:pathLst>
                </a:custGeom>
                <a:solidFill>
                  <a:srgbClr val="2696FF"/>
                </a:solidFill>
                <a:ln>
                  <a:noFill/>
                </a:ln>
              </p:spPr>
              <p:txBody>
                <a:bodyPr rtlCol="0" anchor="ctr"/>
                <a:lstStyle/>
                <a:p>
                  <a:pPr algn="ctr"/>
                  <a:endParaRPr sz="2000"/>
                </a:p>
              </p:txBody>
            </p:sp>
            <p:sp>
              <p:nvSpPr>
                <p:cNvPr id="36" name="Rounded Rectangle 33">
                  <a:extLst>
                    <a:ext uri="{FF2B5EF4-FFF2-40B4-BE49-F238E27FC236}">
                      <a16:creationId xmlns:a16="http://schemas.microsoft.com/office/drawing/2014/main" id="{64C47C1C-0308-349F-8DB9-9D51DC59C5E8}"/>
                    </a:ext>
                  </a:extLst>
                </p:cNvPr>
                <p:cNvSpPr/>
                <p:nvPr/>
              </p:nvSpPr>
              <p:spPr>
                <a:xfrm>
                  <a:off x="3658350" y="2046688"/>
                  <a:ext cx="487180" cy="1169234"/>
                </a:xfrm>
                <a:custGeom>
                  <a:avLst/>
                  <a:gdLst/>
                  <a:ahLst/>
                  <a:cxnLst/>
                  <a:rect l="0" t="0" r="0" b="0"/>
                  <a:pathLst>
                    <a:path w="487180" h="1169234">
                      <a:moveTo>
                        <a:pt x="0" y="0"/>
                      </a:moveTo>
                      <a:lnTo>
                        <a:pt x="487180" y="0"/>
                      </a:lnTo>
                      <a:lnTo>
                        <a:pt x="487161" y="1169234"/>
                      </a:lnTo>
                      <a:lnTo>
                        <a:pt x="187368" y="1169234"/>
                      </a:lnTo>
                      <a:lnTo>
                        <a:pt x="0" y="844701"/>
                      </a:lnTo>
                      <a:lnTo>
                        <a:pt x="0" y="0"/>
                      </a:lnTo>
                      <a:close/>
                    </a:path>
                  </a:pathLst>
                </a:custGeom>
                <a:noFill/>
                <a:ln w="6089">
                  <a:solidFill>
                    <a:srgbClr val="FFFFFF"/>
                  </a:solidFill>
                </a:ln>
              </p:spPr>
              <p:txBody>
                <a:bodyPr rtlCol="0" anchor="ctr"/>
                <a:lstStyle/>
                <a:p>
                  <a:pPr algn="ctr"/>
                  <a:endParaRPr sz="2000"/>
                </a:p>
              </p:txBody>
            </p:sp>
          </p:grpSp>
          <p:grpSp>
            <p:nvGrpSpPr>
              <p:cNvPr id="37" name="Group 36">
                <a:extLst>
                  <a:ext uri="{FF2B5EF4-FFF2-40B4-BE49-F238E27FC236}">
                    <a16:creationId xmlns:a16="http://schemas.microsoft.com/office/drawing/2014/main" id="{1A889B77-BD39-18B8-48D2-EE51EF020952}"/>
                  </a:ext>
                </a:extLst>
              </p:cNvPr>
              <p:cNvGrpSpPr/>
              <p:nvPr/>
            </p:nvGrpSpPr>
            <p:grpSpPr>
              <a:xfrm>
                <a:off x="4523784" y="2498037"/>
                <a:ext cx="1212614" cy="1400550"/>
                <a:chOff x="2814099" y="2159856"/>
                <a:chExt cx="1006511" cy="1162504"/>
              </a:xfrm>
            </p:grpSpPr>
            <p:sp>
              <p:nvSpPr>
                <p:cNvPr id="38" name="Rounded Rectangle 35">
                  <a:extLst>
                    <a:ext uri="{FF2B5EF4-FFF2-40B4-BE49-F238E27FC236}">
                      <a16:creationId xmlns:a16="http://schemas.microsoft.com/office/drawing/2014/main" id="{D40B13E8-5CCC-64B0-8B1C-1ECFEC0B498E}"/>
                    </a:ext>
                  </a:extLst>
                </p:cNvPr>
                <p:cNvSpPr/>
                <p:nvPr/>
              </p:nvSpPr>
              <p:spPr>
                <a:xfrm>
                  <a:off x="2814099" y="2159856"/>
                  <a:ext cx="1006511" cy="1162504"/>
                </a:xfrm>
                <a:custGeom>
                  <a:avLst/>
                  <a:gdLst/>
                  <a:ahLst/>
                  <a:cxnLst/>
                  <a:rect l="0" t="0" r="0" b="0"/>
                  <a:pathLst>
                    <a:path w="1006511" h="1162504">
                      <a:moveTo>
                        <a:pt x="0" y="243590"/>
                      </a:moveTo>
                      <a:lnTo>
                        <a:pt x="421910" y="0"/>
                      </a:lnTo>
                      <a:lnTo>
                        <a:pt x="1006511" y="1012596"/>
                      </a:lnTo>
                      <a:lnTo>
                        <a:pt x="746862" y="1162504"/>
                      </a:lnTo>
                      <a:lnTo>
                        <a:pt x="422371" y="975158"/>
                      </a:lnTo>
                      <a:lnTo>
                        <a:pt x="0" y="243590"/>
                      </a:lnTo>
                      <a:close/>
                    </a:path>
                  </a:pathLst>
                </a:custGeom>
                <a:solidFill>
                  <a:srgbClr val="1A90FF"/>
                </a:solidFill>
                <a:ln>
                  <a:noFill/>
                </a:ln>
              </p:spPr>
              <p:txBody>
                <a:bodyPr rtlCol="0" anchor="ctr"/>
                <a:lstStyle/>
                <a:p>
                  <a:pPr algn="ctr"/>
                  <a:endParaRPr sz="2000"/>
                </a:p>
              </p:txBody>
            </p:sp>
            <p:sp>
              <p:nvSpPr>
                <p:cNvPr id="39" name="Rounded Rectangle 36">
                  <a:extLst>
                    <a:ext uri="{FF2B5EF4-FFF2-40B4-BE49-F238E27FC236}">
                      <a16:creationId xmlns:a16="http://schemas.microsoft.com/office/drawing/2014/main" id="{7EB7A498-ADC8-A526-8199-5FC5405CB2B7}"/>
                    </a:ext>
                  </a:extLst>
                </p:cNvPr>
                <p:cNvSpPr/>
                <p:nvPr/>
              </p:nvSpPr>
              <p:spPr>
                <a:xfrm>
                  <a:off x="2814099" y="2159856"/>
                  <a:ext cx="1006511" cy="1162504"/>
                </a:xfrm>
                <a:custGeom>
                  <a:avLst/>
                  <a:gdLst/>
                  <a:ahLst/>
                  <a:cxnLst/>
                  <a:rect l="0" t="0" r="0" b="0"/>
                  <a:pathLst>
                    <a:path w="1006511" h="1162504">
                      <a:moveTo>
                        <a:pt x="0" y="243590"/>
                      </a:moveTo>
                      <a:lnTo>
                        <a:pt x="421910" y="0"/>
                      </a:lnTo>
                      <a:lnTo>
                        <a:pt x="1006511" y="1012596"/>
                      </a:lnTo>
                      <a:lnTo>
                        <a:pt x="746862" y="1162504"/>
                      </a:lnTo>
                      <a:lnTo>
                        <a:pt x="422371" y="975158"/>
                      </a:lnTo>
                      <a:lnTo>
                        <a:pt x="0" y="243590"/>
                      </a:lnTo>
                      <a:close/>
                    </a:path>
                  </a:pathLst>
                </a:custGeom>
                <a:noFill/>
                <a:ln w="6089">
                  <a:solidFill>
                    <a:srgbClr val="FFFFFF"/>
                  </a:solidFill>
                </a:ln>
              </p:spPr>
              <p:txBody>
                <a:bodyPr rtlCol="0" anchor="ctr"/>
                <a:lstStyle/>
                <a:p>
                  <a:pPr algn="ctr"/>
                  <a:endParaRPr sz="2000"/>
                </a:p>
              </p:txBody>
            </p:sp>
          </p:grpSp>
          <p:grpSp>
            <p:nvGrpSpPr>
              <p:cNvPr id="40" name="Group 39">
                <a:extLst>
                  <a:ext uri="{FF2B5EF4-FFF2-40B4-BE49-F238E27FC236}">
                    <a16:creationId xmlns:a16="http://schemas.microsoft.com/office/drawing/2014/main" id="{C1DE041B-2AFA-60C4-1D8A-B07EDC1AC6EB}"/>
                  </a:ext>
                </a:extLst>
              </p:cNvPr>
              <p:cNvGrpSpPr/>
              <p:nvPr/>
            </p:nvGrpSpPr>
            <p:grpSpPr>
              <a:xfrm>
                <a:off x="3857822" y="3164029"/>
                <a:ext cx="1513392" cy="1017165"/>
                <a:chOff x="2261328" y="2712652"/>
                <a:chExt cx="1256167" cy="844281"/>
              </a:xfrm>
            </p:grpSpPr>
            <p:sp>
              <p:nvSpPr>
                <p:cNvPr id="41" name="Rounded Rectangle 38">
                  <a:extLst>
                    <a:ext uri="{FF2B5EF4-FFF2-40B4-BE49-F238E27FC236}">
                      <a16:creationId xmlns:a16="http://schemas.microsoft.com/office/drawing/2014/main" id="{7FA7AB2A-97CC-E314-DB08-8298C7D09B97}"/>
                    </a:ext>
                  </a:extLst>
                </p:cNvPr>
                <p:cNvSpPr/>
                <p:nvPr/>
              </p:nvSpPr>
              <p:spPr>
                <a:xfrm>
                  <a:off x="2261328" y="2712652"/>
                  <a:ext cx="1256167" cy="844281"/>
                </a:xfrm>
                <a:custGeom>
                  <a:avLst/>
                  <a:gdLst/>
                  <a:ahLst/>
                  <a:cxnLst/>
                  <a:rect l="0" t="0" r="0" b="0"/>
                  <a:pathLst>
                    <a:path w="1256167" h="844281">
                      <a:moveTo>
                        <a:pt x="0" y="421910"/>
                      </a:moveTo>
                      <a:lnTo>
                        <a:pt x="243590" y="0"/>
                      </a:lnTo>
                      <a:lnTo>
                        <a:pt x="1256167" y="584633"/>
                      </a:lnTo>
                      <a:lnTo>
                        <a:pt x="1106259" y="844281"/>
                      </a:lnTo>
                      <a:lnTo>
                        <a:pt x="731567" y="844281"/>
                      </a:lnTo>
                      <a:lnTo>
                        <a:pt x="0" y="421910"/>
                      </a:lnTo>
                      <a:close/>
                    </a:path>
                  </a:pathLst>
                </a:custGeom>
                <a:solidFill>
                  <a:srgbClr val="0D8AFF"/>
                </a:solidFill>
                <a:ln>
                  <a:noFill/>
                </a:ln>
              </p:spPr>
              <p:txBody>
                <a:bodyPr rtlCol="0" anchor="ctr"/>
                <a:lstStyle/>
                <a:p>
                  <a:pPr algn="ctr"/>
                  <a:endParaRPr sz="2000"/>
                </a:p>
              </p:txBody>
            </p:sp>
            <p:sp>
              <p:nvSpPr>
                <p:cNvPr id="42" name="Rounded Rectangle 39">
                  <a:extLst>
                    <a:ext uri="{FF2B5EF4-FFF2-40B4-BE49-F238E27FC236}">
                      <a16:creationId xmlns:a16="http://schemas.microsoft.com/office/drawing/2014/main" id="{DC77E27B-9916-9FD9-FA0C-CC54A066C231}"/>
                    </a:ext>
                  </a:extLst>
                </p:cNvPr>
                <p:cNvSpPr/>
                <p:nvPr/>
              </p:nvSpPr>
              <p:spPr>
                <a:xfrm>
                  <a:off x="2261328" y="2712652"/>
                  <a:ext cx="1256167" cy="844281"/>
                </a:xfrm>
                <a:custGeom>
                  <a:avLst/>
                  <a:gdLst/>
                  <a:ahLst/>
                  <a:cxnLst/>
                  <a:rect l="0" t="0" r="0" b="0"/>
                  <a:pathLst>
                    <a:path w="1256167" h="844281">
                      <a:moveTo>
                        <a:pt x="0" y="421910"/>
                      </a:moveTo>
                      <a:lnTo>
                        <a:pt x="243590" y="0"/>
                      </a:lnTo>
                      <a:lnTo>
                        <a:pt x="1256167" y="584633"/>
                      </a:lnTo>
                      <a:lnTo>
                        <a:pt x="1106259" y="844281"/>
                      </a:lnTo>
                      <a:lnTo>
                        <a:pt x="731567" y="844281"/>
                      </a:lnTo>
                      <a:lnTo>
                        <a:pt x="0" y="421910"/>
                      </a:lnTo>
                      <a:close/>
                    </a:path>
                  </a:pathLst>
                </a:custGeom>
                <a:noFill/>
                <a:ln w="6089">
                  <a:solidFill>
                    <a:srgbClr val="FFFFFF"/>
                  </a:solidFill>
                </a:ln>
              </p:spPr>
              <p:txBody>
                <a:bodyPr rtlCol="0" anchor="ctr"/>
                <a:lstStyle/>
                <a:p>
                  <a:pPr algn="ctr"/>
                  <a:endParaRPr sz="2000"/>
                </a:p>
              </p:txBody>
            </p:sp>
          </p:grpSp>
          <p:grpSp>
            <p:nvGrpSpPr>
              <p:cNvPr id="43" name="Group 42">
                <a:extLst>
                  <a:ext uri="{FF2B5EF4-FFF2-40B4-BE49-F238E27FC236}">
                    <a16:creationId xmlns:a16="http://schemas.microsoft.com/office/drawing/2014/main" id="{3DE03198-952B-8241-84A9-3B563295D1A1}"/>
                  </a:ext>
                </a:extLst>
              </p:cNvPr>
              <p:cNvGrpSpPr/>
              <p:nvPr/>
            </p:nvGrpSpPr>
            <p:grpSpPr>
              <a:xfrm>
                <a:off x="3721476" y="4181201"/>
                <a:ext cx="1408658" cy="586940"/>
                <a:chOff x="2148156" y="3556939"/>
                <a:chExt cx="1169234" cy="487180"/>
              </a:xfrm>
            </p:grpSpPr>
            <p:sp>
              <p:nvSpPr>
                <p:cNvPr id="44" name="Rounded Rectangle 41">
                  <a:extLst>
                    <a:ext uri="{FF2B5EF4-FFF2-40B4-BE49-F238E27FC236}">
                      <a16:creationId xmlns:a16="http://schemas.microsoft.com/office/drawing/2014/main" id="{85DF24BC-8857-F9DB-9119-198D2789E37A}"/>
                    </a:ext>
                  </a:extLst>
                </p:cNvPr>
                <p:cNvSpPr/>
                <p:nvPr/>
              </p:nvSpPr>
              <p:spPr>
                <a:xfrm>
                  <a:off x="2148156" y="3556939"/>
                  <a:ext cx="1169234" cy="487180"/>
                </a:xfrm>
                <a:custGeom>
                  <a:avLst/>
                  <a:gdLst/>
                  <a:ahLst/>
                  <a:cxnLst/>
                  <a:rect l="0" t="0" r="0" b="0"/>
                  <a:pathLst>
                    <a:path w="1169234" h="487180">
                      <a:moveTo>
                        <a:pt x="0" y="487180"/>
                      </a:moveTo>
                      <a:lnTo>
                        <a:pt x="0" y="0"/>
                      </a:lnTo>
                      <a:lnTo>
                        <a:pt x="1169234" y="18"/>
                      </a:lnTo>
                      <a:lnTo>
                        <a:pt x="1169234" y="299849"/>
                      </a:lnTo>
                      <a:lnTo>
                        <a:pt x="844768" y="487180"/>
                      </a:lnTo>
                      <a:lnTo>
                        <a:pt x="0" y="487180"/>
                      </a:lnTo>
                      <a:close/>
                    </a:path>
                  </a:pathLst>
                </a:custGeom>
                <a:solidFill>
                  <a:srgbClr val="0082FA"/>
                </a:solidFill>
                <a:ln>
                  <a:noFill/>
                </a:ln>
              </p:spPr>
              <p:txBody>
                <a:bodyPr rtlCol="0" anchor="ctr"/>
                <a:lstStyle/>
                <a:p>
                  <a:pPr algn="ctr"/>
                  <a:endParaRPr sz="2000"/>
                </a:p>
              </p:txBody>
            </p:sp>
            <p:sp>
              <p:nvSpPr>
                <p:cNvPr id="45" name="Rounded Rectangle 42">
                  <a:extLst>
                    <a:ext uri="{FF2B5EF4-FFF2-40B4-BE49-F238E27FC236}">
                      <a16:creationId xmlns:a16="http://schemas.microsoft.com/office/drawing/2014/main" id="{6593581C-C71F-F9AF-A376-36310AD17727}"/>
                    </a:ext>
                  </a:extLst>
                </p:cNvPr>
                <p:cNvSpPr/>
                <p:nvPr/>
              </p:nvSpPr>
              <p:spPr>
                <a:xfrm>
                  <a:off x="2148156" y="3556939"/>
                  <a:ext cx="1169234" cy="487180"/>
                </a:xfrm>
                <a:custGeom>
                  <a:avLst/>
                  <a:gdLst/>
                  <a:ahLst/>
                  <a:cxnLst/>
                  <a:rect l="0" t="0" r="0" b="0"/>
                  <a:pathLst>
                    <a:path w="1169234" h="487180">
                      <a:moveTo>
                        <a:pt x="0" y="487180"/>
                      </a:moveTo>
                      <a:lnTo>
                        <a:pt x="0" y="0"/>
                      </a:lnTo>
                      <a:lnTo>
                        <a:pt x="1169234" y="18"/>
                      </a:lnTo>
                      <a:lnTo>
                        <a:pt x="1169234" y="299849"/>
                      </a:lnTo>
                      <a:lnTo>
                        <a:pt x="844768" y="487180"/>
                      </a:lnTo>
                      <a:lnTo>
                        <a:pt x="0" y="487180"/>
                      </a:lnTo>
                      <a:close/>
                    </a:path>
                  </a:pathLst>
                </a:custGeom>
                <a:noFill/>
                <a:ln w="6089">
                  <a:solidFill>
                    <a:srgbClr val="FFFFFF"/>
                  </a:solidFill>
                </a:ln>
              </p:spPr>
              <p:txBody>
                <a:bodyPr rtlCol="0" anchor="ctr"/>
                <a:lstStyle/>
                <a:p>
                  <a:pPr algn="ctr"/>
                  <a:endParaRPr sz="2000"/>
                </a:p>
              </p:txBody>
            </p:sp>
          </p:grpSp>
          <p:grpSp>
            <p:nvGrpSpPr>
              <p:cNvPr id="46" name="Group 45">
                <a:extLst>
                  <a:ext uri="{FF2B5EF4-FFF2-40B4-BE49-F238E27FC236}">
                    <a16:creationId xmlns:a16="http://schemas.microsoft.com/office/drawing/2014/main" id="{78767B14-FD4F-ACDD-306D-F10D14F31B60}"/>
                  </a:ext>
                </a:extLst>
              </p:cNvPr>
              <p:cNvGrpSpPr/>
              <p:nvPr/>
            </p:nvGrpSpPr>
            <p:grpSpPr>
              <a:xfrm>
                <a:off x="3857822" y="4572714"/>
                <a:ext cx="1513415" cy="1212615"/>
                <a:chOff x="2261328" y="3881908"/>
                <a:chExt cx="1256186" cy="1006511"/>
              </a:xfrm>
            </p:grpSpPr>
            <p:sp>
              <p:nvSpPr>
                <p:cNvPr id="47" name="Rounded Rectangle 44">
                  <a:extLst>
                    <a:ext uri="{FF2B5EF4-FFF2-40B4-BE49-F238E27FC236}">
                      <a16:creationId xmlns:a16="http://schemas.microsoft.com/office/drawing/2014/main" id="{C50E4EAD-1012-4C13-3E4A-4636CDB86CAF}"/>
                    </a:ext>
                  </a:extLst>
                </p:cNvPr>
                <p:cNvSpPr/>
                <p:nvPr/>
              </p:nvSpPr>
              <p:spPr>
                <a:xfrm>
                  <a:off x="2261328" y="3881908"/>
                  <a:ext cx="1256186" cy="1006511"/>
                </a:xfrm>
                <a:custGeom>
                  <a:avLst/>
                  <a:gdLst/>
                  <a:ahLst/>
                  <a:cxnLst/>
                  <a:rect l="0" t="0" r="0" b="0"/>
                  <a:pathLst>
                    <a:path w="1256186" h="1006511">
                      <a:moveTo>
                        <a:pt x="243590" y="1006511"/>
                      </a:moveTo>
                      <a:lnTo>
                        <a:pt x="0" y="584600"/>
                      </a:lnTo>
                      <a:lnTo>
                        <a:pt x="1012596" y="0"/>
                      </a:lnTo>
                      <a:lnTo>
                        <a:pt x="1256186" y="421910"/>
                      </a:lnTo>
                      <a:lnTo>
                        <a:pt x="243590" y="1006511"/>
                      </a:lnTo>
                      <a:close/>
                    </a:path>
                  </a:pathLst>
                </a:custGeom>
                <a:solidFill>
                  <a:srgbClr val="1270C8"/>
                </a:solidFill>
                <a:ln>
                  <a:noFill/>
                </a:ln>
              </p:spPr>
              <p:txBody>
                <a:bodyPr rtlCol="0" anchor="ctr"/>
                <a:lstStyle/>
                <a:p>
                  <a:pPr algn="ctr"/>
                  <a:endParaRPr sz="2000"/>
                </a:p>
              </p:txBody>
            </p:sp>
            <p:sp>
              <p:nvSpPr>
                <p:cNvPr id="48" name="Rounded Rectangle 45">
                  <a:extLst>
                    <a:ext uri="{FF2B5EF4-FFF2-40B4-BE49-F238E27FC236}">
                      <a16:creationId xmlns:a16="http://schemas.microsoft.com/office/drawing/2014/main" id="{FE5B0B22-D0F2-4AB4-45CD-F454588B9486}"/>
                    </a:ext>
                  </a:extLst>
                </p:cNvPr>
                <p:cNvSpPr/>
                <p:nvPr/>
              </p:nvSpPr>
              <p:spPr>
                <a:xfrm>
                  <a:off x="2261328" y="3881908"/>
                  <a:ext cx="1256186" cy="1006511"/>
                </a:xfrm>
                <a:custGeom>
                  <a:avLst/>
                  <a:gdLst/>
                  <a:ahLst/>
                  <a:cxnLst/>
                  <a:rect l="0" t="0" r="0" b="0"/>
                  <a:pathLst>
                    <a:path w="1256186" h="1006511">
                      <a:moveTo>
                        <a:pt x="243590" y="1006511"/>
                      </a:moveTo>
                      <a:lnTo>
                        <a:pt x="0" y="584600"/>
                      </a:lnTo>
                      <a:lnTo>
                        <a:pt x="1012596" y="0"/>
                      </a:lnTo>
                      <a:lnTo>
                        <a:pt x="1256186" y="421910"/>
                      </a:lnTo>
                      <a:lnTo>
                        <a:pt x="243590" y="1006511"/>
                      </a:lnTo>
                      <a:close/>
                    </a:path>
                  </a:pathLst>
                </a:custGeom>
                <a:noFill/>
                <a:ln w="6089">
                  <a:solidFill>
                    <a:srgbClr val="FFFFFF"/>
                  </a:solidFill>
                </a:ln>
              </p:spPr>
              <p:txBody>
                <a:bodyPr rtlCol="0" anchor="ctr"/>
                <a:lstStyle/>
                <a:p>
                  <a:pPr algn="ctr"/>
                  <a:endParaRPr sz="2000"/>
                </a:p>
              </p:txBody>
            </p:sp>
          </p:grpSp>
        </p:grpSp>
        <p:sp>
          <p:nvSpPr>
            <p:cNvPr id="49" name="TextBox 48">
              <a:extLst>
                <a:ext uri="{FF2B5EF4-FFF2-40B4-BE49-F238E27FC236}">
                  <a16:creationId xmlns:a16="http://schemas.microsoft.com/office/drawing/2014/main" id="{64447B9F-B90C-4D25-4B14-31769BE548E4}"/>
                </a:ext>
              </a:extLst>
            </p:cNvPr>
            <p:cNvSpPr txBox="1"/>
            <p:nvPr/>
          </p:nvSpPr>
          <p:spPr>
            <a:xfrm>
              <a:off x="8927183" y="2652723"/>
              <a:ext cx="1074012" cy="430887"/>
            </a:xfrm>
            <a:prstGeom prst="rect">
              <a:avLst/>
            </a:prstGeom>
            <a:noFill/>
            <a:ln>
              <a:noFill/>
            </a:ln>
          </p:spPr>
          <p:txBody>
            <a:bodyPr wrap="none" lIns="0" tIns="0" rIns="0" bIns="0" anchor="t">
              <a:spAutoFit/>
            </a:bodyPr>
            <a:lstStyle/>
            <a:p>
              <a:pPr algn="l"/>
              <a:r>
                <a:rPr sz="1400" b="1">
                  <a:solidFill>
                    <a:srgbClr val="1A1A1A"/>
                  </a:solidFill>
                  <a:latin typeface="Arial"/>
                </a:rPr>
                <a:t>Security and
Control</a:t>
              </a:r>
            </a:p>
          </p:txBody>
        </p:sp>
        <p:sp>
          <p:nvSpPr>
            <p:cNvPr id="50" name="TextBox 49">
              <a:extLst>
                <a:ext uri="{FF2B5EF4-FFF2-40B4-BE49-F238E27FC236}">
                  <a16:creationId xmlns:a16="http://schemas.microsoft.com/office/drawing/2014/main" id="{7277C4EE-B797-52A8-6DE2-974D1829B004}"/>
                </a:ext>
              </a:extLst>
            </p:cNvPr>
            <p:cNvSpPr txBox="1"/>
            <p:nvPr/>
          </p:nvSpPr>
          <p:spPr>
            <a:xfrm>
              <a:off x="2105899" y="2652723"/>
              <a:ext cx="1224694" cy="430887"/>
            </a:xfrm>
            <a:prstGeom prst="rect">
              <a:avLst/>
            </a:prstGeom>
            <a:noFill/>
            <a:ln>
              <a:noFill/>
            </a:ln>
          </p:spPr>
          <p:txBody>
            <a:bodyPr wrap="none" lIns="0" tIns="0" rIns="0" bIns="0" anchor="t">
              <a:spAutoFit/>
            </a:bodyPr>
            <a:lstStyle/>
            <a:p>
              <a:pPr algn="r"/>
              <a:r>
                <a:rPr sz="1400" b="1">
                  <a:solidFill>
                    <a:srgbClr val="1A1A1A"/>
                  </a:solidFill>
                  <a:latin typeface="Arial"/>
                </a:rPr>
                <a:t>Clear Success
Criteria</a:t>
              </a:r>
            </a:p>
          </p:txBody>
        </p:sp>
        <p:sp>
          <p:nvSpPr>
            <p:cNvPr id="51" name="TextBox 50">
              <a:extLst>
                <a:ext uri="{FF2B5EF4-FFF2-40B4-BE49-F238E27FC236}">
                  <a16:creationId xmlns:a16="http://schemas.microsoft.com/office/drawing/2014/main" id="{633CB647-3632-DCE9-3FC3-9690EA744AA9}"/>
                </a:ext>
              </a:extLst>
            </p:cNvPr>
            <p:cNvSpPr txBox="1"/>
            <p:nvPr/>
          </p:nvSpPr>
          <p:spPr>
            <a:xfrm>
              <a:off x="7978407" y="2063258"/>
              <a:ext cx="1253548" cy="307777"/>
            </a:xfrm>
            <a:prstGeom prst="rect">
              <a:avLst/>
            </a:prstGeom>
            <a:noFill/>
            <a:ln>
              <a:noFill/>
            </a:ln>
          </p:spPr>
          <p:txBody>
            <a:bodyPr wrap="none" lIns="0" tIns="0" rIns="0" bIns="0" anchor="t">
              <a:spAutoFit/>
            </a:bodyPr>
            <a:lstStyle/>
            <a:p>
              <a:pPr algn="ctr"/>
              <a:r>
                <a:rPr sz="1000" b="0">
                  <a:solidFill>
                    <a:srgbClr val="1A1A1A"/>
                  </a:solidFill>
                  <a:latin typeface="Arial"/>
                </a:rPr>
                <a:t>Enhance efficiency for
real-time applications.</a:t>
              </a:r>
            </a:p>
          </p:txBody>
        </p:sp>
        <p:sp>
          <p:nvSpPr>
            <p:cNvPr id="52" name="TextBox 51">
              <a:extLst>
                <a:ext uri="{FF2B5EF4-FFF2-40B4-BE49-F238E27FC236}">
                  <a16:creationId xmlns:a16="http://schemas.microsoft.com/office/drawing/2014/main" id="{90D382EE-3674-EB77-647E-091C04640CE1}"/>
                </a:ext>
              </a:extLst>
            </p:cNvPr>
            <p:cNvSpPr txBox="1"/>
            <p:nvPr/>
          </p:nvSpPr>
          <p:spPr>
            <a:xfrm>
              <a:off x="2975777" y="1984864"/>
              <a:ext cx="1445909" cy="307777"/>
            </a:xfrm>
            <a:prstGeom prst="rect">
              <a:avLst/>
            </a:prstGeom>
            <a:noFill/>
            <a:ln>
              <a:noFill/>
            </a:ln>
          </p:spPr>
          <p:txBody>
            <a:bodyPr wrap="none" lIns="0" tIns="0" rIns="0" bIns="0" anchor="t">
              <a:spAutoFit/>
            </a:bodyPr>
            <a:lstStyle/>
            <a:p>
              <a:pPr algn="ctr"/>
              <a:r>
                <a:rPr sz="1000" b="0">
                  <a:solidFill>
                    <a:srgbClr val="1A1A1A"/>
                  </a:solidFill>
                  <a:latin typeface="Arial"/>
                </a:rPr>
                <a:t>Use available solutions to
save time and resources.</a:t>
              </a:r>
            </a:p>
          </p:txBody>
        </p:sp>
        <p:sp>
          <p:nvSpPr>
            <p:cNvPr id="53" name="TextBox 52">
              <a:extLst>
                <a:ext uri="{FF2B5EF4-FFF2-40B4-BE49-F238E27FC236}">
                  <a16:creationId xmlns:a16="http://schemas.microsoft.com/office/drawing/2014/main" id="{718D25DB-835F-81C0-0597-CDDDDCDBE8DE}"/>
                </a:ext>
              </a:extLst>
            </p:cNvPr>
            <p:cNvSpPr txBox="1"/>
            <p:nvPr/>
          </p:nvSpPr>
          <p:spPr>
            <a:xfrm>
              <a:off x="8927183" y="3151335"/>
              <a:ext cx="1383392" cy="615553"/>
            </a:xfrm>
            <a:prstGeom prst="rect">
              <a:avLst/>
            </a:prstGeom>
            <a:noFill/>
            <a:ln>
              <a:noFill/>
            </a:ln>
          </p:spPr>
          <p:txBody>
            <a:bodyPr wrap="none" lIns="0" tIns="0" rIns="0" bIns="0" anchor="t">
              <a:spAutoFit/>
            </a:bodyPr>
            <a:lstStyle/>
            <a:p>
              <a:pPr algn="l"/>
              <a:r>
                <a:rPr sz="1000" b="0">
                  <a:solidFill>
                    <a:srgbClr val="1A1A1A"/>
                  </a:solidFill>
                  <a:latin typeface="Arial"/>
                </a:rPr>
                <a:t>Ensure safety by limiting
web access and
implementing
authentication.</a:t>
              </a:r>
            </a:p>
          </p:txBody>
        </p:sp>
        <p:sp>
          <p:nvSpPr>
            <p:cNvPr id="54" name="TextBox 53">
              <a:extLst>
                <a:ext uri="{FF2B5EF4-FFF2-40B4-BE49-F238E27FC236}">
                  <a16:creationId xmlns:a16="http://schemas.microsoft.com/office/drawing/2014/main" id="{594B659C-4268-1F5C-4DF1-AA4F19C5FD01}"/>
                </a:ext>
              </a:extLst>
            </p:cNvPr>
            <p:cNvSpPr txBox="1"/>
            <p:nvPr/>
          </p:nvSpPr>
          <p:spPr>
            <a:xfrm>
              <a:off x="2160401" y="3130816"/>
              <a:ext cx="1170192" cy="307777"/>
            </a:xfrm>
            <a:prstGeom prst="rect">
              <a:avLst/>
            </a:prstGeom>
            <a:noFill/>
            <a:ln>
              <a:noFill/>
            </a:ln>
          </p:spPr>
          <p:txBody>
            <a:bodyPr wrap="none" lIns="0" tIns="0" rIns="0" bIns="0" anchor="t">
              <a:spAutoFit/>
            </a:bodyPr>
            <a:lstStyle/>
            <a:p>
              <a:pPr algn="r"/>
              <a:r>
                <a:rPr sz="1000" b="0">
                  <a:solidFill>
                    <a:srgbClr val="1A1A1A"/>
                  </a:solidFill>
                  <a:latin typeface="Arial"/>
                </a:rPr>
                <a:t>Define specific goals
upfront for clarity.</a:t>
              </a:r>
            </a:p>
          </p:txBody>
        </p:sp>
        <p:sp>
          <p:nvSpPr>
            <p:cNvPr id="55" name="TextBox 54">
              <a:extLst>
                <a:ext uri="{FF2B5EF4-FFF2-40B4-BE49-F238E27FC236}">
                  <a16:creationId xmlns:a16="http://schemas.microsoft.com/office/drawing/2014/main" id="{445C04A4-93E3-4E0A-2ECF-D4BEC8A8BCF5}"/>
                </a:ext>
              </a:extLst>
            </p:cNvPr>
            <p:cNvSpPr txBox="1"/>
            <p:nvPr/>
          </p:nvSpPr>
          <p:spPr>
            <a:xfrm>
              <a:off x="7936284" y="1553977"/>
              <a:ext cx="1096454" cy="430887"/>
            </a:xfrm>
            <a:prstGeom prst="rect">
              <a:avLst/>
            </a:prstGeom>
            <a:noFill/>
            <a:ln>
              <a:noFill/>
            </a:ln>
          </p:spPr>
          <p:txBody>
            <a:bodyPr wrap="none" lIns="0" tIns="0" rIns="0" bIns="0" anchor="t">
              <a:spAutoFit/>
            </a:bodyPr>
            <a:lstStyle/>
            <a:p>
              <a:pPr algn="ctr"/>
              <a:r>
                <a:rPr sz="1400" b="1">
                  <a:solidFill>
                    <a:srgbClr val="1A1A1A"/>
                  </a:solidFill>
                  <a:latin typeface="Arial"/>
                </a:rPr>
                <a:t>Performance
Optimization</a:t>
              </a:r>
            </a:p>
          </p:txBody>
        </p:sp>
        <p:sp>
          <p:nvSpPr>
            <p:cNvPr id="56" name="TextBox 55">
              <a:extLst>
                <a:ext uri="{FF2B5EF4-FFF2-40B4-BE49-F238E27FC236}">
                  <a16:creationId xmlns:a16="http://schemas.microsoft.com/office/drawing/2014/main" id="{A6620AA9-B329-62B7-5B75-629B2BFF53F3}"/>
                </a:ext>
              </a:extLst>
            </p:cNvPr>
            <p:cNvSpPr txBox="1"/>
            <p:nvPr/>
          </p:nvSpPr>
          <p:spPr>
            <a:xfrm>
              <a:off x="1730133" y="4085621"/>
              <a:ext cx="1194238" cy="430887"/>
            </a:xfrm>
            <a:prstGeom prst="rect">
              <a:avLst/>
            </a:prstGeom>
            <a:noFill/>
            <a:ln>
              <a:noFill/>
            </a:ln>
          </p:spPr>
          <p:txBody>
            <a:bodyPr wrap="none" lIns="0" tIns="0" rIns="0" bIns="0" anchor="t">
              <a:spAutoFit/>
            </a:bodyPr>
            <a:lstStyle/>
            <a:p>
              <a:pPr algn="r"/>
              <a:r>
                <a:rPr sz="1400" b="1">
                  <a:solidFill>
                    <a:srgbClr val="1A1A1A"/>
                  </a:solidFill>
                  <a:latin typeface="Arial"/>
                </a:rPr>
                <a:t>Constrained
Environments</a:t>
              </a:r>
            </a:p>
          </p:txBody>
        </p:sp>
        <p:sp>
          <p:nvSpPr>
            <p:cNvPr id="57" name="TextBox 56">
              <a:extLst>
                <a:ext uri="{FF2B5EF4-FFF2-40B4-BE49-F238E27FC236}">
                  <a16:creationId xmlns:a16="http://schemas.microsoft.com/office/drawing/2014/main" id="{43154502-E00C-5760-9487-B74EFEE611C2}"/>
                </a:ext>
              </a:extLst>
            </p:cNvPr>
            <p:cNvSpPr txBox="1"/>
            <p:nvPr/>
          </p:nvSpPr>
          <p:spPr>
            <a:xfrm>
              <a:off x="9222591" y="4136480"/>
              <a:ext cx="1125308" cy="430887"/>
            </a:xfrm>
            <a:prstGeom prst="rect">
              <a:avLst/>
            </a:prstGeom>
            <a:noFill/>
            <a:ln>
              <a:noFill/>
            </a:ln>
          </p:spPr>
          <p:txBody>
            <a:bodyPr wrap="none" lIns="0" tIns="0" rIns="0" bIns="0" anchor="t">
              <a:spAutoFit/>
            </a:bodyPr>
            <a:lstStyle/>
            <a:p>
              <a:pPr algn="l"/>
              <a:r>
                <a:rPr sz="1400" b="1">
                  <a:solidFill>
                    <a:srgbClr val="1A1A1A"/>
                  </a:solidFill>
                  <a:latin typeface="Arial"/>
                </a:rPr>
                <a:t>Continuous
Improvement</a:t>
              </a:r>
            </a:p>
          </p:txBody>
        </p:sp>
        <p:sp>
          <p:nvSpPr>
            <p:cNvPr id="58" name="TextBox 57">
              <a:extLst>
                <a:ext uri="{FF2B5EF4-FFF2-40B4-BE49-F238E27FC236}">
                  <a16:creationId xmlns:a16="http://schemas.microsoft.com/office/drawing/2014/main" id="{A1A5C3AC-BAAB-44AC-5AA2-D34A095291DA}"/>
                </a:ext>
              </a:extLst>
            </p:cNvPr>
            <p:cNvSpPr txBox="1"/>
            <p:nvPr/>
          </p:nvSpPr>
          <p:spPr>
            <a:xfrm>
              <a:off x="5344162" y="1314171"/>
              <a:ext cx="1433085" cy="461665"/>
            </a:xfrm>
            <a:prstGeom prst="rect">
              <a:avLst/>
            </a:prstGeom>
            <a:noFill/>
            <a:ln>
              <a:noFill/>
            </a:ln>
          </p:spPr>
          <p:txBody>
            <a:bodyPr wrap="none" lIns="0" tIns="0" rIns="0" bIns="0" anchor="t">
              <a:spAutoFit/>
            </a:bodyPr>
            <a:lstStyle/>
            <a:p>
              <a:pPr algn="ctr"/>
              <a:r>
                <a:rPr sz="1000" b="0">
                  <a:solidFill>
                    <a:srgbClr val="1A1A1A"/>
                  </a:solidFill>
                  <a:latin typeface="Arial"/>
                </a:rPr>
                <a:t>Implement strong
management systems for
agent collaboration.</a:t>
              </a:r>
            </a:p>
          </p:txBody>
        </p:sp>
        <p:sp>
          <p:nvSpPr>
            <p:cNvPr id="59" name="TextBox 58">
              <a:extLst>
                <a:ext uri="{FF2B5EF4-FFF2-40B4-BE49-F238E27FC236}">
                  <a16:creationId xmlns:a16="http://schemas.microsoft.com/office/drawing/2014/main" id="{2ADCF4A5-4966-61AE-4743-DF7E388A097B}"/>
                </a:ext>
              </a:extLst>
            </p:cNvPr>
            <p:cNvSpPr txBox="1"/>
            <p:nvPr/>
          </p:nvSpPr>
          <p:spPr>
            <a:xfrm>
              <a:off x="2933298" y="1503702"/>
              <a:ext cx="1530868" cy="430887"/>
            </a:xfrm>
            <a:prstGeom prst="rect">
              <a:avLst/>
            </a:prstGeom>
            <a:noFill/>
            <a:ln>
              <a:noFill/>
            </a:ln>
          </p:spPr>
          <p:txBody>
            <a:bodyPr wrap="none" lIns="0" tIns="0" rIns="0" bIns="0" anchor="t">
              <a:spAutoFit/>
            </a:bodyPr>
            <a:lstStyle/>
            <a:p>
              <a:pPr algn="ctr"/>
              <a:r>
                <a:rPr sz="1400" b="1">
                  <a:solidFill>
                    <a:srgbClr val="1A1A1A"/>
                  </a:solidFill>
                  <a:latin typeface="Arial"/>
                </a:rPr>
                <a:t>Leverage Existing
Tools</a:t>
              </a:r>
            </a:p>
          </p:txBody>
        </p:sp>
        <p:sp>
          <p:nvSpPr>
            <p:cNvPr id="60" name="TextBox 59">
              <a:extLst>
                <a:ext uri="{FF2B5EF4-FFF2-40B4-BE49-F238E27FC236}">
                  <a16:creationId xmlns:a16="http://schemas.microsoft.com/office/drawing/2014/main" id="{C9257284-29F1-6128-46DC-634978643614}"/>
                </a:ext>
              </a:extLst>
            </p:cNvPr>
            <p:cNvSpPr txBox="1"/>
            <p:nvPr/>
          </p:nvSpPr>
          <p:spPr>
            <a:xfrm>
              <a:off x="1558613" y="4567367"/>
              <a:ext cx="1365758" cy="461665"/>
            </a:xfrm>
            <a:prstGeom prst="rect">
              <a:avLst/>
            </a:prstGeom>
            <a:noFill/>
            <a:ln>
              <a:noFill/>
            </a:ln>
          </p:spPr>
          <p:txBody>
            <a:bodyPr wrap="none" lIns="0" tIns="0" rIns="0" bIns="0" anchor="t">
              <a:spAutoFit/>
            </a:bodyPr>
            <a:lstStyle/>
            <a:p>
              <a:pPr algn="r"/>
              <a:r>
                <a:rPr sz="1000" b="0">
                  <a:solidFill>
                    <a:srgbClr val="1A1A1A"/>
                  </a:solidFill>
                  <a:latin typeface="Arial"/>
                </a:rPr>
                <a:t>Develop in controlled
settings to manage non-
determinism.</a:t>
              </a:r>
            </a:p>
          </p:txBody>
        </p:sp>
        <p:sp>
          <p:nvSpPr>
            <p:cNvPr id="61" name="TextBox 60">
              <a:extLst>
                <a:ext uri="{FF2B5EF4-FFF2-40B4-BE49-F238E27FC236}">
                  <a16:creationId xmlns:a16="http://schemas.microsoft.com/office/drawing/2014/main" id="{25E10190-2E4C-A177-1C77-F061EE43B6E0}"/>
                </a:ext>
              </a:extLst>
            </p:cNvPr>
            <p:cNvSpPr txBox="1"/>
            <p:nvPr/>
          </p:nvSpPr>
          <p:spPr>
            <a:xfrm>
              <a:off x="5474006" y="841856"/>
              <a:ext cx="1173398" cy="430887"/>
            </a:xfrm>
            <a:prstGeom prst="rect">
              <a:avLst/>
            </a:prstGeom>
            <a:noFill/>
            <a:ln>
              <a:noFill/>
            </a:ln>
          </p:spPr>
          <p:txBody>
            <a:bodyPr wrap="none" lIns="0" tIns="0" rIns="0" bIns="0" anchor="t">
              <a:spAutoFit/>
            </a:bodyPr>
            <a:lstStyle/>
            <a:p>
              <a:pPr algn="ctr"/>
              <a:r>
                <a:rPr sz="1400" b="1">
                  <a:solidFill>
                    <a:srgbClr val="1A1A1A"/>
                  </a:solidFill>
                  <a:latin typeface="Arial"/>
                </a:rPr>
                <a:t>Robust
Orchestration</a:t>
              </a:r>
            </a:p>
          </p:txBody>
        </p:sp>
        <p:sp>
          <p:nvSpPr>
            <p:cNvPr id="62" name="TextBox 61">
              <a:extLst>
                <a:ext uri="{FF2B5EF4-FFF2-40B4-BE49-F238E27FC236}">
                  <a16:creationId xmlns:a16="http://schemas.microsoft.com/office/drawing/2014/main" id="{DB868EA5-9234-DC31-94B1-C1B3CA351F93}"/>
                </a:ext>
              </a:extLst>
            </p:cNvPr>
            <p:cNvSpPr txBox="1"/>
            <p:nvPr/>
          </p:nvSpPr>
          <p:spPr>
            <a:xfrm>
              <a:off x="9223139" y="5865117"/>
              <a:ext cx="1502014" cy="461665"/>
            </a:xfrm>
            <a:prstGeom prst="rect">
              <a:avLst/>
            </a:prstGeom>
            <a:noFill/>
            <a:ln>
              <a:noFill/>
            </a:ln>
          </p:spPr>
          <p:txBody>
            <a:bodyPr wrap="none" lIns="0" tIns="0" rIns="0" bIns="0" anchor="t">
              <a:spAutoFit/>
            </a:bodyPr>
            <a:lstStyle/>
            <a:p>
              <a:pPr algn="l"/>
              <a:r>
                <a:rPr sz="1000" b="0">
                  <a:solidFill>
                    <a:srgbClr val="1A1A1A"/>
                  </a:solidFill>
                  <a:latin typeface="Arial"/>
                </a:rPr>
                <a:t>Develop AI that aligns with
ethical standards and
preserves human dignity.</a:t>
              </a:r>
            </a:p>
          </p:txBody>
        </p:sp>
        <p:sp>
          <p:nvSpPr>
            <p:cNvPr id="63" name="TextBox 62">
              <a:extLst>
                <a:ext uri="{FF2B5EF4-FFF2-40B4-BE49-F238E27FC236}">
                  <a16:creationId xmlns:a16="http://schemas.microsoft.com/office/drawing/2014/main" id="{F51C8C5B-53E3-671B-EE87-FAC993284648}"/>
                </a:ext>
              </a:extLst>
            </p:cNvPr>
            <p:cNvSpPr txBox="1"/>
            <p:nvPr/>
          </p:nvSpPr>
          <p:spPr>
            <a:xfrm>
              <a:off x="1760262" y="5376890"/>
              <a:ext cx="1046761" cy="215444"/>
            </a:xfrm>
            <a:prstGeom prst="rect">
              <a:avLst/>
            </a:prstGeom>
            <a:noFill/>
            <a:ln>
              <a:noFill/>
            </a:ln>
          </p:spPr>
          <p:txBody>
            <a:bodyPr wrap="none" lIns="0" tIns="0" rIns="0" bIns="0" anchor="t">
              <a:spAutoFit/>
            </a:bodyPr>
            <a:lstStyle/>
            <a:p>
              <a:pPr algn="r"/>
              <a:r>
                <a:rPr sz="1400" b="1">
                  <a:solidFill>
                    <a:srgbClr val="1A1A1A"/>
                  </a:solidFill>
                  <a:latin typeface="Arial"/>
                </a:rPr>
                <a:t>Start Simple</a:t>
              </a:r>
            </a:p>
          </p:txBody>
        </p:sp>
        <p:sp>
          <p:nvSpPr>
            <p:cNvPr id="64" name="TextBox 63">
              <a:extLst>
                <a:ext uri="{FF2B5EF4-FFF2-40B4-BE49-F238E27FC236}">
                  <a16:creationId xmlns:a16="http://schemas.microsoft.com/office/drawing/2014/main" id="{2AF9EDA2-0A40-CF84-3829-F72781859CE6}"/>
                </a:ext>
              </a:extLst>
            </p:cNvPr>
            <p:cNvSpPr txBox="1"/>
            <p:nvPr/>
          </p:nvSpPr>
          <p:spPr>
            <a:xfrm>
              <a:off x="9223139" y="5376890"/>
              <a:ext cx="814325" cy="430887"/>
            </a:xfrm>
            <a:prstGeom prst="rect">
              <a:avLst/>
            </a:prstGeom>
            <a:noFill/>
            <a:ln>
              <a:noFill/>
            </a:ln>
          </p:spPr>
          <p:txBody>
            <a:bodyPr wrap="none" lIns="0" tIns="0" rIns="0" bIns="0" anchor="t">
              <a:spAutoFit/>
            </a:bodyPr>
            <a:lstStyle/>
            <a:p>
              <a:pPr algn="l"/>
              <a:r>
                <a:rPr sz="1400" b="1">
                  <a:solidFill>
                    <a:srgbClr val="1A1A1A"/>
                  </a:solidFill>
                  <a:latin typeface="Arial"/>
                </a:rPr>
                <a:t>Ethical AI
Solutions</a:t>
              </a:r>
            </a:p>
          </p:txBody>
        </p:sp>
        <p:sp>
          <p:nvSpPr>
            <p:cNvPr id="65" name="TextBox 64">
              <a:extLst>
                <a:ext uri="{FF2B5EF4-FFF2-40B4-BE49-F238E27FC236}">
                  <a16:creationId xmlns:a16="http://schemas.microsoft.com/office/drawing/2014/main" id="{C843E4F9-600D-A964-6D13-35F566E674AA}"/>
                </a:ext>
              </a:extLst>
            </p:cNvPr>
            <p:cNvSpPr txBox="1"/>
            <p:nvPr/>
          </p:nvSpPr>
          <p:spPr>
            <a:xfrm>
              <a:off x="1367200" y="5698264"/>
              <a:ext cx="1437894" cy="461665"/>
            </a:xfrm>
            <a:prstGeom prst="rect">
              <a:avLst/>
            </a:prstGeom>
            <a:noFill/>
            <a:ln>
              <a:noFill/>
            </a:ln>
          </p:spPr>
          <p:txBody>
            <a:bodyPr wrap="none" lIns="0" tIns="0" rIns="0" bIns="0" anchor="t">
              <a:spAutoFit/>
            </a:bodyPr>
            <a:lstStyle/>
            <a:p>
              <a:pPr algn="r"/>
              <a:r>
                <a:rPr sz="1000" b="0">
                  <a:solidFill>
                    <a:srgbClr val="1A1A1A"/>
                  </a:solidFill>
                  <a:latin typeface="Arial"/>
                </a:rPr>
                <a:t>Begin with basic planning
and an MVP to avoid
complexity.</a:t>
              </a:r>
            </a:p>
          </p:txBody>
        </p:sp>
        <p:sp>
          <p:nvSpPr>
            <p:cNvPr id="66" name="TextBox 65">
              <a:extLst>
                <a:ext uri="{FF2B5EF4-FFF2-40B4-BE49-F238E27FC236}">
                  <a16:creationId xmlns:a16="http://schemas.microsoft.com/office/drawing/2014/main" id="{62C47C92-3B87-0AC4-594E-E43C1C37DC56}"/>
                </a:ext>
              </a:extLst>
            </p:cNvPr>
            <p:cNvSpPr txBox="1"/>
            <p:nvPr/>
          </p:nvSpPr>
          <p:spPr>
            <a:xfrm>
              <a:off x="9222591" y="4614573"/>
              <a:ext cx="1259960" cy="307777"/>
            </a:xfrm>
            <a:prstGeom prst="rect">
              <a:avLst/>
            </a:prstGeom>
            <a:noFill/>
            <a:ln>
              <a:noFill/>
            </a:ln>
          </p:spPr>
          <p:txBody>
            <a:bodyPr wrap="none" lIns="0" tIns="0" rIns="0" bIns="0" anchor="t">
              <a:spAutoFit/>
            </a:bodyPr>
            <a:lstStyle/>
            <a:p>
              <a:pPr algn="l"/>
              <a:r>
                <a:rPr sz="1000" b="0">
                  <a:solidFill>
                    <a:srgbClr val="1A1A1A"/>
                  </a:solidFill>
                  <a:latin typeface="Arial"/>
                </a:rPr>
                <a:t>Use feedback loops to
refine agent behavior.</a:t>
              </a:r>
            </a:p>
          </p:txBody>
        </p:sp>
      </p:grpSp>
    </p:spTree>
    <p:extLst>
      <p:ext uri="{BB962C8B-B14F-4D97-AF65-F5344CB8AC3E}">
        <p14:creationId xmlns:p14="http://schemas.microsoft.com/office/powerpoint/2010/main" val="263184490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177AD4-7140-BA71-EC59-36C6293001D4}"/>
              </a:ext>
            </a:extLst>
          </p:cNvPr>
          <p:cNvSpPr>
            <a:spLocks noGrp="1"/>
          </p:cNvSpPr>
          <p:nvPr>
            <p:ph type="title"/>
          </p:nvPr>
        </p:nvSpPr>
        <p:spPr/>
        <p:txBody>
          <a:bodyPr/>
          <a:lstStyle/>
          <a:p>
            <a:r>
              <a:rPr lang="en-US"/>
              <a:t>AI Agent Platforms and Tools Landscape</a:t>
            </a:r>
          </a:p>
        </p:txBody>
      </p:sp>
      <p:sp>
        <p:nvSpPr>
          <p:cNvPr id="16" name="TextBox 15">
            <a:extLst>
              <a:ext uri="{FF2B5EF4-FFF2-40B4-BE49-F238E27FC236}">
                <a16:creationId xmlns:a16="http://schemas.microsoft.com/office/drawing/2014/main" id="{8B2323AB-B9BD-E0EC-EC34-131A0B5A72BA}"/>
              </a:ext>
            </a:extLst>
          </p:cNvPr>
          <p:cNvSpPr txBox="1"/>
          <p:nvPr/>
        </p:nvSpPr>
        <p:spPr>
          <a:xfrm>
            <a:off x="4678709" y="5186866"/>
            <a:ext cx="2760116" cy="230832"/>
          </a:xfrm>
          <a:prstGeom prst="rect">
            <a:avLst/>
          </a:prstGeom>
          <a:noFill/>
          <a:ln>
            <a:noFill/>
          </a:ln>
        </p:spPr>
        <p:txBody>
          <a:bodyPr wrap="none" lIns="0" tIns="0" rIns="0" bIns="0" anchor="t">
            <a:spAutoFit/>
          </a:bodyPr>
          <a:lstStyle/>
          <a:p>
            <a:pPr algn="ctr"/>
            <a:r>
              <a:rPr lang="en-US" sz="1500" b="1">
                <a:solidFill>
                  <a:srgbClr val="1A1A1A"/>
                </a:solidFill>
                <a:latin typeface="Arial"/>
              </a:rPr>
              <a:t>Visual and Low-Code Builders</a:t>
            </a:r>
            <a:endParaRPr sz="1500" b="1">
              <a:solidFill>
                <a:srgbClr val="1A1A1A"/>
              </a:solidFill>
              <a:latin typeface="Arial"/>
            </a:endParaRPr>
          </a:p>
        </p:txBody>
      </p:sp>
      <p:sp>
        <p:nvSpPr>
          <p:cNvPr id="17" name="TextBox 16">
            <a:extLst>
              <a:ext uri="{FF2B5EF4-FFF2-40B4-BE49-F238E27FC236}">
                <a16:creationId xmlns:a16="http://schemas.microsoft.com/office/drawing/2014/main" id="{D3A9C6F0-4E01-CEEE-EAAF-31BBC8A42306}"/>
              </a:ext>
            </a:extLst>
          </p:cNvPr>
          <p:cNvSpPr txBox="1"/>
          <p:nvPr/>
        </p:nvSpPr>
        <p:spPr>
          <a:xfrm>
            <a:off x="4551831" y="5481231"/>
            <a:ext cx="2961235" cy="677108"/>
          </a:xfrm>
          <a:prstGeom prst="rect">
            <a:avLst/>
          </a:prstGeom>
          <a:noFill/>
          <a:ln>
            <a:noFill/>
          </a:ln>
        </p:spPr>
        <p:txBody>
          <a:bodyPr wrap="square" lIns="0" tIns="0" rIns="0" bIns="0" anchor="t">
            <a:spAutoFit/>
          </a:bodyPr>
          <a:lstStyle/>
          <a:p>
            <a:pPr algn="ctr"/>
            <a:r>
              <a:rPr lang="en-US" sz="1100" b="0">
                <a:solidFill>
                  <a:srgbClr val="1A1A1A"/>
                </a:solidFill>
                <a:latin typeface="Arial"/>
              </a:rPr>
              <a:t>Drag-and-drop or declarative tools for faster agent definition without extensive custom code (e.g., </a:t>
            </a:r>
            <a:r>
              <a:rPr lang="en-US" sz="1100" b="0" err="1">
                <a:solidFill>
                  <a:srgbClr val="1A1A1A"/>
                </a:solidFill>
                <a:latin typeface="Arial"/>
              </a:rPr>
              <a:t>AutoGPT</a:t>
            </a:r>
            <a:r>
              <a:rPr lang="en-US" sz="1100" b="0">
                <a:solidFill>
                  <a:srgbClr val="1A1A1A"/>
                </a:solidFill>
                <a:latin typeface="Arial"/>
              </a:rPr>
              <a:t>, </a:t>
            </a:r>
            <a:r>
              <a:rPr lang="en-US" sz="1100" b="0" err="1">
                <a:solidFill>
                  <a:srgbClr val="1A1A1A"/>
                </a:solidFill>
                <a:latin typeface="Arial"/>
              </a:rPr>
              <a:t>CrewAI</a:t>
            </a:r>
            <a:r>
              <a:rPr lang="en-US" sz="1100" b="0">
                <a:solidFill>
                  <a:srgbClr val="1A1A1A"/>
                </a:solidFill>
                <a:latin typeface="Arial"/>
              </a:rPr>
              <a:t> Studio, n8n, </a:t>
            </a:r>
            <a:r>
              <a:rPr lang="en-US" sz="1100" b="0" err="1">
                <a:solidFill>
                  <a:srgbClr val="1A1A1A"/>
                </a:solidFill>
                <a:latin typeface="Arial"/>
              </a:rPr>
              <a:t>Flowise</a:t>
            </a:r>
            <a:r>
              <a:rPr lang="en-US" sz="1100" b="0">
                <a:solidFill>
                  <a:srgbClr val="1A1A1A"/>
                </a:solidFill>
                <a:latin typeface="Arial"/>
              </a:rPr>
              <a:t>, GPTs for personal assistants).</a:t>
            </a:r>
            <a:endParaRPr sz="1100" b="0">
              <a:solidFill>
                <a:srgbClr val="1A1A1A"/>
              </a:solidFill>
              <a:latin typeface="Arial"/>
            </a:endParaRPr>
          </a:p>
        </p:txBody>
      </p:sp>
      <p:sp>
        <p:nvSpPr>
          <p:cNvPr id="18" name="TextBox 17">
            <a:extLst>
              <a:ext uri="{FF2B5EF4-FFF2-40B4-BE49-F238E27FC236}">
                <a16:creationId xmlns:a16="http://schemas.microsoft.com/office/drawing/2014/main" id="{EDB906E2-96D4-7E26-4D29-33A00D16D2B6}"/>
              </a:ext>
            </a:extLst>
          </p:cNvPr>
          <p:cNvSpPr txBox="1"/>
          <p:nvPr/>
        </p:nvSpPr>
        <p:spPr>
          <a:xfrm>
            <a:off x="2201464" y="2208202"/>
            <a:ext cx="794146" cy="200025"/>
          </a:xfrm>
          <a:prstGeom prst="rect">
            <a:avLst/>
          </a:prstGeom>
          <a:noFill/>
          <a:ln>
            <a:noFill/>
          </a:ln>
        </p:spPr>
        <p:txBody>
          <a:bodyPr wrap="none" lIns="0" tIns="0" rIns="0" bIns="0" anchor="t">
            <a:spAutoFit/>
          </a:bodyPr>
          <a:lstStyle/>
          <a:p>
            <a:pPr algn="ctr"/>
            <a:r>
              <a:rPr sz="1100" b="0">
                <a:solidFill>
                  <a:srgbClr val="1A1A1A"/>
                </a:solidFill>
                <a:latin typeface="Arial"/>
              </a:rPr>
              <a:t>Code-Heavy</a:t>
            </a:r>
          </a:p>
        </p:txBody>
      </p:sp>
      <p:sp>
        <p:nvSpPr>
          <p:cNvPr id="19" name="TextBox 18">
            <a:extLst>
              <a:ext uri="{FF2B5EF4-FFF2-40B4-BE49-F238E27FC236}">
                <a16:creationId xmlns:a16="http://schemas.microsoft.com/office/drawing/2014/main" id="{0977AC11-84EA-726D-8975-FD25753CE7B1}"/>
              </a:ext>
            </a:extLst>
          </p:cNvPr>
          <p:cNvSpPr txBox="1"/>
          <p:nvPr/>
        </p:nvSpPr>
        <p:spPr>
          <a:xfrm>
            <a:off x="9921477" y="2207081"/>
            <a:ext cx="937174" cy="200025"/>
          </a:xfrm>
          <a:prstGeom prst="rect">
            <a:avLst/>
          </a:prstGeom>
          <a:noFill/>
          <a:ln>
            <a:noFill/>
          </a:ln>
        </p:spPr>
        <p:txBody>
          <a:bodyPr wrap="none" lIns="0" tIns="0" rIns="0" bIns="0" anchor="t">
            <a:spAutoFit/>
          </a:bodyPr>
          <a:lstStyle/>
          <a:p>
            <a:pPr algn="ctr"/>
            <a:r>
              <a:rPr sz="1100" b="0">
                <a:solidFill>
                  <a:srgbClr val="1A1A1A"/>
                </a:solidFill>
                <a:latin typeface="Arial"/>
              </a:rPr>
              <a:t>Fully Managed</a:t>
            </a:r>
          </a:p>
        </p:txBody>
      </p:sp>
      <p:sp>
        <p:nvSpPr>
          <p:cNvPr id="20" name="TextBox 19">
            <a:extLst>
              <a:ext uri="{FF2B5EF4-FFF2-40B4-BE49-F238E27FC236}">
                <a16:creationId xmlns:a16="http://schemas.microsoft.com/office/drawing/2014/main" id="{A51E284A-EBAA-9826-E966-276B269400E3}"/>
              </a:ext>
            </a:extLst>
          </p:cNvPr>
          <p:cNvSpPr txBox="1"/>
          <p:nvPr/>
        </p:nvSpPr>
        <p:spPr>
          <a:xfrm>
            <a:off x="3345034" y="1131160"/>
            <a:ext cx="2119171" cy="230832"/>
          </a:xfrm>
          <a:prstGeom prst="rect">
            <a:avLst/>
          </a:prstGeom>
          <a:noFill/>
          <a:ln>
            <a:noFill/>
          </a:ln>
        </p:spPr>
        <p:txBody>
          <a:bodyPr wrap="none" lIns="0" tIns="0" rIns="0" bIns="0" anchor="t">
            <a:spAutoFit/>
          </a:bodyPr>
          <a:lstStyle/>
          <a:p>
            <a:pPr algn="ctr"/>
            <a:r>
              <a:rPr lang="en-US" sz="1500" b="1">
                <a:solidFill>
                  <a:srgbClr val="1A1A1A"/>
                </a:solidFill>
                <a:latin typeface="Arial"/>
              </a:rPr>
              <a:t>Developer Frameworks</a:t>
            </a:r>
            <a:endParaRPr sz="1500" b="1">
              <a:solidFill>
                <a:srgbClr val="1A1A1A"/>
              </a:solidFill>
              <a:latin typeface="Arial"/>
            </a:endParaRPr>
          </a:p>
        </p:txBody>
      </p:sp>
      <p:sp>
        <p:nvSpPr>
          <p:cNvPr id="21" name="TextBox 20">
            <a:extLst>
              <a:ext uri="{FF2B5EF4-FFF2-40B4-BE49-F238E27FC236}">
                <a16:creationId xmlns:a16="http://schemas.microsoft.com/office/drawing/2014/main" id="{E4E0417A-F6BD-59ED-954A-FA827903D17D}"/>
              </a:ext>
            </a:extLst>
          </p:cNvPr>
          <p:cNvSpPr txBox="1"/>
          <p:nvPr/>
        </p:nvSpPr>
        <p:spPr>
          <a:xfrm>
            <a:off x="6544234" y="1048705"/>
            <a:ext cx="2472129" cy="461665"/>
          </a:xfrm>
          <a:prstGeom prst="rect">
            <a:avLst/>
          </a:prstGeom>
          <a:noFill/>
          <a:ln>
            <a:noFill/>
          </a:ln>
        </p:spPr>
        <p:txBody>
          <a:bodyPr wrap="square" lIns="0" tIns="0" rIns="0" bIns="0" anchor="t">
            <a:spAutoFit/>
          </a:bodyPr>
          <a:lstStyle/>
          <a:p>
            <a:pPr algn="ctr"/>
            <a:r>
              <a:rPr lang="en-US" sz="1500" b="1">
                <a:solidFill>
                  <a:srgbClr val="1A1A1A"/>
                </a:solidFill>
                <a:latin typeface="Arial"/>
              </a:rPr>
              <a:t>End-to-End Agent Infrastructure Platforms</a:t>
            </a:r>
            <a:endParaRPr sz="1500" b="1">
              <a:solidFill>
                <a:srgbClr val="1A1A1A"/>
              </a:solidFill>
              <a:latin typeface="Arial"/>
            </a:endParaRPr>
          </a:p>
        </p:txBody>
      </p:sp>
      <p:sp>
        <p:nvSpPr>
          <p:cNvPr id="22" name="TextBox 21">
            <a:extLst>
              <a:ext uri="{FF2B5EF4-FFF2-40B4-BE49-F238E27FC236}">
                <a16:creationId xmlns:a16="http://schemas.microsoft.com/office/drawing/2014/main" id="{C7AD6EBD-2082-0B25-A034-FD56FA67296A}"/>
              </a:ext>
            </a:extLst>
          </p:cNvPr>
          <p:cNvSpPr txBox="1"/>
          <p:nvPr/>
        </p:nvSpPr>
        <p:spPr>
          <a:xfrm>
            <a:off x="3161473" y="1413463"/>
            <a:ext cx="2486294" cy="846386"/>
          </a:xfrm>
          <a:prstGeom prst="rect">
            <a:avLst/>
          </a:prstGeom>
          <a:noFill/>
          <a:ln>
            <a:noFill/>
          </a:ln>
        </p:spPr>
        <p:txBody>
          <a:bodyPr wrap="square" lIns="0" tIns="0" rIns="0" bIns="0" anchor="t">
            <a:spAutoFit/>
          </a:bodyPr>
          <a:lstStyle/>
          <a:p>
            <a:pPr algn="ctr"/>
            <a:r>
              <a:rPr lang="en-US" sz="1100">
                <a:solidFill>
                  <a:srgbClr val="1A1A1A"/>
                </a:solidFill>
                <a:latin typeface="Arial"/>
              </a:rPr>
              <a:t>C</a:t>
            </a:r>
            <a:r>
              <a:rPr lang="en-US" sz="1100" b="0">
                <a:solidFill>
                  <a:srgbClr val="1A1A1A"/>
                </a:solidFill>
                <a:latin typeface="Arial"/>
              </a:rPr>
              <a:t>ore libraries exposing building blocks via code, offering full customization but requiring more manual setup (e.g., </a:t>
            </a:r>
            <a:r>
              <a:rPr lang="en-US" sz="1100" b="0" err="1">
                <a:solidFill>
                  <a:srgbClr val="1A1A1A"/>
                </a:solidFill>
                <a:latin typeface="Arial"/>
              </a:rPr>
              <a:t>LangChain</a:t>
            </a:r>
            <a:r>
              <a:rPr lang="en-US" sz="1100" b="0">
                <a:solidFill>
                  <a:srgbClr val="1A1A1A"/>
                </a:solidFill>
                <a:latin typeface="Arial"/>
              </a:rPr>
              <a:t>, </a:t>
            </a:r>
            <a:r>
              <a:rPr lang="en-US" sz="1100" b="0" err="1">
                <a:solidFill>
                  <a:srgbClr val="1A1A1A"/>
                </a:solidFill>
                <a:latin typeface="Arial"/>
              </a:rPr>
              <a:t>CrewAI</a:t>
            </a:r>
            <a:r>
              <a:rPr lang="en-US" sz="1100" b="0">
                <a:solidFill>
                  <a:srgbClr val="1A1A1A"/>
                </a:solidFill>
                <a:latin typeface="Arial"/>
              </a:rPr>
              <a:t>, </a:t>
            </a:r>
            <a:r>
              <a:rPr lang="en-US" sz="1100" b="0" err="1">
                <a:solidFill>
                  <a:srgbClr val="1A1A1A"/>
                </a:solidFill>
                <a:latin typeface="Arial"/>
              </a:rPr>
              <a:t>AutoGPT</a:t>
            </a:r>
            <a:r>
              <a:rPr lang="en-US" sz="1100" b="0">
                <a:solidFill>
                  <a:srgbClr val="1A1A1A"/>
                </a:solidFill>
                <a:latin typeface="Arial"/>
              </a:rPr>
              <a:t>, </a:t>
            </a:r>
            <a:r>
              <a:rPr lang="en-US" sz="1100" b="0" err="1">
                <a:solidFill>
                  <a:srgbClr val="1A1A1A"/>
                </a:solidFill>
                <a:latin typeface="Arial"/>
              </a:rPr>
              <a:t>SuperAgent</a:t>
            </a:r>
            <a:r>
              <a:rPr lang="en-US" sz="1100" b="0">
                <a:solidFill>
                  <a:srgbClr val="1A1A1A"/>
                </a:solidFill>
                <a:latin typeface="Arial"/>
              </a:rPr>
              <a:t>, </a:t>
            </a:r>
            <a:r>
              <a:rPr lang="en-US" sz="1100" b="0" err="1">
                <a:solidFill>
                  <a:srgbClr val="1A1A1A"/>
                </a:solidFill>
                <a:latin typeface="Arial"/>
              </a:rPr>
              <a:t>MetaGPT</a:t>
            </a:r>
            <a:r>
              <a:rPr lang="en-US" sz="1100" b="0">
                <a:solidFill>
                  <a:srgbClr val="1A1A1A"/>
                </a:solidFill>
                <a:latin typeface="Arial"/>
              </a:rPr>
              <a:t>, CAMEL).</a:t>
            </a:r>
            <a:endParaRPr sz="1100" b="0">
              <a:solidFill>
                <a:srgbClr val="1A1A1A"/>
              </a:solidFill>
              <a:latin typeface="Arial"/>
            </a:endParaRPr>
          </a:p>
        </p:txBody>
      </p:sp>
      <p:sp>
        <p:nvSpPr>
          <p:cNvPr id="23" name="TextBox 22">
            <a:extLst>
              <a:ext uri="{FF2B5EF4-FFF2-40B4-BE49-F238E27FC236}">
                <a16:creationId xmlns:a16="http://schemas.microsoft.com/office/drawing/2014/main" id="{9900DC22-32F9-B8E6-CDA2-9B3FA8F81D3B}"/>
              </a:ext>
            </a:extLst>
          </p:cNvPr>
          <p:cNvSpPr txBox="1"/>
          <p:nvPr/>
        </p:nvSpPr>
        <p:spPr>
          <a:xfrm>
            <a:off x="6444041" y="1608209"/>
            <a:ext cx="3047295" cy="846386"/>
          </a:xfrm>
          <a:prstGeom prst="rect">
            <a:avLst/>
          </a:prstGeom>
          <a:noFill/>
          <a:ln>
            <a:noFill/>
          </a:ln>
        </p:spPr>
        <p:txBody>
          <a:bodyPr wrap="square" lIns="0" tIns="0" rIns="0" bIns="0" anchor="t">
            <a:spAutoFit/>
          </a:bodyPr>
          <a:lstStyle/>
          <a:p>
            <a:pPr algn="ctr"/>
            <a:r>
              <a:rPr lang="en-US" sz="1100" b="0">
                <a:solidFill>
                  <a:srgbClr val="1A1A1A"/>
                </a:solidFill>
                <a:latin typeface="Arial"/>
              </a:rPr>
              <a:t>Complete environments handling design, deployment, orchestration, and observability for production-ready systems (e.g., </a:t>
            </a:r>
            <a:r>
              <a:rPr lang="en-US" sz="1100" b="0" err="1">
                <a:solidFill>
                  <a:srgbClr val="1A1A1A"/>
                </a:solidFill>
                <a:latin typeface="Arial"/>
              </a:rPr>
              <a:t>SuperAgent</a:t>
            </a:r>
            <a:r>
              <a:rPr lang="en-US" sz="1100" b="0">
                <a:solidFill>
                  <a:srgbClr val="1A1A1A"/>
                </a:solidFill>
                <a:latin typeface="Arial"/>
              </a:rPr>
              <a:t>, </a:t>
            </a:r>
            <a:r>
              <a:rPr lang="en-US" sz="1100" b="0" err="1">
                <a:solidFill>
                  <a:srgbClr val="1A1A1A"/>
                </a:solidFill>
                <a:latin typeface="Arial"/>
              </a:rPr>
              <a:t>Ionio.ai</a:t>
            </a:r>
            <a:r>
              <a:rPr lang="en-US" sz="1100" b="0">
                <a:solidFill>
                  <a:srgbClr val="1A1A1A"/>
                </a:solidFill>
                <a:latin typeface="Arial"/>
              </a:rPr>
              <a:t>, Google Cloud AI Platform, Microsoft Azure Machine Learning, IBM Watson Studio).</a:t>
            </a:r>
            <a:endParaRPr sz="1100" b="0">
              <a:solidFill>
                <a:srgbClr val="1A1A1A"/>
              </a:solidFill>
              <a:latin typeface="Arial"/>
            </a:endParaRPr>
          </a:p>
        </p:txBody>
      </p:sp>
      <p:grpSp>
        <p:nvGrpSpPr>
          <p:cNvPr id="27" name="Group 26">
            <a:extLst>
              <a:ext uri="{FF2B5EF4-FFF2-40B4-BE49-F238E27FC236}">
                <a16:creationId xmlns:a16="http://schemas.microsoft.com/office/drawing/2014/main" id="{5E4EF94E-55B9-A4CC-2842-C1E51D61AD0E}"/>
              </a:ext>
            </a:extLst>
          </p:cNvPr>
          <p:cNvGrpSpPr>
            <a:grpSpLocks noChangeAspect="1"/>
          </p:cNvGrpSpPr>
          <p:nvPr/>
        </p:nvGrpSpPr>
        <p:grpSpPr>
          <a:xfrm>
            <a:off x="2270522" y="2553861"/>
            <a:ext cx="7650956" cy="2743200"/>
            <a:chOff x="1106697" y="2230396"/>
            <a:chExt cx="3907458" cy="1400994"/>
          </a:xfrm>
        </p:grpSpPr>
        <p:grpSp>
          <p:nvGrpSpPr>
            <p:cNvPr id="3" name="Group 2">
              <a:extLst>
                <a:ext uri="{FF2B5EF4-FFF2-40B4-BE49-F238E27FC236}">
                  <a16:creationId xmlns:a16="http://schemas.microsoft.com/office/drawing/2014/main" id="{8B0F3872-7794-9E5F-07C4-86BCD31ED817}"/>
                </a:ext>
              </a:extLst>
            </p:cNvPr>
            <p:cNvGrpSpPr/>
            <p:nvPr/>
          </p:nvGrpSpPr>
          <p:grpSpPr>
            <a:xfrm>
              <a:off x="1106697" y="2233674"/>
              <a:ext cx="1496530" cy="1397716"/>
              <a:chOff x="1018070" y="2501541"/>
              <a:chExt cx="1496530" cy="1397716"/>
            </a:xfrm>
          </p:grpSpPr>
          <p:sp>
            <p:nvSpPr>
              <p:cNvPr id="4" name="Rounded Rectangle 1">
                <a:extLst>
                  <a:ext uri="{FF2B5EF4-FFF2-40B4-BE49-F238E27FC236}">
                    <a16:creationId xmlns:a16="http://schemas.microsoft.com/office/drawing/2014/main" id="{FB8991DA-EE79-BF43-2BAC-F4909044E52D}"/>
                  </a:ext>
                </a:extLst>
              </p:cNvPr>
              <p:cNvSpPr/>
              <p:nvPr/>
            </p:nvSpPr>
            <p:spPr>
              <a:xfrm>
                <a:off x="1600200" y="2743200"/>
                <a:ext cx="914400" cy="914400"/>
              </a:xfrm>
              <a:custGeom>
                <a:avLst/>
                <a:gdLst/>
                <a:ahLst/>
                <a:cxnLst/>
                <a:rect l="0" t="0" r="0" b="0"/>
                <a:pathLst>
                  <a:path w="914400" h="914400">
                    <a:moveTo>
                      <a:pt x="0" y="0"/>
                    </a:moveTo>
                    <a:lnTo>
                      <a:pt x="876300" y="0"/>
                    </a:lnTo>
                    <a:cubicBezTo>
                      <a:pt x="897341" y="0"/>
                      <a:pt x="914400" y="17058"/>
                      <a:pt x="914400" y="38100"/>
                    </a:cubicBezTo>
                    <a:lnTo>
                      <a:pt x="914400" y="876300"/>
                    </a:lnTo>
                    <a:cubicBezTo>
                      <a:pt x="914400" y="897341"/>
                      <a:pt x="897341" y="914400"/>
                      <a:pt x="876300" y="914400"/>
                    </a:cubicBezTo>
                    <a:lnTo>
                      <a:pt x="0" y="914400"/>
                    </a:lnTo>
                    <a:lnTo>
                      <a:pt x="0" y="0"/>
                    </a:lnTo>
                    <a:close/>
                  </a:path>
                </a:pathLst>
              </a:custGeom>
              <a:solidFill>
                <a:srgbClr val="0D8AFF"/>
              </a:solidFill>
              <a:ln>
                <a:noFill/>
              </a:ln>
            </p:spPr>
            <p:txBody>
              <a:bodyPr rtlCol="0" anchor="ctr"/>
              <a:lstStyle/>
              <a:p>
                <a:pPr algn="ctr"/>
                <a:endParaRPr/>
              </a:p>
            </p:txBody>
          </p:sp>
          <p:sp>
            <p:nvSpPr>
              <p:cNvPr id="5" name="Rounded Rectangle 2">
                <a:extLst>
                  <a:ext uri="{FF2B5EF4-FFF2-40B4-BE49-F238E27FC236}">
                    <a16:creationId xmlns:a16="http://schemas.microsoft.com/office/drawing/2014/main" id="{4F6FE7C4-9CF2-A713-731C-942E86F65D9C}"/>
                  </a:ext>
                </a:extLst>
              </p:cNvPr>
              <p:cNvSpPr/>
              <p:nvPr/>
            </p:nvSpPr>
            <p:spPr>
              <a:xfrm>
                <a:off x="1018070" y="2501541"/>
                <a:ext cx="591653" cy="1397716"/>
              </a:xfrm>
              <a:custGeom>
                <a:avLst/>
                <a:gdLst/>
                <a:ahLst/>
                <a:cxnLst/>
                <a:rect l="0" t="0" r="0" b="0"/>
                <a:pathLst>
                  <a:path w="591653" h="1397716">
                    <a:moveTo>
                      <a:pt x="11646" y="723133"/>
                    </a:moveTo>
                    <a:cubicBezTo>
                      <a:pt x="0" y="709044"/>
                      <a:pt x="0" y="688670"/>
                      <a:pt x="11646" y="674583"/>
                    </a:cubicBezTo>
                    <a:lnTo>
                      <a:pt x="557921" y="13761"/>
                    </a:lnTo>
                    <a:cubicBezTo>
                      <a:pt x="569297" y="0"/>
                      <a:pt x="591653" y="8044"/>
                      <a:pt x="591653" y="25899"/>
                    </a:cubicBezTo>
                    <a:lnTo>
                      <a:pt x="591653" y="1371817"/>
                    </a:lnTo>
                    <a:cubicBezTo>
                      <a:pt x="591653" y="1389671"/>
                      <a:pt x="569297" y="1397716"/>
                      <a:pt x="557921" y="1383954"/>
                    </a:cubicBezTo>
                    <a:lnTo>
                      <a:pt x="11646" y="723133"/>
                    </a:lnTo>
                    <a:close/>
                  </a:path>
                </a:pathLst>
              </a:custGeom>
              <a:solidFill>
                <a:srgbClr val="0D8AFF"/>
              </a:solidFill>
              <a:ln>
                <a:noFill/>
              </a:ln>
            </p:spPr>
            <p:txBody>
              <a:bodyPr rtlCol="0" anchor="ctr"/>
              <a:lstStyle/>
              <a:p>
                <a:pPr algn="ctr"/>
                <a:endParaRPr/>
              </a:p>
            </p:txBody>
          </p:sp>
          <p:sp>
            <p:nvSpPr>
              <p:cNvPr id="6" name="Rounded Rectangle 3">
                <a:extLst>
                  <a:ext uri="{FF2B5EF4-FFF2-40B4-BE49-F238E27FC236}">
                    <a16:creationId xmlns:a16="http://schemas.microsoft.com/office/drawing/2014/main" id="{80E7FE3C-DAD4-FCF7-7A25-C46E9F531D0A}"/>
                  </a:ext>
                </a:extLst>
              </p:cNvPr>
              <p:cNvSpPr/>
              <p:nvPr/>
            </p:nvSpPr>
            <p:spPr>
              <a:xfrm>
                <a:off x="1600200" y="2743200"/>
                <a:ext cx="914400" cy="914400"/>
              </a:xfrm>
              <a:custGeom>
                <a:avLst/>
                <a:gdLst/>
                <a:ahLst/>
                <a:cxnLst/>
                <a:rect l="0" t="0" r="0" b="0"/>
                <a:pathLst>
                  <a:path w="914400" h="914400">
                    <a:moveTo>
                      <a:pt x="0" y="0"/>
                    </a:moveTo>
                    <a:lnTo>
                      <a:pt x="876300" y="0"/>
                    </a:lnTo>
                    <a:cubicBezTo>
                      <a:pt x="897341" y="0"/>
                      <a:pt x="914400" y="17058"/>
                      <a:pt x="914400" y="38100"/>
                    </a:cubicBezTo>
                    <a:lnTo>
                      <a:pt x="914400" y="876300"/>
                    </a:lnTo>
                    <a:cubicBezTo>
                      <a:pt x="914400" y="897341"/>
                      <a:pt x="897341" y="914400"/>
                      <a:pt x="876300" y="914400"/>
                    </a:cubicBezTo>
                    <a:lnTo>
                      <a:pt x="0" y="914400"/>
                    </a:lnTo>
                    <a:lnTo>
                      <a:pt x="0" y="0"/>
                    </a:lnTo>
                    <a:close/>
                  </a:path>
                </a:pathLst>
              </a:custGeom>
              <a:noFill/>
              <a:ln w="7143">
                <a:solidFill>
                  <a:srgbClr val="FFFFFF"/>
                </a:solidFill>
              </a:ln>
            </p:spPr>
            <p:txBody>
              <a:bodyPr rtlCol="0" anchor="ctr"/>
              <a:lstStyle/>
              <a:p>
                <a:pPr algn="ctr"/>
                <a:endParaRPr/>
              </a:p>
            </p:txBody>
          </p:sp>
          <p:sp>
            <p:nvSpPr>
              <p:cNvPr id="7" name="Rounded Rectangle 4">
                <a:extLst>
                  <a:ext uri="{FF2B5EF4-FFF2-40B4-BE49-F238E27FC236}">
                    <a16:creationId xmlns:a16="http://schemas.microsoft.com/office/drawing/2014/main" id="{F506A3EF-CB99-A2D7-898B-AAA97C1EBA29}"/>
                  </a:ext>
                </a:extLst>
              </p:cNvPr>
              <p:cNvSpPr/>
              <p:nvPr/>
            </p:nvSpPr>
            <p:spPr>
              <a:xfrm>
                <a:off x="1018070" y="2501541"/>
                <a:ext cx="591653" cy="1397716"/>
              </a:xfrm>
              <a:custGeom>
                <a:avLst/>
                <a:gdLst/>
                <a:ahLst/>
                <a:cxnLst/>
                <a:rect l="0" t="0" r="0" b="0"/>
                <a:pathLst>
                  <a:path w="591653" h="1397716">
                    <a:moveTo>
                      <a:pt x="591653" y="241657"/>
                    </a:moveTo>
                    <a:lnTo>
                      <a:pt x="591653" y="25899"/>
                    </a:lnTo>
                    <a:cubicBezTo>
                      <a:pt x="591653" y="8044"/>
                      <a:pt x="569297" y="0"/>
                      <a:pt x="557921" y="13761"/>
                    </a:cubicBezTo>
                    <a:lnTo>
                      <a:pt x="11646" y="674583"/>
                    </a:lnTo>
                    <a:cubicBezTo>
                      <a:pt x="0" y="688670"/>
                      <a:pt x="0" y="709044"/>
                      <a:pt x="11646" y="723133"/>
                    </a:cubicBezTo>
                    <a:lnTo>
                      <a:pt x="557921" y="1383954"/>
                    </a:lnTo>
                    <a:cubicBezTo>
                      <a:pt x="569297" y="1397716"/>
                      <a:pt x="591653" y="1389671"/>
                      <a:pt x="591653" y="1371817"/>
                    </a:cubicBezTo>
                    <a:lnTo>
                      <a:pt x="591653" y="1156057"/>
                    </a:lnTo>
                  </a:path>
                </a:pathLst>
              </a:custGeom>
              <a:noFill/>
              <a:ln w="7143">
                <a:solidFill>
                  <a:srgbClr val="FFFFFF"/>
                </a:solidFill>
              </a:ln>
            </p:spPr>
            <p:txBody>
              <a:bodyPr rtlCol="0" anchor="ctr"/>
              <a:lstStyle/>
              <a:p>
                <a:pPr algn="ctr"/>
                <a:endParaRPr/>
              </a:p>
            </p:txBody>
          </p:sp>
        </p:grpSp>
        <p:grpSp>
          <p:nvGrpSpPr>
            <p:cNvPr id="8" name="Group 7">
              <a:extLst>
                <a:ext uri="{FF2B5EF4-FFF2-40B4-BE49-F238E27FC236}">
                  <a16:creationId xmlns:a16="http://schemas.microsoft.com/office/drawing/2014/main" id="{E0B4A8BA-D011-2A45-CE97-C30155039B5C}"/>
                </a:ext>
              </a:extLst>
            </p:cNvPr>
            <p:cNvGrpSpPr/>
            <p:nvPr/>
          </p:nvGrpSpPr>
          <p:grpSpPr>
            <a:xfrm>
              <a:off x="2603227" y="2475333"/>
              <a:ext cx="914400" cy="914400"/>
              <a:chOff x="2514600" y="2743200"/>
              <a:chExt cx="914400" cy="914400"/>
            </a:xfrm>
          </p:grpSpPr>
          <p:sp>
            <p:nvSpPr>
              <p:cNvPr id="9" name="Rounded Rectangle 6">
                <a:extLst>
                  <a:ext uri="{FF2B5EF4-FFF2-40B4-BE49-F238E27FC236}">
                    <a16:creationId xmlns:a16="http://schemas.microsoft.com/office/drawing/2014/main" id="{8C2423E7-E7E3-0168-0184-5FF4C6A9D951}"/>
                  </a:ext>
                </a:extLst>
              </p:cNvPr>
              <p:cNvSpPr/>
              <p:nvPr/>
            </p:nvSpPr>
            <p:spPr>
              <a:xfrm>
                <a:off x="2514600" y="2743200"/>
                <a:ext cx="914400" cy="914400"/>
              </a:xfrm>
              <a:custGeom>
                <a:avLst/>
                <a:gdLst/>
                <a:ahLst/>
                <a:cxnLst/>
                <a:rect l="0" t="0" r="0" b="0"/>
                <a:pathLst>
                  <a:path w="914400" h="914400">
                    <a:moveTo>
                      <a:pt x="0" y="38100"/>
                    </a:moveTo>
                    <a:cubicBezTo>
                      <a:pt x="0" y="17058"/>
                      <a:pt x="17058" y="0"/>
                      <a:pt x="38100" y="0"/>
                    </a:cubicBezTo>
                    <a:lnTo>
                      <a:pt x="876300" y="0"/>
                    </a:lnTo>
                    <a:cubicBezTo>
                      <a:pt x="897341" y="0"/>
                      <a:pt x="914400" y="17058"/>
                      <a:pt x="914400" y="38100"/>
                    </a:cubicBezTo>
                    <a:lnTo>
                      <a:pt x="914400" y="876300"/>
                    </a:lnTo>
                    <a:cubicBezTo>
                      <a:pt x="914400" y="897341"/>
                      <a:pt x="897341" y="914400"/>
                      <a:pt x="876300" y="914400"/>
                    </a:cubicBezTo>
                    <a:lnTo>
                      <a:pt x="38100" y="914400"/>
                    </a:lnTo>
                    <a:cubicBezTo>
                      <a:pt x="17058" y="914400"/>
                      <a:pt x="0" y="897341"/>
                      <a:pt x="0" y="876300"/>
                    </a:cubicBezTo>
                    <a:lnTo>
                      <a:pt x="0" y="38100"/>
                    </a:lnTo>
                    <a:close/>
                  </a:path>
                </a:pathLst>
              </a:custGeom>
              <a:solidFill>
                <a:srgbClr val="329CFF"/>
              </a:solidFill>
              <a:ln>
                <a:noFill/>
              </a:ln>
            </p:spPr>
            <p:txBody>
              <a:bodyPr rtlCol="0" anchor="ctr"/>
              <a:lstStyle/>
              <a:p>
                <a:pPr algn="ctr"/>
                <a:endParaRPr/>
              </a:p>
            </p:txBody>
          </p:sp>
          <p:sp>
            <p:nvSpPr>
              <p:cNvPr id="10" name="Rounded Rectangle 7">
                <a:extLst>
                  <a:ext uri="{FF2B5EF4-FFF2-40B4-BE49-F238E27FC236}">
                    <a16:creationId xmlns:a16="http://schemas.microsoft.com/office/drawing/2014/main" id="{6D66F5A3-93A2-396D-6A1E-DC653864656F}"/>
                  </a:ext>
                </a:extLst>
              </p:cNvPr>
              <p:cNvSpPr/>
              <p:nvPr/>
            </p:nvSpPr>
            <p:spPr>
              <a:xfrm>
                <a:off x="2514600" y="2743200"/>
                <a:ext cx="914400" cy="914400"/>
              </a:xfrm>
              <a:custGeom>
                <a:avLst/>
                <a:gdLst/>
                <a:ahLst/>
                <a:cxnLst/>
                <a:rect l="0" t="0" r="0" b="0"/>
                <a:pathLst>
                  <a:path w="914400" h="914400">
                    <a:moveTo>
                      <a:pt x="0" y="38100"/>
                    </a:moveTo>
                    <a:cubicBezTo>
                      <a:pt x="0" y="17058"/>
                      <a:pt x="17058" y="0"/>
                      <a:pt x="38100" y="0"/>
                    </a:cubicBezTo>
                    <a:lnTo>
                      <a:pt x="876300" y="0"/>
                    </a:lnTo>
                    <a:cubicBezTo>
                      <a:pt x="897341" y="0"/>
                      <a:pt x="914400" y="17058"/>
                      <a:pt x="914400" y="38100"/>
                    </a:cubicBezTo>
                    <a:lnTo>
                      <a:pt x="914400" y="876300"/>
                    </a:lnTo>
                    <a:cubicBezTo>
                      <a:pt x="914400" y="897341"/>
                      <a:pt x="897341" y="914400"/>
                      <a:pt x="876300" y="914400"/>
                    </a:cubicBezTo>
                    <a:lnTo>
                      <a:pt x="38100" y="914400"/>
                    </a:lnTo>
                    <a:cubicBezTo>
                      <a:pt x="17058" y="914400"/>
                      <a:pt x="0" y="897341"/>
                      <a:pt x="0" y="876300"/>
                    </a:cubicBezTo>
                    <a:lnTo>
                      <a:pt x="0" y="38100"/>
                    </a:lnTo>
                    <a:close/>
                  </a:path>
                </a:pathLst>
              </a:custGeom>
              <a:noFill/>
              <a:ln w="7143">
                <a:solidFill>
                  <a:srgbClr val="FFFFFF"/>
                </a:solidFill>
              </a:ln>
            </p:spPr>
            <p:txBody>
              <a:bodyPr rtlCol="0" anchor="ctr"/>
              <a:lstStyle/>
              <a:p>
                <a:pPr algn="ctr"/>
                <a:endParaRPr/>
              </a:p>
            </p:txBody>
          </p:sp>
        </p:grpSp>
        <p:grpSp>
          <p:nvGrpSpPr>
            <p:cNvPr id="11" name="Group 10">
              <a:extLst>
                <a:ext uri="{FF2B5EF4-FFF2-40B4-BE49-F238E27FC236}">
                  <a16:creationId xmlns:a16="http://schemas.microsoft.com/office/drawing/2014/main" id="{9FA7EFA6-9EED-3D78-DB0C-AC4F49AA6B03}"/>
                </a:ext>
              </a:extLst>
            </p:cNvPr>
            <p:cNvGrpSpPr/>
            <p:nvPr/>
          </p:nvGrpSpPr>
          <p:grpSpPr>
            <a:xfrm>
              <a:off x="3517627" y="2230396"/>
              <a:ext cx="1496528" cy="1397716"/>
              <a:chOff x="3429000" y="2498263"/>
              <a:chExt cx="1496528" cy="1397716"/>
            </a:xfrm>
          </p:grpSpPr>
          <p:sp>
            <p:nvSpPr>
              <p:cNvPr id="12" name="Rounded Rectangle 9">
                <a:extLst>
                  <a:ext uri="{FF2B5EF4-FFF2-40B4-BE49-F238E27FC236}">
                    <a16:creationId xmlns:a16="http://schemas.microsoft.com/office/drawing/2014/main" id="{D0411FBE-041F-7308-47C9-2BF1890D84FD}"/>
                  </a:ext>
                </a:extLst>
              </p:cNvPr>
              <p:cNvSpPr/>
              <p:nvPr/>
            </p:nvSpPr>
            <p:spPr>
              <a:xfrm>
                <a:off x="3429000" y="2743200"/>
                <a:ext cx="914400" cy="914400"/>
              </a:xfrm>
              <a:custGeom>
                <a:avLst/>
                <a:gdLst/>
                <a:ahLst/>
                <a:cxnLst/>
                <a:rect l="0" t="0" r="0" b="0"/>
                <a:pathLst>
                  <a:path w="914400" h="914400">
                    <a:moveTo>
                      <a:pt x="0" y="38100"/>
                    </a:moveTo>
                    <a:cubicBezTo>
                      <a:pt x="0" y="17058"/>
                      <a:pt x="17058" y="0"/>
                      <a:pt x="38100" y="0"/>
                    </a:cubicBezTo>
                    <a:lnTo>
                      <a:pt x="914400" y="0"/>
                    </a:lnTo>
                    <a:lnTo>
                      <a:pt x="914400" y="914400"/>
                    </a:lnTo>
                    <a:lnTo>
                      <a:pt x="38100" y="914400"/>
                    </a:lnTo>
                    <a:cubicBezTo>
                      <a:pt x="17058" y="914400"/>
                      <a:pt x="0" y="897341"/>
                      <a:pt x="0" y="876300"/>
                    </a:cubicBezTo>
                    <a:lnTo>
                      <a:pt x="0" y="38100"/>
                    </a:lnTo>
                    <a:close/>
                  </a:path>
                </a:pathLst>
              </a:custGeom>
              <a:solidFill>
                <a:srgbClr val="8AC6FF"/>
              </a:solidFill>
              <a:ln>
                <a:noFill/>
              </a:ln>
            </p:spPr>
            <p:txBody>
              <a:bodyPr rtlCol="0" anchor="ctr"/>
              <a:lstStyle/>
              <a:p>
                <a:pPr algn="ctr"/>
                <a:endParaRPr/>
              </a:p>
            </p:txBody>
          </p:sp>
          <p:sp>
            <p:nvSpPr>
              <p:cNvPr id="13" name="Rounded Rectangle 10">
                <a:extLst>
                  <a:ext uri="{FF2B5EF4-FFF2-40B4-BE49-F238E27FC236}">
                    <a16:creationId xmlns:a16="http://schemas.microsoft.com/office/drawing/2014/main" id="{98E33AA8-9502-9C0D-EF27-002BA1D19A77}"/>
                  </a:ext>
                </a:extLst>
              </p:cNvPr>
              <p:cNvSpPr/>
              <p:nvPr/>
            </p:nvSpPr>
            <p:spPr>
              <a:xfrm>
                <a:off x="4333875" y="2498263"/>
                <a:ext cx="591653" cy="1397716"/>
              </a:xfrm>
              <a:custGeom>
                <a:avLst/>
                <a:gdLst/>
                <a:ahLst/>
                <a:cxnLst/>
                <a:rect l="0" t="0" r="0" b="0"/>
                <a:pathLst>
                  <a:path w="591653" h="1397716">
                    <a:moveTo>
                      <a:pt x="580007" y="723133"/>
                    </a:moveTo>
                    <a:cubicBezTo>
                      <a:pt x="591653" y="709044"/>
                      <a:pt x="591653" y="688670"/>
                      <a:pt x="580007" y="674583"/>
                    </a:cubicBezTo>
                    <a:lnTo>
                      <a:pt x="33732" y="13761"/>
                    </a:lnTo>
                    <a:cubicBezTo>
                      <a:pt x="22357" y="0"/>
                      <a:pt x="0" y="8044"/>
                      <a:pt x="0" y="25899"/>
                    </a:cubicBezTo>
                    <a:lnTo>
                      <a:pt x="0" y="1371817"/>
                    </a:lnTo>
                    <a:cubicBezTo>
                      <a:pt x="0" y="1389671"/>
                      <a:pt x="22356" y="1397716"/>
                      <a:pt x="33732" y="1383954"/>
                    </a:cubicBezTo>
                    <a:lnTo>
                      <a:pt x="580007" y="723133"/>
                    </a:lnTo>
                    <a:close/>
                  </a:path>
                </a:pathLst>
              </a:custGeom>
              <a:solidFill>
                <a:srgbClr val="8AC6FF"/>
              </a:solidFill>
              <a:ln>
                <a:noFill/>
              </a:ln>
            </p:spPr>
            <p:txBody>
              <a:bodyPr rtlCol="0" anchor="ctr"/>
              <a:lstStyle/>
              <a:p>
                <a:pPr algn="ctr"/>
                <a:endParaRPr/>
              </a:p>
            </p:txBody>
          </p:sp>
          <p:sp>
            <p:nvSpPr>
              <p:cNvPr id="14" name="Rounded Rectangle 11">
                <a:extLst>
                  <a:ext uri="{FF2B5EF4-FFF2-40B4-BE49-F238E27FC236}">
                    <a16:creationId xmlns:a16="http://schemas.microsoft.com/office/drawing/2014/main" id="{08D8ED9B-9729-AAC5-C06F-68D983D9A7CF}"/>
                  </a:ext>
                </a:extLst>
              </p:cNvPr>
              <p:cNvSpPr/>
              <p:nvPr/>
            </p:nvSpPr>
            <p:spPr>
              <a:xfrm>
                <a:off x="3429000" y="2743200"/>
                <a:ext cx="914400" cy="914400"/>
              </a:xfrm>
              <a:custGeom>
                <a:avLst/>
                <a:gdLst/>
                <a:ahLst/>
                <a:cxnLst/>
                <a:rect l="0" t="0" r="0" b="0"/>
                <a:pathLst>
                  <a:path w="914400" h="914400">
                    <a:moveTo>
                      <a:pt x="0" y="38100"/>
                    </a:moveTo>
                    <a:cubicBezTo>
                      <a:pt x="0" y="17058"/>
                      <a:pt x="17058" y="0"/>
                      <a:pt x="38100" y="0"/>
                    </a:cubicBezTo>
                    <a:lnTo>
                      <a:pt x="914400" y="0"/>
                    </a:lnTo>
                    <a:lnTo>
                      <a:pt x="914400" y="914400"/>
                    </a:lnTo>
                    <a:lnTo>
                      <a:pt x="38100" y="914400"/>
                    </a:lnTo>
                    <a:cubicBezTo>
                      <a:pt x="17058" y="914400"/>
                      <a:pt x="0" y="897341"/>
                      <a:pt x="0" y="876300"/>
                    </a:cubicBezTo>
                    <a:lnTo>
                      <a:pt x="0" y="38100"/>
                    </a:lnTo>
                    <a:close/>
                  </a:path>
                </a:pathLst>
              </a:custGeom>
              <a:noFill/>
              <a:ln w="7143">
                <a:solidFill>
                  <a:srgbClr val="FFFFFF"/>
                </a:solidFill>
              </a:ln>
            </p:spPr>
            <p:txBody>
              <a:bodyPr rtlCol="0" anchor="ctr"/>
              <a:lstStyle/>
              <a:p>
                <a:pPr algn="ctr"/>
                <a:endParaRPr/>
              </a:p>
            </p:txBody>
          </p:sp>
          <p:sp>
            <p:nvSpPr>
              <p:cNvPr id="15" name="Rounded Rectangle 12">
                <a:extLst>
                  <a:ext uri="{FF2B5EF4-FFF2-40B4-BE49-F238E27FC236}">
                    <a16:creationId xmlns:a16="http://schemas.microsoft.com/office/drawing/2014/main" id="{3051FFD2-1B32-06FE-3CE8-7FD47B2B6F69}"/>
                  </a:ext>
                </a:extLst>
              </p:cNvPr>
              <p:cNvSpPr/>
              <p:nvPr/>
            </p:nvSpPr>
            <p:spPr>
              <a:xfrm>
                <a:off x="4333875" y="2498263"/>
                <a:ext cx="591653" cy="1397716"/>
              </a:xfrm>
              <a:custGeom>
                <a:avLst/>
                <a:gdLst/>
                <a:ahLst/>
                <a:cxnLst/>
                <a:rect l="0" t="0" r="0" b="0"/>
                <a:pathLst>
                  <a:path w="591653" h="1397716">
                    <a:moveTo>
                      <a:pt x="0" y="244936"/>
                    </a:moveTo>
                    <a:lnTo>
                      <a:pt x="0" y="25899"/>
                    </a:lnTo>
                    <a:cubicBezTo>
                      <a:pt x="0" y="8044"/>
                      <a:pt x="22357" y="0"/>
                      <a:pt x="33732" y="13761"/>
                    </a:cubicBezTo>
                    <a:lnTo>
                      <a:pt x="580007" y="674583"/>
                    </a:lnTo>
                    <a:cubicBezTo>
                      <a:pt x="591653" y="688670"/>
                      <a:pt x="591653" y="709044"/>
                      <a:pt x="580007" y="723133"/>
                    </a:cubicBezTo>
                    <a:lnTo>
                      <a:pt x="33732" y="1383954"/>
                    </a:lnTo>
                    <a:cubicBezTo>
                      <a:pt x="22356" y="1397716"/>
                      <a:pt x="0" y="1389671"/>
                      <a:pt x="0" y="1371817"/>
                    </a:cubicBezTo>
                    <a:lnTo>
                      <a:pt x="0" y="1159336"/>
                    </a:lnTo>
                  </a:path>
                </a:pathLst>
              </a:custGeom>
              <a:noFill/>
              <a:ln w="7143">
                <a:solidFill>
                  <a:srgbClr val="FFFFFF"/>
                </a:solidFill>
              </a:ln>
            </p:spPr>
            <p:txBody>
              <a:bodyPr rtlCol="0" anchor="ctr"/>
              <a:lstStyle/>
              <a:p>
                <a:pPr algn="ctr"/>
                <a:endParaRPr/>
              </a:p>
            </p:txBody>
          </p:sp>
        </p:grpSp>
        <p:sp>
          <p:nvSpPr>
            <p:cNvPr id="24" name="Rounded Rectangle 23">
              <a:extLst>
                <a:ext uri="{FF2B5EF4-FFF2-40B4-BE49-F238E27FC236}">
                  <a16:creationId xmlns:a16="http://schemas.microsoft.com/office/drawing/2014/main" id="{ED42967B-45C3-02C9-68E0-39CC6159F145}"/>
                </a:ext>
              </a:extLst>
            </p:cNvPr>
            <p:cNvSpPr/>
            <p:nvPr/>
          </p:nvSpPr>
          <p:spPr>
            <a:xfrm>
              <a:off x="1926917" y="2713442"/>
              <a:ext cx="438200" cy="438200"/>
            </a:xfrm>
            <a:custGeom>
              <a:avLst/>
              <a:gdLst/>
              <a:ahLst/>
              <a:cxnLst/>
              <a:rect l="0" t="0" r="0" b="0"/>
              <a:pathLst>
                <a:path w="438200" h="438200">
                  <a:moveTo>
                    <a:pt x="370043" y="127879"/>
                  </a:moveTo>
                  <a:cubicBezTo>
                    <a:pt x="365701" y="137004"/>
                    <a:pt x="365431" y="147542"/>
                    <a:pt x="369298" y="156878"/>
                  </a:cubicBezTo>
                  <a:cubicBezTo>
                    <a:pt x="373165" y="166214"/>
                    <a:pt x="380808" y="173474"/>
                    <a:pt x="390331" y="176857"/>
                  </a:cubicBezTo>
                  <a:lnTo>
                    <a:pt x="414429" y="185429"/>
                  </a:lnTo>
                  <a:cubicBezTo>
                    <a:pt x="428679" y="190487"/>
                    <a:pt x="438200" y="203969"/>
                    <a:pt x="438200" y="219090"/>
                  </a:cubicBezTo>
                  <a:cubicBezTo>
                    <a:pt x="438200" y="234211"/>
                    <a:pt x="428679" y="247694"/>
                    <a:pt x="414429" y="252752"/>
                  </a:cubicBezTo>
                  <a:lnTo>
                    <a:pt x="390331" y="261324"/>
                  </a:lnTo>
                  <a:cubicBezTo>
                    <a:pt x="380808" y="264707"/>
                    <a:pt x="373165" y="271966"/>
                    <a:pt x="369298" y="281303"/>
                  </a:cubicBezTo>
                  <a:cubicBezTo>
                    <a:pt x="365431" y="290639"/>
                    <a:pt x="365701" y="301176"/>
                    <a:pt x="370043" y="310302"/>
                  </a:cubicBezTo>
                  <a:lnTo>
                    <a:pt x="381034" y="333390"/>
                  </a:lnTo>
                  <a:cubicBezTo>
                    <a:pt x="387584" y="347050"/>
                    <a:pt x="384799" y="363356"/>
                    <a:pt x="374087" y="374068"/>
                  </a:cubicBezTo>
                  <a:cubicBezTo>
                    <a:pt x="363375" y="384780"/>
                    <a:pt x="347069" y="387565"/>
                    <a:pt x="333409" y="381015"/>
                  </a:cubicBezTo>
                  <a:lnTo>
                    <a:pt x="310302" y="370043"/>
                  </a:lnTo>
                  <a:cubicBezTo>
                    <a:pt x="301176" y="365701"/>
                    <a:pt x="290639" y="365431"/>
                    <a:pt x="281302" y="369298"/>
                  </a:cubicBezTo>
                  <a:cubicBezTo>
                    <a:pt x="271966" y="373165"/>
                    <a:pt x="264707" y="380808"/>
                    <a:pt x="261324" y="390331"/>
                  </a:cubicBezTo>
                  <a:lnTo>
                    <a:pt x="252752" y="414429"/>
                  </a:lnTo>
                  <a:cubicBezTo>
                    <a:pt x="247694" y="428679"/>
                    <a:pt x="234211" y="438200"/>
                    <a:pt x="219090" y="438200"/>
                  </a:cubicBezTo>
                  <a:cubicBezTo>
                    <a:pt x="203969" y="438200"/>
                    <a:pt x="190487" y="428679"/>
                    <a:pt x="185429" y="414429"/>
                  </a:cubicBezTo>
                  <a:lnTo>
                    <a:pt x="176857" y="390331"/>
                  </a:lnTo>
                  <a:cubicBezTo>
                    <a:pt x="173474" y="380808"/>
                    <a:pt x="166214" y="373165"/>
                    <a:pt x="156878" y="369298"/>
                  </a:cubicBezTo>
                  <a:cubicBezTo>
                    <a:pt x="147542" y="365431"/>
                    <a:pt x="137004" y="365701"/>
                    <a:pt x="127879" y="370043"/>
                  </a:cubicBezTo>
                  <a:lnTo>
                    <a:pt x="104809" y="381015"/>
                  </a:lnTo>
                  <a:cubicBezTo>
                    <a:pt x="91150" y="387565"/>
                    <a:pt x="74844" y="384780"/>
                    <a:pt x="64132" y="374068"/>
                  </a:cubicBezTo>
                  <a:cubicBezTo>
                    <a:pt x="53420" y="363356"/>
                    <a:pt x="50635" y="347050"/>
                    <a:pt x="57184" y="333390"/>
                  </a:cubicBezTo>
                  <a:lnTo>
                    <a:pt x="68157" y="310283"/>
                  </a:lnTo>
                  <a:cubicBezTo>
                    <a:pt x="72499" y="301157"/>
                    <a:pt x="72769" y="290620"/>
                    <a:pt x="68902" y="281283"/>
                  </a:cubicBezTo>
                  <a:cubicBezTo>
                    <a:pt x="65035" y="271947"/>
                    <a:pt x="57392" y="264688"/>
                    <a:pt x="47869" y="261305"/>
                  </a:cubicBezTo>
                  <a:lnTo>
                    <a:pt x="23771" y="252733"/>
                  </a:lnTo>
                  <a:cubicBezTo>
                    <a:pt x="9521" y="247675"/>
                    <a:pt x="0" y="234192"/>
                    <a:pt x="0" y="219071"/>
                  </a:cubicBezTo>
                  <a:cubicBezTo>
                    <a:pt x="0" y="203950"/>
                    <a:pt x="9521" y="190468"/>
                    <a:pt x="23771" y="185410"/>
                  </a:cubicBezTo>
                  <a:lnTo>
                    <a:pt x="47869" y="176837"/>
                  </a:lnTo>
                  <a:cubicBezTo>
                    <a:pt x="57390" y="173458"/>
                    <a:pt x="65033" y="166204"/>
                    <a:pt x="68904" y="156872"/>
                  </a:cubicBezTo>
                  <a:cubicBezTo>
                    <a:pt x="72775" y="147540"/>
                    <a:pt x="72510" y="137005"/>
                    <a:pt x="68176" y="127879"/>
                  </a:cubicBezTo>
                  <a:lnTo>
                    <a:pt x="57184" y="104790"/>
                  </a:lnTo>
                  <a:cubicBezTo>
                    <a:pt x="50635" y="91131"/>
                    <a:pt x="53420" y="74825"/>
                    <a:pt x="64132" y="64113"/>
                  </a:cubicBezTo>
                  <a:cubicBezTo>
                    <a:pt x="74844" y="53401"/>
                    <a:pt x="91150" y="50616"/>
                    <a:pt x="104809" y="57165"/>
                  </a:cubicBezTo>
                  <a:lnTo>
                    <a:pt x="127917" y="68138"/>
                  </a:lnTo>
                  <a:cubicBezTo>
                    <a:pt x="137038" y="72474"/>
                    <a:pt x="147569" y="72744"/>
                    <a:pt x="156899" y="68880"/>
                  </a:cubicBezTo>
                  <a:cubicBezTo>
                    <a:pt x="166230" y="65017"/>
                    <a:pt x="173489" y="57383"/>
                    <a:pt x="176876" y="47869"/>
                  </a:cubicBezTo>
                  <a:lnTo>
                    <a:pt x="185448" y="23771"/>
                  </a:lnTo>
                  <a:cubicBezTo>
                    <a:pt x="190506" y="9521"/>
                    <a:pt x="203989" y="0"/>
                    <a:pt x="219109" y="0"/>
                  </a:cubicBezTo>
                  <a:cubicBezTo>
                    <a:pt x="234230" y="0"/>
                    <a:pt x="247713" y="9521"/>
                    <a:pt x="252771" y="23771"/>
                  </a:cubicBezTo>
                  <a:lnTo>
                    <a:pt x="261343" y="47869"/>
                  </a:lnTo>
                  <a:cubicBezTo>
                    <a:pt x="264726" y="57392"/>
                    <a:pt x="271985" y="65035"/>
                    <a:pt x="281322" y="68902"/>
                  </a:cubicBezTo>
                  <a:cubicBezTo>
                    <a:pt x="290658" y="72769"/>
                    <a:pt x="301195" y="72499"/>
                    <a:pt x="310321" y="68157"/>
                  </a:cubicBezTo>
                  <a:lnTo>
                    <a:pt x="333409" y="57165"/>
                  </a:lnTo>
                  <a:cubicBezTo>
                    <a:pt x="347069" y="50616"/>
                    <a:pt x="363375" y="53401"/>
                    <a:pt x="374087" y="64113"/>
                  </a:cubicBezTo>
                  <a:cubicBezTo>
                    <a:pt x="384799" y="74825"/>
                    <a:pt x="387584" y="91131"/>
                    <a:pt x="381034" y="104790"/>
                  </a:cubicBezTo>
                  <a:close/>
                  <a:moveTo>
                    <a:pt x="228634" y="304815"/>
                  </a:moveTo>
                  <a:lnTo>
                    <a:pt x="228634" y="171465"/>
                  </a:lnTo>
                  <a:lnTo>
                    <a:pt x="147177" y="130736"/>
                  </a:lnTo>
                  <a:cubicBezTo>
                    <a:pt x="144224" y="129257"/>
                    <a:pt x="140716" y="129412"/>
                    <a:pt x="137906" y="131147"/>
                  </a:cubicBezTo>
                  <a:cubicBezTo>
                    <a:pt x="135095" y="132882"/>
                    <a:pt x="133385" y="135949"/>
                    <a:pt x="133384" y="139252"/>
                  </a:cubicBezTo>
                  <a:lnTo>
                    <a:pt x="133384" y="295290"/>
                  </a:lnTo>
                  <a:cubicBezTo>
                    <a:pt x="133384" y="300551"/>
                    <a:pt x="137649" y="304815"/>
                    <a:pt x="142909" y="304815"/>
                  </a:cubicBezTo>
                  <a:close/>
                  <a:moveTo>
                    <a:pt x="228634" y="304815"/>
                  </a:moveTo>
                  <a:lnTo>
                    <a:pt x="314359" y="304815"/>
                  </a:lnTo>
                  <a:cubicBezTo>
                    <a:pt x="319620" y="304815"/>
                    <a:pt x="323884" y="300551"/>
                    <a:pt x="323884" y="295290"/>
                  </a:cubicBezTo>
                  <a:lnTo>
                    <a:pt x="323884" y="200040"/>
                  </a:lnTo>
                  <a:cubicBezTo>
                    <a:pt x="323884" y="194780"/>
                    <a:pt x="319620" y="190515"/>
                    <a:pt x="314359" y="190515"/>
                  </a:cubicBezTo>
                  <a:lnTo>
                    <a:pt x="228634" y="190515"/>
                  </a:lnTo>
                  <a:moveTo>
                    <a:pt x="133384" y="190515"/>
                  </a:moveTo>
                  <a:lnTo>
                    <a:pt x="181009" y="190515"/>
                  </a:lnTo>
                  <a:moveTo>
                    <a:pt x="133384" y="228615"/>
                  </a:moveTo>
                  <a:lnTo>
                    <a:pt x="181009" y="228615"/>
                  </a:lnTo>
                  <a:moveTo>
                    <a:pt x="228634" y="171465"/>
                  </a:moveTo>
                  <a:lnTo>
                    <a:pt x="228634" y="123840"/>
                  </a:lnTo>
                  <a:moveTo>
                    <a:pt x="304834" y="190515"/>
                  </a:moveTo>
                  <a:lnTo>
                    <a:pt x="304834" y="142890"/>
                  </a:lnTo>
                  <a:moveTo>
                    <a:pt x="228634" y="228615"/>
                  </a:moveTo>
                  <a:lnTo>
                    <a:pt x="276259" y="228615"/>
                  </a:lnTo>
                  <a:moveTo>
                    <a:pt x="228634" y="266715"/>
                  </a:moveTo>
                  <a:lnTo>
                    <a:pt x="276259" y="266715"/>
                  </a:lnTo>
                </a:path>
              </a:pathLst>
            </a:custGeom>
            <a:noFill/>
            <a:ln w="7143">
              <a:solidFill>
                <a:srgbClr val="FFFFFF"/>
              </a:solidFill>
            </a:ln>
          </p:spPr>
          <p:txBody>
            <a:bodyPr rtlCol="0" anchor="ctr"/>
            <a:lstStyle/>
            <a:p>
              <a:pPr algn="ctr"/>
              <a:endParaRPr/>
            </a:p>
          </p:txBody>
        </p:sp>
        <p:sp>
          <p:nvSpPr>
            <p:cNvPr id="25" name="Rounded Rectangle 24">
              <a:extLst>
                <a:ext uri="{FF2B5EF4-FFF2-40B4-BE49-F238E27FC236}">
                  <a16:creationId xmlns:a16="http://schemas.microsoft.com/office/drawing/2014/main" id="{672171E5-7352-D25D-768B-6B8416306087}"/>
                </a:ext>
              </a:extLst>
            </p:cNvPr>
            <p:cNvSpPr/>
            <p:nvPr/>
          </p:nvSpPr>
          <p:spPr>
            <a:xfrm>
              <a:off x="2925255" y="2713463"/>
              <a:ext cx="269992" cy="441438"/>
            </a:xfrm>
            <a:custGeom>
              <a:avLst/>
              <a:gdLst/>
              <a:ahLst/>
              <a:cxnLst/>
              <a:rect l="0" t="0" r="0" b="0"/>
              <a:pathLst>
                <a:path w="269992" h="441438">
                  <a:moveTo>
                    <a:pt x="101453" y="50552"/>
                  </a:moveTo>
                  <a:cubicBezTo>
                    <a:pt x="101808" y="68846"/>
                    <a:pt x="92252" y="85903"/>
                    <a:pt x="76466" y="95154"/>
                  </a:cubicBezTo>
                  <a:cubicBezTo>
                    <a:pt x="60680" y="104405"/>
                    <a:pt x="41128" y="104405"/>
                    <a:pt x="25342" y="95154"/>
                  </a:cubicBezTo>
                  <a:cubicBezTo>
                    <a:pt x="9556" y="85903"/>
                    <a:pt x="0" y="68846"/>
                    <a:pt x="355" y="50552"/>
                  </a:cubicBezTo>
                  <a:cubicBezTo>
                    <a:pt x="358" y="22632"/>
                    <a:pt x="22993" y="0"/>
                    <a:pt x="50913" y="0"/>
                  </a:cubicBezTo>
                  <a:cubicBezTo>
                    <a:pt x="78834" y="0"/>
                    <a:pt x="101469" y="22632"/>
                    <a:pt x="101472" y="50552"/>
                  </a:cubicBezTo>
                  <a:close/>
                  <a:moveTo>
                    <a:pt x="101453" y="219069"/>
                  </a:moveTo>
                  <a:cubicBezTo>
                    <a:pt x="101808" y="237362"/>
                    <a:pt x="92252" y="254420"/>
                    <a:pt x="76466" y="263671"/>
                  </a:cubicBezTo>
                  <a:cubicBezTo>
                    <a:pt x="60680" y="272921"/>
                    <a:pt x="41128" y="272921"/>
                    <a:pt x="25342" y="263671"/>
                  </a:cubicBezTo>
                  <a:cubicBezTo>
                    <a:pt x="9556" y="254420"/>
                    <a:pt x="0" y="237362"/>
                    <a:pt x="355" y="219069"/>
                  </a:cubicBezTo>
                  <a:cubicBezTo>
                    <a:pt x="358" y="191148"/>
                    <a:pt x="22993" y="168516"/>
                    <a:pt x="50913" y="168516"/>
                  </a:cubicBezTo>
                  <a:cubicBezTo>
                    <a:pt x="78834" y="168516"/>
                    <a:pt x="101469" y="191148"/>
                    <a:pt x="101472" y="219069"/>
                  </a:cubicBezTo>
                  <a:close/>
                  <a:moveTo>
                    <a:pt x="101453" y="387585"/>
                  </a:moveTo>
                  <a:cubicBezTo>
                    <a:pt x="101808" y="405878"/>
                    <a:pt x="92252" y="422936"/>
                    <a:pt x="76466" y="432187"/>
                  </a:cubicBezTo>
                  <a:cubicBezTo>
                    <a:pt x="60680" y="441438"/>
                    <a:pt x="41128" y="441438"/>
                    <a:pt x="25342" y="432187"/>
                  </a:cubicBezTo>
                  <a:cubicBezTo>
                    <a:pt x="9556" y="422936"/>
                    <a:pt x="0" y="405878"/>
                    <a:pt x="355" y="387585"/>
                  </a:cubicBezTo>
                  <a:cubicBezTo>
                    <a:pt x="358" y="359664"/>
                    <a:pt x="22993" y="337032"/>
                    <a:pt x="50913" y="337032"/>
                  </a:cubicBezTo>
                  <a:cubicBezTo>
                    <a:pt x="78834" y="337032"/>
                    <a:pt x="101469" y="359664"/>
                    <a:pt x="101472" y="387585"/>
                  </a:cubicBezTo>
                  <a:close/>
                  <a:moveTo>
                    <a:pt x="269988" y="50552"/>
                  </a:moveTo>
                  <a:cubicBezTo>
                    <a:pt x="269992" y="78477"/>
                    <a:pt x="247355" y="101117"/>
                    <a:pt x="219430" y="101117"/>
                  </a:cubicBezTo>
                  <a:cubicBezTo>
                    <a:pt x="191505" y="101117"/>
                    <a:pt x="168868" y="78477"/>
                    <a:pt x="168871" y="50552"/>
                  </a:cubicBezTo>
                  <a:cubicBezTo>
                    <a:pt x="168874" y="22632"/>
                    <a:pt x="191509" y="0"/>
                    <a:pt x="219430" y="0"/>
                  </a:cubicBezTo>
                  <a:cubicBezTo>
                    <a:pt x="247350" y="0"/>
                    <a:pt x="269985" y="22632"/>
                    <a:pt x="269988" y="50552"/>
                  </a:cubicBezTo>
                  <a:close/>
                  <a:moveTo>
                    <a:pt x="269988" y="219069"/>
                  </a:moveTo>
                  <a:cubicBezTo>
                    <a:pt x="269992" y="246994"/>
                    <a:pt x="247355" y="269633"/>
                    <a:pt x="219430" y="269633"/>
                  </a:cubicBezTo>
                  <a:cubicBezTo>
                    <a:pt x="191505" y="269633"/>
                    <a:pt x="168868" y="246994"/>
                    <a:pt x="168871" y="219069"/>
                  </a:cubicBezTo>
                  <a:cubicBezTo>
                    <a:pt x="168874" y="191148"/>
                    <a:pt x="191509" y="168516"/>
                    <a:pt x="219430" y="168516"/>
                  </a:cubicBezTo>
                  <a:cubicBezTo>
                    <a:pt x="247350" y="168516"/>
                    <a:pt x="269985" y="191148"/>
                    <a:pt x="269988" y="219069"/>
                  </a:cubicBezTo>
                  <a:close/>
                  <a:moveTo>
                    <a:pt x="269988" y="387585"/>
                  </a:moveTo>
                  <a:cubicBezTo>
                    <a:pt x="269992" y="415510"/>
                    <a:pt x="247355" y="438150"/>
                    <a:pt x="219430" y="438150"/>
                  </a:cubicBezTo>
                  <a:cubicBezTo>
                    <a:pt x="191505" y="438150"/>
                    <a:pt x="168868" y="415510"/>
                    <a:pt x="168871" y="387585"/>
                  </a:cubicBezTo>
                  <a:cubicBezTo>
                    <a:pt x="168874" y="359664"/>
                    <a:pt x="191509" y="337032"/>
                    <a:pt x="219430" y="337032"/>
                  </a:cubicBezTo>
                  <a:cubicBezTo>
                    <a:pt x="247350" y="337032"/>
                    <a:pt x="269985" y="359664"/>
                    <a:pt x="269988" y="387585"/>
                  </a:cubicBezTo>
                  <a:close/>
                </a:path>
              </a:pathLst>
            </a:custGeom>
            <a:noFill/>
            <a:ln w="7143">
              <a:solidFill>
                <a:srgbClr val="FFFFFF"/>
              </a:solidFill>
            </a:ln>
          </p:spPr>
          <p:txBody>
            <a:bodyPr rtlCol="0" anchor="ctr"/>
            <a:lstStyle/>
            <a:p>
              <a:pPr algn="ctr"/>
              <a:endParaRPr/>
            </a:p>
          </p:txBody>
        </p:sp>
        <p:sp>
          <p:nvSpPr>
            <p:cNvPr id="26" name="Rounded Rectangle 25">
              <a:extLst>
                <a:ext uri="{FF2B5EF4-FFF2-40B4-BE49-F238E27FC236}">
                  <a16:creationId xmlns:a16="http://schemas.microsoft.com/office/drawing/2014/main" id="{79C62CEB-9899-1310-89AC-D0D6A3F5796C}"/>
                </a:ext>
              </a:extLst>
            </p:cNvPr>
            <p:cNvSpPr/>
            <p:nvPr/>
          </p:nvSpPr>
          <p:spPr>
            <a:xfrm>
              <a:off x="3746227" y="2703933"/>
              <a:ext cx="442912" cy="450532"/>
            </a:xfrm>
            <a:custGeom>
              <a:avLst/>
              <a:gdLst/>
              <a:ahLst/>
              <a:cxnLst/>
              <a:rect l="0" t="0" r="0" b="0"/>
              <a:pathLst>
                <a:path w="442912" h="450532">
                  <a:moveTo>
                    <a:pt x="120967" y="309560"/>
                  </a:moveTo>
                  <a:cubicBezTo>
                    <a:pt x="117329" y="309560"/>
                    <a:pt x="114380" y="312509"/>
                    <a:pt x="114380" y="316148"/>
                  </a:cubicBezTo>
                  <a:cubicBezTo>
                    <a:pt x="114380" y="319784"/>
                    <a:pt x="117329" y="322733"/>
                    <a:pt x="120967" y="322733"/>
                  </a:cubicBezTo>
                  <a:moveTo>
                    <a:pt x="120965" y="322733"/>
                  </a:moveTo>
                  <a:cubicBezTo>
                    <a:pt x="124603" y="322733"/>
                    <a:pt x="127552" y="319784"/>
                    <a:pt x="127552" y="316148"/>
                  </a:cubicBezTo>
                  <a:cubicBezTo>
                    <a:pt x="127552" y="312509"/>
                    <a:pt x="124603" y="309560"/>
                    <a:pt x="120965" y="309560"/>
                  </a:cubicBezTo>
                  <a:moveTo>
                    <a:pt x="260150" y="436662"/>
                  </a:moveTo>
                  <a:cubicBezTo>
                    <a:pt x="243007" y="440472"/>
                    <a:pt x="221932" y="442912"/>
                    <a:pt x="202882" y="442912"/>
                  </a:cubicBezTo>
                  <a:cubicBezTo>
                    <a:pt x="105727" y="442912"/>
                    <a:pt x="37147" y="376237"/>
                    <a:pt x="27622" y="292417"/>
                  </a:cubicBezTo>
                  <a:cubicBezTo>
                    <a:pt x="27622" y="286702"/>
                    <a:pt x="29527" y="280987"/>
                    <a:pt x="31432" y="277177"/>
                  </a:cubicBezTo>
                  <a:cubicBezTo>
                    <a:pt x="35242" y="273367"/>
                    <a:pt x="40957" y="271462"/>
                    <a:pt x="46672" y="271462"/>
                  </a:cubicBezTo>
                  <a:lnTo>
                    <a:pt x="290512" y="271462"/>
                  </a:lnTo>
                  <a:cubicBezTo>
                    <a:pt x="317182" y="271462"/>
                    <a:pt x="338137" y="248602"/>
                    <a:pt x="340042" y="223837"/>
                  </a:cubicBezTo>
                  <a:cubicBezTo>
                    <a:pt x="307657" y="208597"/>
                    <a:pt x="284797" y="176212"/>
                    <a:pt x="284797" y="138112"/>
                  </a:cubicBezTo>
                  <a:cubicBezTo>
                    <a:pt x="319087" y="138112"/>
                    <a:pt x="347662" y="155257"/>
                    <a:pt x="364807" y="181927"/>
                  </a:cubicBezTo>
                  <a:cubicBezTo>
                    <a:pt x="381952" y="155257"/>
                    <a:pt x="410527" y="138112"/>
                    <a:pt x="442912" y="136207"/>
                  </a:cubicBezTo>
                  <a:cubicBezTo>
                    <a:pt x="442912" y="174307"/>
                    <a:pt x="420052" y="206692"/>
                    <a:pt x="387667" y="221932"/>
                  </a:cubicBezTo>
                  <a:lnTo>
                    <a:pt x="387667" y="269557"/>
                  </a:lnTo>
                  <a:cubicBezTo>
                    <a:pt x="387667" y="328612"/>
                    <a:pt x="362902" y="381952"/>
                    <a:pt x="315277" y="412432"/>
                  </a:cubicBezTo>
                  <a:moveTo>
                    <a:pt x="202882" y="397192"/>
                  </a:moveTo>
                  <a:cubicBezTo>
                    <a:pt x="231457" y="433387"/>
                    <a:pt x="279082" y="450532"/>
                    <a:pt x="326707" y="437197"/>
                  </a:cubicBezTo>
                  <a:cubicBezTo>
                    <a:pt x="317182" y="410527"/>
                    <a:pt x="300037" y="387667"/>
                    <a:pt x="279082" y="374332"/>
                  </a:cubicBezTo>
                  <a:moveTo>
                    <a:pt x="0" y="0"/>
                  </a:moveTo>
                  <a:moveTo>
                    <a:pt x="196308" y="208595"/>
                  </a:moveTo>
                  <a:lnTo>
                    <a:pt x="206694" y="155255"/>
                  </a:lnTo>
                  <a:cubicBezTo>
                    <a:pt x="227649" y="155255"/>
                    <a:pt x="244794" y="138110"/>
                    <a:pt x="244794" y="117155"/>
                  </a:cubicBezTo>
                  <a:cubicBezTo>
                    <a:pt x="244794" y="105725"/>
                    <a:pt x="240984" y="96200"/>
                    <a:pt x="229554" y="92390"/>
                  </a:cubicBezTo>
                  <a:cubicBezTo>
                    <a:pt x="231459" y="88580"/>
                    <a:pt x="231459" y="84770"/>
                    <a:pt x="231459" y="80960"/>
                  </a:cubicBezTo>
                  <a:cubicBezTo>
                    <a:pt x="231459" y="60005"/>
                    <a:pt x="214314" y="42860"/>
                    <a:pt x="193359" y="42860"/>
                  </a:cubicBezTo>
                  <a:cubicBezTo>
                    <a:pt x="191454" y="42860"/>
                    <a:pt x="187643" y="44765"/>
                    <a:pt x="183833" y="44765"/>
                  </a:cubicBezTo>
                  <a:cubicBezTo>
                    <a:pt x="180023" y="27620"/>
                    <a:pt x="164783" y="14285"/>
                    <a:pt x="145733" y="14285"/>
                  </a:cubicBezTo>
                  <a:cubicBezTo>
                    <a:pt x="138113" y="14285"/>
                    <a:pt x="128588" y="18095"/>
                    <a:pt x="122873" y="23810"/>
                  </a:cubicBezTo>
                  <a:cubicBezTo>
                    <a:pt x="117158" y="18095"/>
                    <a:pt x="109538" y="14285"/>
                    <a:pt x="100013" y="14285"/>
                  </a:cubicBezTo>
                  <a:cubicBezTo>
                    <a:pt x="80963" y="14285"/>
                    <a:pt x="65723" y="27620"/>
                    <a:pt x="61913" y="44765"/>
                  </a:cubicBezTo>
                  <a:cubicBezTo>
                    <a:pt x="60008" y="42860"/>
                    <a:pt x="56198" y="42860"/>
                    <a:pt x="52388" y="42860"/>
                  </a:cubicBezTo>
                  <a:cubicBezTo>
                    <a:pt x="31433" y="42860"/>
                    <a:pt x="14288" y="60005"/>
                    <a:pt x="14288" y="80960"/>
                  </a:cubicBezTo>
                  <a:cubicBezTo>
                    <a:pt x="14288" y="101915"/>
                    <a:pt x="31433" y="119060"/>
                    <a:pt x="52388" y="119060"/>
                  </a:cubicBezTo>
                  <a:lnTo>
                    <a:pt x="54293" y="119060"/>
                  </a:lnTo>
                  <a:cubicBezTo>
                    <a:pt x="58103" y="136205"/>
                    <a:pt x="73343" y="147635"/>
                    <a:pt x="90488" y="147635"/>
                  </a:cubicBezTo>
                  <a:cubicBezTo>
                    <a:pt x="100013" y="147635"/>
                    <a:pt x="107633" y="143825"/>
                    <a:pt x="113348" y="140015"/>
                  </a:cubicBezTo>
                  <a:cubicBezTo>
                    <a:pt x="135687" y="154907"/>
                    <a:pt x="140856" y="182195"/>
                    <a:pt x="140856" y="208595"/>
                  </a:cubicBezTo>
                  <a:moveTo>
                    <a:pt x="153275" y="96510"/>
                  </a:moveTo>
                  <a:cubicBezTo>
                    <a:pt x="149465" y="85080"/>
                    <a:pt x="139940" y="75555"/>
                    <a:pt x="126605" y="77460"/>
                  </a:cubicBezTo>
                  <a:cubicBezTo>
                    <a:pt x="120890" y="77460"/>
                    <a:pt x="115175" y="81269"/>
                    <a:pt x="111365" y="85079"/>
                  </a:cubicBezTo>
                </a:path>
              </a:pathLst>
            </a:custGeom>
            <a:noFill/>
            <a:ln w="7143">
              <a:solidFill>
                <a:srgbClr val="FFFFFF"/>
              </a:solidFill>
            </a:ln>
          </p:spPr>
          <p:txBody>
            <a:bodyPr rtlCol="0" anchor="ctr"/>
            <a:lstStyle/>
            <a:p>
              <a:pPr algn="ctr"/>
              <a:endParaRPr/>
            </a:p>
          </p:txBody>
        </p:sp>
      </p:grpSp>
    </p:spTree>
    <p:extLst>
      <p:ext uri="{BB962C8B-B14F-4D97-AF65-F5344CB8AC3E}">
        <p14:creationId xmlns:p14="http://schemas.microsoft.com/office/powerpoint/2010/main" val="31337804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B2445E-218A-1F7D-31A5-29C4C5ECDC4E}"/>
              </a:ext>
            </a:extLst>
          </p:cNvPr>
          <p:cNvSpPr>
            <a:spLocks noGrp="1"/>
          </p:cNvSpPr>
          <p:nvPr>
            <p:ph type="title"/>
          </p:nvPr>
        </p:nvSpPr>
        <p:spPr/>
        <p:txBody>
          <a:bodyPr/>
          <a:lstStyle/>
          <a:p>
            <a:r>
              <a:rPr lang="en-US"/>
              <a:t>Top Open-Source AI Agent Platforms</a:t>
            </a:r>
          </a:p>
        </p:txBody>
      </p:sp>
      <p:grpSp>
        <p:nvGrpSpPr>
          <p:cNvPr id="33" name="Group 32">
            <a:extLst>
              <a:ext uri="{FF2B5EF4-FFF2-40B4-BE49-F238E27FC236}">
                <a16:creationId xmlns:a16="http://schemas.microsoft.com/office/drawing/2014/main" id="{F4AA5D8F-560F-C2D0-B8EF-0E6F0428201C}"/>
              </a:ext>
            </a:extLst>
          </p:cNvPr>
          <p:cNvGrpSpPr>
            <a:grpSpLocks noChangeAspect="1"/>
          </p:cNvGrpSpPr>
          <p:nvPr/>
        </p:nvGrpSpPr>
        <p:grpSpPr>
          <a:xfrm>
            <a:off x="1465116" y="1130036"/>
            <a:ext cx="9432758" cy="5120640"/>
            <a:chOff x="711279" y="1335309"/>
            <a:chExt cx="7385539" cy="4009292"/>
          </a:xfrm>
        </p:grpSpPr>
        <p:grpSp>
          <p:nvGrpSpPr>
            <p:cNvPr id="3" name="Group 2">
              <a:extLst>
                <a:ext uri="{FF2B5EF4-FFF2-40B4-BE49-F238E27FC236}">
                  <a16:creationId xmlns:a16="http://schemas.microsoft.com/office/drawing/2014/main" id="{363D4DD6-A527-32CC-CC90-5AA5C07621A7}"/>
                </a:ext>
              </a:extLst>
            </p:cNvPr>
            <p:cNvGrpSpPr/>
            <p:nvPr/>
          </p:nvGrpSpPr>
          <p:grpSpPr>
            <a:xfrm>
              <a:off x="711279" y="1335309"/>
              <a:ext cx="1688123" cy="1688123"/>
              <a:chOff x="422030" y="1160584"/>
              <a:chExt cx="1688123" cy="1688123"/>
            </a:xfrm>
          </p:grpSpPr>
          <p:sp>
            <p:nvSpPr>
              <p:cNvPr id="4" name="Rounded Rectangle 1">
                <a:extLst>
                  <a:ext uri="{FF2B5EF4-FFF2-40B4-BE49-F238E27FC236}">
                    <a16:creationId xmlns:a16="http://schemas.microsoft.com/office/drawing/2014/main" id="{EF86EC2C-F501-F750-9ACB-10E1A455C052}"/>
                  </a:ext>
                </a:extLst>
              </p:cNvPr>
              <p:cNvSpPr/>
              <p:nvPr/>
            </p:nvSpPr>
            <p:spPr>
              <a:xfrm>
                <a:off x="422030" y="1160584"/>
                <a:ext cx="1688123" cy="1688123"/>
              </a:xfrm>
              <a:custGeom>
                <a:avLst/>
                <a:gdLst/>
                <a:ahLst/>
                <a:cxnLst/>
                <a:rect l="0" t="0" r="0" b="0"/>
                <a:pathLst>
                  <a:path w="1688123" h="1688123">
                    <a:moveTo>
                      <a:pt x="1688123" y="422030"/>
                    </a:moveTo>
                    <a:lnTo>
                      <a:pt x="0" y="422030"/>
                    </a:lnTo>
                    <a:cubicBezTo>
                      <a:pt x="0" y="188949"/>
                      <a:pt x="0" y="0"/>
                      <a:pt x="0" y="0"/>
                    </a:cubicBezTo>
                    <a:lnTo>
                      <a:pt x="1688123" y="0"/>
                    </a:lnTo>
                    <a:lnTo>
                      <a:pt x="1688123" y="422030"/>
                    </a:lnTo>
                    <a:close/>
                    <a:moveTo>
                      <a:pt x="1688123" y="1266092"/>
                    </a:moveTo>
                    <a:lnTo>
                      <a:pt x="1688123" y="422030"/>
                    </a:lnTo>
                    <a:lnTo>
                      <a:pt x="0" y="422030"/>
                    </a:lnTo>
                    <a:lnTo>
                      <a:pt x="0" y="1266092"/>
                    </a:lnTo>
                    <a:lnTo>
                      <a:pt x="1688123" y="1266092"/>
                    </a:lnTo>
                    <a:close/>
                    <a:moveTo>
                      <a:pt x="0" y="1266092"/>
                    </a:moveTo>
                    <a:lnTo>
                      <a:pt x="0" y="1688123"/>
                    </a:lnTo>
                    <a:lnTo>
                      <a:pt x="941374" y="1688123"/>
                    </a:lnTo>
                    <a:cubicBezTo>
                      <a:pt x="1166906" y="1688123"/>
                      <a:pt x="1406769" y="1688123"/>
                      <a:pt x="1626576" y="1635369"/>
                    </a:cubicBezTo>
                    <a:cubicBezTo>
                      <a:pt x="1626576" y="1635369"/>
                      <a:pt x="1688123" y="1556238"/>
                      <a:pt x="1688123" y="1266092"/>
                    </a:cubicBezTo>
                    <a:lnTo>
                      <a:pt x="0" y="1266092"/>
                    </a:lnTo>
                    <a:close/>
                  </a:path>
                </a:pathLst>
              </a:custGeom>
              <a:solidFill>
                <a:srgbClr val="0979E1"/>
              </a:solidFill>
              <a:ln>
                <a:noFill/>
              </a:ln>
            </p:spPr>
            <p:txBody>
              <a:bodyPr rtlCol="0" anchor="ctr"/>
              <a:lstStyle/>
              <a:p>
                <a:pPr algn="ctr"/>
                <a:endParaRPr sz="2800"/>
              </a:p>
            </p:txBody>
          </p:sp>
          <p:sp>
            <p:nvSpPr>
              <p:cNvPr id="5" name="Rounded Rectangle 2">
                <a:extLst>
                  <a:ext uri="{FF2B5EF4-FFF2-40B4-BE49-F238E27FC236}">
                    <a16:creationId xmlns:a16="http://schemas.microsoft.com/office/drawing/2014/main" id="{790C654A-B84C-BCE8-A04C-30C83C4C39B8}"/>
                  </a:ext>
                </a:extLst>
              </p:cNvPr>
              <p:cNvSpPr/>
              <p:nvPr/>
            </p:nvSpPr>
            <p:spPr>
              <a:xfrm>
                <a:off x="422030" y="1160584"/>
                <a:ext cx="1688123" cy="1688123"/>
              </a:xfrm>
              <a:custGeom>
                <a:avLst/>
                <a:gdLst/>
                <a:ahLst/>
                <a:cxnLst/>
                <a:rect l="0" t="0" r="0" b="0"/>
                <a:pathLst>
                  <a:path w="1688123" h="1688123">
                    <a:moveTo>
                      <a:pt x="1688123" y="422030"/>
                    </a:moveTo>
                    <a:lnTo>
                      <a:pt x="1688123" y="0"/>
                    </a:lnTo>
                    <a:lnTo>
                      <a:pt x="0" y="0"/>
                    </a:lnTo>
                    <a:lnTo>
                      <a:pt x="0" y="422029"/>
                    </a:lnTo>
                    <a:moveTo>
                      <a:pt x="1688123" y="1266092"/>
                    </a:moveTo>
                    <a:lnTo>
                      <a:pt x="1688123" y="422030"/>
                    </a:lnTo>
                    <a:moveTo>
                      <a:pt x="0" y="1266092"/>
                    </a:moveTo>
                    <a:lnTo>
                      <a:pt x="0" y="422030"/>
                    </a:lnTo>
                    <a:moveTo>
                      <a:pt x="0" y="1266092"/>
                    </a:moveTo>
                    <a:lnTo>
                      <a:pt x="0" y="1688123"/>
                    </a:lnTo>
                    <a:lnTo>
                      <a:pt x="941377" y="1688123"/>
                    </a:lnTo>
                    <a:cubicBezTo>
                      <a:pt x="1166907" y="1688123"/>
                      <a:pt x="1406769" y="1688123"/>
                      <a:pt x="1626576" y="1635369"/>
                    </a:cubicBezTo>
                    <a:cubicBezTo>
                      <a:pt x="1626576" y="1635369"/>
                      <a:pt x="1688123" y="1556238"/>
                      <a:pt x="1688123" y="1266092"/>
                    </a:cubicBezTo>
                  </a:path>
                </a:pathLst>
              </a:custGeom>
              <a:noFill/>
              <a:ln w="6594">
                <a:solidFill>
                  <a:srgbClr val="FFFFFF"/>
                </a:solidFill>
              </a:ln>
            </p:spPr>
            <p:txBody>
              <a:bodyPr rtlCol="0" anchor="ctr"/>
              <a:lstStyle/>
              <a:p>
                <a:pPr algn="ctr"/>
                <a:endParaRPr sz="2800"/>
              </a:p>
            </p:txBody>
          </p:sp>
        </p:grpSp>
        <p:grpSp>
          <p:nvGrpSpPr>
            <p:cNvPr id="6" name="Group 5">
              <a:extLst>
                <a:ext uri="{FF2B5EF4-FFF2-40B4-BE49-F238E27FC236}">
                  <a16:creationId xmlns:a16="http://schemas.microsoft.com/office/drawing/2014/main" id="{D3F15ABC-6047-89A4-DF2F-D1C8E80957AD}"/>
                </a:ext>
              </a:extLst>
            </p:cNvPr>
            <p:cNvGrpSpPr/>
            <p:nvPr/>
          </p:nvGrpSpPr>
          <p:grpSpPr>
            <a:xfrm>
              <a:off x="711279" y="3234448"/>
              <a:ext cx="1688123" cy="1899138"/>
              <a:chOff x="422030" y="3059723"/>
              <a:chExt cx="1688123" cy="1899138"/>
            </a:xfrm>
          </p:grpSpPr>
          <p:sp>
            <p:nvSpPr>
              <p:cNvPr id="7" name="Rounded Rectangle 4">
                <a:extLst>
                  <a:ext uri="{FF2B5EF4-FFF2-40B4-BE49-F238E27FC236}">
                    <a16:creationId xmlns:a16="http://schemas.microsoft.com/office/drawing/2014/main" id="{E4E6F50C-21F3-B134-F245-54936236F3F4}"/>
                  </a:ext>
                </a:extLst>
              </p:cNvPr>
              <p:cNvSpPr/>
              <p:nvPr/>
            </p:nvSpPr>
            <p:spPr>
              <a:xfrm>
                <a:off x="422030" y="3059723"/>
                <a:ext cx="1688123" cy="1899138"/>
              </a:xfrm>
              <a:custGeom>
                <a:avLst/>
                <a:gdLst/>
                <a:ahLst/>
                <a:cxnLst/>
                <a:rect l="0" t="0" r="0" b="0"/>
                <a:pathLst>
                  <a:path w="1688123" h="1899138">
                    <a:moveTo>
                      <a:pt x="1688123" y="422030"/>
                    </a:moveTo>
                    <a:lnTo>
                      <a:pt x="0" y="422030"/>
                    </a:lnTo>
                    <a:cubicBezTo>
                      <a:pt x="0" y="188949"/>
                      <a:pt x="0" y="0"/>
                      <a:pt x="0" y="0"/>
                    </a:cubicBezTo>
                    <a:lnTo>
                      <a:pt x="1688123" y="0"/>
                    </a:lnTo>
                    <a:lnTo>
                      <a:pt x="1688123" y="422030"/>
                    </a:lnTo>
                    <a:close/>
                    <a:moveTo>
                      <a:pt x="1688123" y="1477107"/>
                    </a:moveTo>
                    <a:lnTo>
                      <a:pt x="1688123" y="422030"/>
                    </a:lnTo>
                    <a:lnTo>
                      <a:pt x="0" y="422030"/>
                    </a:lnTo>
                    <a:lnTo>
                      <a:pt x="0" y="1477107"/>
                    </a:lnTo>
                    <a:lnTo>
                      <a:pt x="1688123" y="1477107"/>
                    </a:lnTo>
                    <a:close/>
                    <a:moveTo>
                      <a:pt x="0" y="1477107"/>
                    </a:moveTo>
                    <a:lnTo>
                      <a:pt x="0" y="1899138"/>
                    </a:lnTo>
                    <a:lnTo>
                      <a:pt x="1208942" y="1899138"/>
                    </a:lnTo>
                    <a:cubicBezTo>
                      <a:pt x="1298922" y="1899138"/>
                      <a:pt x="1456331" y="1893579"/>
                      <a:pt x="1521069" y="1846384"/>
                    </a:cubicBezTo>
                    <a:lnTo>
                      <a:pt x="1622180" y="1762857"/>
                    </a:lnTo>
                    <a:cubicBezTo>
                      <a:pt x="1652953" y="1732084"/>
                      <a:pt x="1681221" y="1696112"/>
                      <a:pt x="1684157" y="1633739"/>
                    </a:cubicBezTo>
                    <a:cubicBezTo>
                      <a:pt x="1686232" y="1589601"/>
                      <a:pt x="1688123" y="1538889"/>
                      <a:pt x="1688123" y="1500237"/>
                    </a:cubicBezTo>
                    <a:lnTo>
                      <a:pt x="1688123" y="1477107"/>
                    </a:lnTo>
                    <a:lnTo>
                      <a:pt x="0" y="1477107"/>
                    </a:lnTo>
                    <a:close/>
                  </a:path>
                </a:pathLst>
              </a:custGeom>
              <a:solidFill>
                <a:srgbClr val="56ADFF"/>
              </a:solidFill>
              <a:ln>
                <a:noFill/>
              </a:ln>
            </p:spPr>
            <p:txBody>
              <a:bodyPr rtlCol="0" anchor="ctr"/>
              <a:lstStyle/>
              <a:p>
                <a:pPr algn="ctr"/>
                <a:endParaRPr sz="2800"/>
              </a:p>
            </p:txBody>
          </p:sp>
          <p:sp>
            <p:nvSpPr>
              <p:cNvPr id="8" name="Rounded Rectangle 5">
                <a:extLst>
                  <a:ext uri="{FF2B5EF4-FFF2-40B4-BE49-F238E27FC236}">
                    <a16:creationId xmlns:a16="http://schemas.microsoft.com/office/drawing/2014/main" id="{6609751B-6ED0-5E21-7C25-BC379D13C4AB}"/>
                  </a:ext>
                </a:extLst>
              </p:cNvPr>
              <p:cNvSpPr/>
              <p:nvPr/>
            </p:nvSpPr>
            <p:spPr>
              <a:xfrm>
                <a:off x="422030" y="3059723"/>
                <a:ext cx="1688123" cy="1899138"/>
              </a:xfrm>
              <a:custGeom>
                <a:avLst/>
                <a:gdLst/>
                <a:ahLst/>
                <a:cxnLst/>
                <a:rect l="0" t="0" r="0" b="0"/>
                <a:pathLst>
                  <a:path w="1688123" h="1899138">
                    <a:moveTo>
                      <a:pt x="1688123" y="422030"/>
                    </a:moveTo>
                    <a:lnTo>
                      <a:pt x="1688123" y="0"/>
                    </a:lnTo>
                    <a:lnTo>
                      <a:pt x="0" y="0"/>
                    </a:lnTo>
                    <a:lnTo>
                      <a:pt x="0" y="422029"/>
                    </a:lnTo>
                    <a:moveTo>
                      <a:pt x="1688123" y="1477107"/>
                    </a:moveTo>
                    <a:lnTo>
                      <a:pt x="1688123" y="422030"/>
                    </a:lnTo>
                    <a:moveTo>
                      <a:pt x="0" y="1477107"/>
                    </a:moveTo>
                    <a:lnTo>
                      <a:pt x="0" y="422030"/>
                    </a:lnTo>
                    <a:moveTo>
                      <a:pt x="0" y="1477107"/>
                    </a:moveTo>
                    <a:lnTo>
                      <a:pt x="0" y="1899138"/>
                    </a:lnTo>
                    <a:lnTo>
                      <a:pt x="1208942" y="1899138"/>
                    </a:lnTo>
                    <a:cubicBezTo>
                      <a:pt x="1298923" y="1899138"/>
                      <a:pt x="1456327" y="1893579"/>
                      <a:pt x="1521069" y="1846384"/>
                    </a:cubicBezTo>
                    <a:lnTo>
                      <a:pt x="1622180" y="1762857"/>
                    </a:lnTo>
                    <a:cubicBezTo>
                      <a:pt x="1652953" y="1732084"/>
                      <a:pt x="1681220" y="1696112"/>
                      <a:pt x="1684157" y="1633739"/>
                    </a:cubicBezTo>
                    <a:cubicBezTo>
                      <a:pt x="1686236" y="1589601"/>
                      <a:pt x="1688123" y="1538889"/>
                      <a:pt x="1688123" y="1500237"/>
                    </a:cubicBezTo>
                    <a:lnTo>
                      <a:pt x="1688123" y="1477107"/>
                    </a:lnTo>
                    <a:moveTo>
                      <a:pt x="1683726" y="1644161"/>
                    </a:moveTo>
                    <a:cubicBezTo>
                      <a:pt x="1670538" y="1758461"/>
                      <a:pt x="1534257" y="1745273"/>
                      <a:pt x="1534257" y="1745273"/>
                    </a:cubicBezTo>
                    <a:cubicBezTo>
                      <a:pt x="1503484" y="1824403"/>
                      <a:pt x="1481503" y="1872761"/>
                      <a:pt x="1367203" y="1890346"/>
                    </a:cubicBezTo>
                  </a:path>
                </a:pathLst>
              </a:custGeom>
              <a:noFill/>
              <a:ln w="6594">
                <a:solidFill>
                  <a:srgbClr val="FFFFFF"/>
                </a:solidFill>
              </a:ln>
            </p:spPr>
            <p:txBody>
              <a:bodyPr rtlCol="0" anchor="ctr"/>
              <a:lstStyle/>
              <a:p>
                <a:pPr algn="ctr"/>
                <a:endParaRPr sz="2800"/>
              </a:p>
            </p:txBody>
          </p:sp>
        </p:grpSp>
        <p:grpSp>
          <p:nvGrpSpPr>
            <p:cNvPr id="9" name="Group 8">
              <a:extLst>
                <a:ext uri="{FF2B5EF4-FFF2-40B4-BE49-F238E27FC236}">
                  <a16:creationId xmlns:a16="http://schemas.microsoft.com/office/drawing/2014/main" id="{BC90D44C-D2E4-8F44-37CC-AF436AD34D29}"/>
                </a:ext>
              </a:extLst>
            </p:cNvPr>
            <p:cNvGrpSpPr/>
            <p:nvPr/>
          </p:nvGrpSpPr>
          <p:grpSpPr>
            <a:xfrm>
              <a:off x="2610418" y="1440817"/>
              <a:ext cx="1688123" cy="2004646"/>
              <a:chOff x="2321169" y="1266092"/>
              <a:chExt cx="1688123" cy="2004646"/>
            </a:xfrm>
          </p:grpSpPr>
          <p:sp>
            <p:nvSpPr>
              <p:cNvPr id="10" name="Rounded Rectangle 7">
                <a:extLst>
                  <a:ext uri="{FF2B5EF4-FFF2-40B4-BE49-F238E27FC236}">
                    <a16:creationId xmlns:a16="http://schemas.microsoft.com/office/drawing/2014/main" id="{0DF5AD01-50D9-4446-8741-4A0C7A2953A2}"/>
                  </a:ext>
                </a:extLst>
              </p:cNvPr>
              <p:cNvSpPr/>
              <p:nvPr/>
            </p:nvSpPr>
            <p:spPr>
              <a:xfrm>
                <a:off x="2321169" y="1266092"/>
                <a:ext cx="1688123" cy="2004646"/>
              </a:xfrm>
              <a:custGeom>
                <a:avLst/>
                <a:gdLst/>
                <a:ahLst/>
                <a:cxnLst/>
                <a:rect l="0" t="0" r="0" b="0"/>
                <a:pathLst>
                  <a:path w="1688123" h="2004646">
                    <a:moveTo>
                      <a:pt x="1688123" y="422030"/>
                    </a:moveTo>
                    <a:lnTo>
                      <a:pt x="0" y="422030"/>
                    </a:lnTo>
                    <a:cubicBezTo>
                      <a:pt x="0" y="188949"/>
                      <a:pt x="0" y="0"/>
                      <a:pt x="0" y="0"/>
                    </a:cubicBezTo>
                    <a:lnTo>
                      <a:pt x="1688123" y="0"/>
                    </a:lnTo>
                    <a:lnTo>
                      <a:pt x="1688123" y="422030"/>
                    </a:lnTo>
                    <a:close/>
                    <a:moveTo>
                      <a:pt x="1688123" y="1582615"/>
                    </a:moveTo>
                    <a:lnTo>
                      <a:pt x="1688123" y="422030"/>
                    </a:lnTo>
                    <a:lnTo>
                      <a:pt x="0" y="422030"/>
                    </a:lnTo>
                    <a:lnTo>
                      <a:pt x="0" y="1582615"/>
                    </a:lnTo>
                    <a:lnTo>
                      <a:pt x="1688123" y="1582615"/>
                    </a:lnTo>
                    <a:close/>
                    <a:moveTo>
                      <a:pt x="1688123" y="1582615"/>
                    </a:moveTo>
                    <a:lnTo>
                      <a:pt x="1688123" y="2004646"/>
                    </a:lnTo>
                    <a:lnTo>
                      <a:pt x="479180" y="2004646"/>
                    </a:lnTo>
                    <a:cubicBezTo>
                      <a:pt x="389199" y="2004646"/>
                      <a:pt x="231795" y="1999086"/>
                      <a:pt x="167053" y="1951892"/>
                    </a:cubicBezTo>
                    <a:lnTo>
                      <a:pt x="65942" y="1868365"/>
                    </a:lnTo>
                    <a:cubicBezTo>
                      <a:pt x="35169" y="1837592"/>
                      <a:pt x="6902" y="1801620"/>
                      <a:pt x="3965" y="1739246"/>
                    </a:cubicBezTo>
                    <a:cubicBezTo>
                      <a:pt x="1886" y="1695109"/>
                      <a:pt x="0" y="1644397"/>
                      <a:pt x="0" y="1605745"/>
                    </a:cubicBezTo>
                    <a:lnTo>
                      <a:pt x="0" y="1582615"/>
                    </a:lnTo>
                    <a:lnTo>
                      <a:pt x="1688123" y="1582615"/>
                    </a:lnTo>
                    <a:close/>
                  </a:path>
                </a:pathLst>
              </a:custGeom>
              <a:solidFill>
                <a:srgbClr val="0D8AFF"/>
              </a:solidFill>
              <a:ln>
                <a:noFill/>
              </a:ln>
            </p:spPr>
            <p:txBody>
              <a:bodyPr rtlCol="0" anchor="ctr"/>
              <a:lstStyle/>
              <a:p>
                <a:pPr algn="ctr"/>
                <a:endParaRPr sz="2800"/>
              </a:p>
            </p:txBody>
          </p:sp>
          <p:sp>
            <p:nvSpPr>
              <p:cNvPr id="11" name="Rounded Rectangle 8">
                <a:extLst>
                  <a:ext uri="{FF2B5EF4-FFF2-40B4-BE49-F238E27FC236}">
                    <a16:creationId xmlns:a16="http://schemas.microsoft.com/office/drawing/2014/main" id="{A396BF56-A57B-98F9-ECFC-CBD633A36062}"/>
                  </a:ext>
                </a:extLst>
              </p:cNvPr>
              <p:cNvSpPr/>
              <p:nvPr/>
            </p:nvSpPr>
            <p:spPr>
              <a:xfrm>
                <a:off x="2321169" y="1266092"/>
                <a:ext cx="1688123" cy="2004646"/>
              </a:xfrm>
              <a:custGeom>
                <a:avLst/>
                <a:gdLst/>
                <a:ahLst/>
                <a:cxnLst/>
                <a:rect l="0" t="0" r="0" b="0"/>
                <a:pathLst>
                  <a:path w="1688123" h="2004646">
                    <a:moveTo>
                      <a:pt x="1688123" y="422030"/>
                    </a:moveTo>
                    <a:lnTo>
                      <a:pt x="1688123" y="0"/>
                    </a:lnTo>
                    <a:lnTo>
                      <a:pt x="0" y="0"/>
                    </a:lnTo>
                    <a:lnTo>
                      <a:pt x="0" y="422029"/>
                    </a:lnTo>
                    <a:moveTo>
                      <a:pt x="1688123" y="1582615"/>
                    </a:moveTo>
                    <a:lnTo>
                      <a:pt x="1688123" y="422030"/>
                    </a:lnTo>
                    <a:moveTo>
                      <a:pt x="0" y="1582615"/>
                    </a:moveTo>
                    <a:lnTo>
                      <a:pt x="0" y="422030"/>
                    </a:lnTo>
                    <a:moveTo>
                      <a:pt x="1688123" y="1582615"/>
                    </a:moveTo>
                    <a:lnTo>
                      <a:pt x="1688123" y="2004646"/>
                    </a:lnTo>
                    <a:lnTo>
                      <a:pt x="479180" y="2004646"/>
                    </a:lnTo>
                    <a:cubicBezTo>
                      <a:pt x="389199" y="2004646"/>
                      <a:pt x="231795" y="1999086"/>
                      <a:pt x="167053" y="1951892"/>
                    </a:cubicBezTo>
                    <a:lnTo>
                      <a:pt x="65942" y="1868365"/>
                    </a:lnTo>
                    <a:cubicBezTo>
                      <a:pt x="35169" y="1837592"/>
                      <a:pt x="6902" y="1801620"/>
                      <a:pt x="3965" y="1739246"/>
                    </a:cubicBezTo>
                    <a:cubicBezTo>
                      <a:pt x="1886" y="1695109"/>
                      <a:pt x="0" y="1644397"/>
                      <a:pt x="0" y="1605745"/>
                    </a:cubicBezTo>
                    <a:lnTo>
                      <a:pt x="0" y="1582615"/>
                    </a:lnTo>
                    <a:moveTo>
                      <a:pt x="4396" y="1749669"/>
                    </a:moveTo>
                    <a:cubicBezTo>
                      <a:pt x="17584" y="1863969"/>
                      <a:pt x="153865" y="1850780"/>
                      <a:pt x="153865" y="1850780"/>
                    </a:cubicBezTo>
                    <a:cubicBezTo>
                      <a:pt x="184638" y="1929911"/>
                      <a:pt x="206619" y="1978269"/>
                      <a:pt x="320919" y="1995853"/>
                    </a:cubicBezTo>
                  </a:path>
                </a:pathLst>
              </a:custGeom>
              <a:noFill/>
              <a:ln w="6594">
                <a:solidFill>
                  <a:srgbClr val="FFFFFF"/>
                </a:solidFill>
              </a:ln>
            </p:spPr>
            <p:txBody>
              <a:bodyPr rtlCol="0" anchor="ctr"/>
              <a:lstStyle/>
              <a:p>
                <a:pPr algn="ctr"/>
                <a:endParaRPr sz="2800"/>
              </a:p>
            </p:txBody>
          </p:sp>
        </p:grpSp>
        <p:grpSp>
          <p:nvGrpSpPr>
            <p:cNvPr id="12" name="Group 11">
              <a:extLst>
                <a:ext uri="{FF2B5EF4-FFF2-40B4-BE49-F238E27FC236}">
                  <a16:creationId xmlns:a16="http://schemas.microsoft.com/office/drawing/2014/main" id="{190C552F-A25D-0AAB-ED4A-1F1621948CFB}"/>
                </a:ext>
              </a:extLst>
            </p:cNvPr>
            <p:cNvGrpSpPr/>
            <p:nvPr/>
          </p:nvGrpSpPr>
          <p:grpSpPr>
            <a:xfrm>
              <a:off x="2610418" y="3656478"/>
              <a:ext cx="1688123" cy="1688123"/>
              <a:chOff x="2321169" y="3481753"/>
              <a:chExt cx="1688123" cy="1688123"/>
            </a:xfrm>
          </p:grpSpPr>
          <p:sp>
            <p:nvSpPr>
              <p:cNvPr id="13" name="Rounded Rectangle 10">
                <a:extLst>
                  <a:ext uri="{FF2B5EF4-FFF2-40B4-BE49-F238E27FC236}">
                    <a16:creationId xmlns:a16="http://schemas.microsoft.com/office/drawing/2014/main" id="{2187DC3D-E593-2612-57F0-FBE27E107AC7}"/>
                  </a:ext>
                </a:extLst>
              </p:cNvPr>
              <p:cNvSpPr/>
              <p:nvPr/>
            </p:nvSpPr>
            <p:spPr>
              <a:xfrm>
                <a:off x="2321169" y="3481753"/>
                <a:ext cx="1688123" cy="1688123"/>
              </a:xfrm>
              <a:custGeom>
                <a:avLst/>
                <a:gdLst/>
                <a:ahLst/>
                <a:cxnLst/>
                <a:rect l="0" t="0" r="0" b="0"/>
                <a:pathLst>
                  <a:path w="1688123" h="1688123">
                    <a:moveTo>
                      <a:pt x="1688123" y="422030"/>
                    </a:moveTo>
                    <a:lnTo>
                      <a:pt x="0" y="422030"/>
                    </a:lnTo>
                    <a:cubicBezTo>
                      <a:pt x="0" y="188949"/>
                      <a:pt x="0" y="0"/>
                      <a:pt x="0" y="0"/>
                    </a:cubicBezTo>
                    <a:lnTo>
                      <a:pt x="1688123" y="0"/>
                    </a:lnTo>
                    <a:lnTo>
                      <a:pt x="1688123" y="422030"/>
                    </a:lnTo>
                    <a:close/>
                    <a:moveTo>
                      <a:pt x="1688123" y="1266092"/>
                    </a:moveTo>
                    <a:lnTo>
                      <a:pt x="1688123" y="422030"/>
                    </a:lnTo>
                    <a:lnTo>
                      <a:pt x="0" y="422030"/>
                    </a:lnTo>
                    <a:lnTo>
                      <a:pt x="0" y="1266092"/>
                    </a:lnTo>
                    <a:lnTo>
                      <a:pt x="1688123" y="1266092"/>
                    </a:lnTo>
                    <a:close/>
                    <a:moveTo>
                      <a:pt x="1688123" y="1266092"/>
                    </a:moveTo>
                    <a:lnTo>
                      <a:pt x="1688123" y="1688123"/>
                    </a:lnTo>
                    <a:lnTo>
                      <a:pt x="746745" y="1688123"/>
                    </a:lnTo>
                    <a:cubicBezTo>
                      <a:pt x="531083" y="1688123"/>
                      <a:pt x="316234" y="1661674"/>
                      <a:pt x="107011" y="1609368"/>
                    </a:cubicBezTo>
                    <a:lnTo>
                      <a:pt x="79918" y="1602595"/>
                    </a:lnTo>
                    <a:cubicBezTo>
                      <a:pt x="32950" y="1590852"/>
                      <a:pt x="0" y="1548651"/>
                      <a:pt x="0" y="1500237"/>
                    </a:cubicBezTo>
                    <a:lnTo>
                      <a:pt x="0" y="1266092"/>
                    </a:lnTo>
                    <a:lnTo>
                      <a:pt x="1688123" y="1266092"/>
                    </a:lnTo>
                    <a:close/>
                  </a:path>
                </a:pathLst>
              </a:custGeom>
              <a:solidFill>
                <a:srgbClr val="8AC6FF"/>
              </a:solidFill>
              <a:ln>
                <a:noFill/>
              </a:ln>
            </p:spPr>
            <p:txBody>
              <a:bodyPr rtlCol="0" anchor="ctr"/>
              <a:lstStyle/>
              <a:p>
                <a:pPr algn="ctr"/>
                <a:endParaRPr sz="2800"/>
              </a:p>
            </p:txBody>
          </p:sp>
          <p:sp>
            <p:nvSpPr>
              <p:cNvPr id="14" name="Rounded Rectangle 11">
                <a:extLst>
                  <a:ext uri="{FF2B5EF4-FFF2-40B4-BE49-F238E27FC236}">
                    <a16:creationId xmlns:a16="http://schemas.microsoft.com/office/drawing/2014/main" id="{21E99C41-FB1B-0419-37B7-F69A1DAA748D}"/>
                  </a:ext>
                </a:extLst>
              </p:cNvPr>
              <p:cNvSpPr/>
              <p:nvPr/>
            </p:nvSpPr>
            <p:spPr>
              <a:xfrm>
                <a:off x="2321169" y="3481753"/>
                <a:ext cx="1688123" cy="1688123"/>
              </a:xfrm>
              <a:custGeom>
                <a:avLst/>
                <a:gdLst/>
                <a:ahLst/>
                <a:cxnLst/>
                <a:rect l="0" t="0" r="0" b="0"/>
                <a:pathLst>
                  <a:path w="1688123" h="1688123">
                    <a:moveTo>
                      <a:pt x="1688123" y="422030"/>
                    </a:moveTo>
                    <a:lnTo>
                      <a:pt x="1688123" y="0"/>
                    </a:lnTo>
                    <a:lnTo>
                      <a:pt x="0" y="0"/>
                    </a:lnTo>
                    <a:lnTo>
                      <a:pt x="0" y="422029"/>
                    </a:lnTo>
                    <a:moveTo>
                      <a:pt x="1688123" y="1266092"/>
                    </a:moveTo>
                    <a:lnTo>
                      <a:pt x="1688123" y="422030"/>
                    </a:lnTo>
                    <a:moveTo>
                      <a:pt x="0" y="1266092"/>
                    </a:moveTo>
                    <a:lnTo>
                      <a:pt x="0" y="422030"/>
                    </a:lnTo>
                    <a:moveTo>
                      <a:pt x="1688123" y="1266092"/>
                    </a:moveTo>
                    <a:lnTo>
                      <a:pt x="1688123" y="1688123"/>
                    </a:lnTo>
                    <a:lnTo>
                      <a:pt x="746745" y="1688123"/>
                    </a:lnTo>
                    <a:cubicBezTo>
                      <a:pt x="531083" y="1688123"/>
                      <a:pt x="316234" y="1661674"/>
                      <a:pt x="107011" y="1609368"/>
                    </a:cubicBezTo>
                    <a:lnTo>
                      <a:pt x="79918" y="1602595"/>
                    </a:lnTo>
                    <a:cubicBezTo>
                      <a:pt x="32950" y="1590852"/>
                      <a:pt x="0" y="1548651"/>
                      <a:pt x="0" y="1500237"/>
                    </a:cubicBezTo>
                    <a:lnTo>
                      <a:pt x="0" y="1266092"/>
                    </a:lnTo>
                    <a:moveTo>
                      <a:pt x="61546" y="1595803"/>
                    </a:moveTo>
                    <a:cubicBezTo>
                      <a:pt x="145073" y="1626576"/>
                      <a:pt x="171450" y="1538653"/>
                      <a:pt x="171450" y="1538653"/>
                    </a:cubicBezTo>
                    <a:cubicBezTo>
                      <a:pt x="342411" y="1644728"/>
                      <a:pt x="562924" y="1665621"/>
                      <a:pt x="712176" y="1688122"/>
                    </a:cubicBezTo>
                  </a:path>
                </a:pathLst>
              </a:custGeom>
              <a:noFill/>
              <a:ln w="6594">
                <a:solidFill>
                  <a:srgbClr val="FFFFFF"/>
                </a:solidFill>
              </a:ln>
            </p:spPr>
            <p:txBody>
              <a:bodyPr rtlCol="0" anchor="ctr"/>
              <a:lstStyle/>
              <a:p>
                <a:pPr algn="ctr"/>
                <a:endParaRPr sz="2800"/>
              </a:p>
            </p:txBody>
          </p:sp>
        </p:grpSp>
        <p:grpSp>
          <p:nvGrpSpPr>
            <p:cNvPr id="15" name="Group 14">
              <a:extLst>
                <a:ext uri="{FF2B5EF4-FFF2-40B4-BE49-F238E27FC236}">
                  <a16:creationId xmlns:a16="http://schemas.microsoft.com/office/drawing/2014/main" id="{B2DA937F-88E6-1231-7F1D-DC502342D51B}"/>
                </a:ext>
              </a:extLst>
            </p:cNvPr>
            <p:cNvGrpSpPr/>
            <p:nvPr/>
          </p:nvGrpSpPr>
          <p:grpSpPr>
            <a:xfrm>
              <a:off x="4509556" y="1335309"/>
              <a:ext cx="1688123" cy="1688123"/>
              <a:chOff x="4220307" y="1160584"/>
              <a:chExt cx="1688123" cy="1688123"/>
            </a:xfrm>
          </p:grpSpPr>
          <p:sp>
            <p:nvSpPr>
              <p:cNvPr id="16" name="Rounded Rectangle 13">
                <a:extLst>
                  <a:ext uri="{FF2B5EF4-FFF2-40B4-BE49-F238E27FC236}">
                    <a16:creationId xmlns:a16="http://schemas.microsoft.com/office/drawing/2014/main" id="{B654E704-1833-3C3B-DFA2-61776B415BDD}"/>
                  </a:ext>
                </a:extLst>
              </p:cNvPr>
              <p:cNvSpPr/>
              <p:nvPr/>
            </p:nvSpPr>
            <p:spPr>
              <a:xfrm>
                <a:off x="4220307" y="1160584"/>
                <a:ext cx="1688123" cy="1688123"/>
              </a:xfrm>
              <a:custGeom>
                <a:avLst/>
                <a:gdLst/>
                <a:ahLst/>
                <a:cxnLst/>
                <a:rect l="0" t="0" r="0" b="0"/>
                <a:pathLst>
                  <a:path w="1688123" h="1688123">
                    <a:moveTo>
                      <a:pt x="0" y="1266092"/>
                    </a:moveTo>
                    <a:lnTo>
                      <a:pt x="1688123" y="1266092"/>
                    </a:lnTo>
                    <a:cubicBezTo>
                      <a:pt x="1688123" y="1499173"/>
                      <a:pt x="1688123" y="1688123"/>
                      <a:pt x="1688123" y="1688123"/>
                    </a:cubicBezTo>
                    <a:lnTo>
                      <a:pt x="0" y="1688123"/>
                    </a:lnTo>
                    <a:lnTo>
                      <a:pt x="0" y="1266092"/>
                    </a:lnTo>
                    <a:close/>
                    <a:moveTo>
                      <a:pt x="1688123" y="1266092"/>
                    </a:moveTo>
                    <a:lnTo>
                      <a:pt x="1688123" y="422030"/>
                    </a:lnTo>
                    <a:lnTo>
                      <a:pt x="0" y="422030"/>
                    </a:lnTo>
                    <a:lnTo>
                      <a:pt x="0" y="1266092"/>
                    </a:lnTo>
                    <a:lnTo>
                      <a:pt x="1688123" y="1266092"/>
                    </a:lnTo>
                    <a:close/>
                    <a:moveTo>
                      <a:pt x="1688123" y="422030"/>
                    </a:moveTo>
                    <a:lnTo>
                      <a:pt x="1688123" y="0"/>
                    </a:lnTo>
                    <a:lnTo>
                      <a:pt x="746745" y="0"/>
                    </a:lnTo>
                    <a:cubicBezTo>
                      <a:pt x="531083" y="0"/>
                      <a:pt x="316234" y="26449"/>
                      <a:pt x="107011" y="78754"/>
                    </a:cubicBezTo>
                    <a:lnTo>
                      <a:pt x="79918" y="85528"/>
                    </a:lnTo>
                    <a:cubicBezTo>
                      <a:pt x="32950" y="97270"/>
                      <a:pt x="0" y="139471"/>
                      <a:pt x="0" y="187885"/>
                    </a:cubicBezTo>
                    <a:lnTo>
                      <a:pt x="0" y="422030"/>
                    </a:lnTo>
                    <a:lnTo>
                      <a:pt x="1688123" y="422030"/>
                    </a:lnTo>
                    <a:close/>
                  </a:path>
                </a:pathLst>
              </a:custGeom>
              <a:solidFill>
                <a:srgbClr val="2093FF"/>
              </a:solidFill>
              <a:ln>
                <a:noFill/>
              </a:ln>
            </p:spPr>
            <p:txBody>
              <a:bodyPr rtlCol="0" anchor="ctr"/>
              <a:lstStyle/>
              <a:p>
                <a:pPr algn="ctr"/>
                <a:endParaRPr sz="2800"/>
              </a:p>
            </p:txBody>
          </p:sp>
          <p:sp>
            <p:nvSpPr>
              <p:cNvPr id="17" name="Rounded Rectangle 14">
                <a:extLst>
                  <a:ext uri="{FF2B5EF4-FFF2-40B4-BE49-F238E27FC236}">
                    <a16:creationId xmlns:a16="http://schemas.microsoft.com/office/drawing/2014/main" id="{CF7781A0-BE90-618C-9660-BE4814F47321}"/>
                  </a:ext>
                </a:extLst>
              </p:cNvPr>
              <p:cNvSpPr/>
              <p:nvPr/>
            </p:nvSpPr>
            <p:spPr>
              <a:xfrm>
                <a:off x="4220307" y="1160584"/>
                <a:ext cx="1688123" cy="1688123"/>
              </a:xfrm>
              <a:custGeom>
                <a:avLst/>
                <a:gdLst/>
                <a:ahLst/>
                <a:cxnLst/>
                <a:rect l="0" t="0" r="0" b="0"/>
                <a:pathLst>
                  <a:path w="1688123" h="1688123">
                    <a:moveTo>
                      <a:pt x="0" y="1266092"/>
                    </a:moveTo>
                    <a:lnTo>
                      <a:pt x="0" y="1688123"/>
                    </a:lnTo>
                    <a:lnTo>
                      <a:pt x="1688123" y="1688123"/>
                    </a:lnTo>
                    <a:lnTo>
                      <a:pt x="1688123" y="1266093"/>
                    </a:lnTo>
                    <a:moveTo>
                      <a:pt x="1688123" y="1266092"/>
                    </a:moveTo>
                    <a:lnTo>
                      <a:pt x="1688123" y="422030"/>
                    </a:lnTo>
                    <a:moveTo>
                      <a:pt x="0" y="1266092"/>
                    </a:moveTo>
                    <a:lnTo>
                      <a:pt x="0" y="422030"/>
                    </a:lnTo>
                    <a:moveTo>
                      <a:pt x="1688123" y="422030"/>
                    </a:moveTo>
                    <a:lnTo>
                      <a:pt x="1688123" y="0"/>
                    </a:lnTo>
                    <a:lnTo>
                      <a:pt x="746745" y="0"/>
                    </a:lnTo>
                    <a:cubicBezTo>
                      <a:pt x="531083" y="0"/>
                      <a:pt x="316234" y="26449"/>
                      <a:pt x="107011" y="78754"/>
                    </a:cubicBezTo>
                    <a:lnTo>
                      <a:pt x="79918" y="85528"/>
                    </a:lnTo>
                    <a:cubicBezTo>
                      <a:pt x="32950" y="97270"/>
                      <a:pt x="0" y="139471"/>
                      <a:pt x="0" y="187885"/>
                    </a:cubicBezTo>
                    <a:lnTo>
                      <a:pt x="0" y="422030"/>
                    </a:lnTo>
                    <a:moveTo>
                      <a:pt x="61546" y="92319"/>
                    </a:moveTo>
                    <a:cubicBezTo>
                      <a:pt x="145073" y="61546"/>
                      <a:pt x="171450" y="149469"/>
                      <a:pt x="171450" y="149469"/>
                    </a:cubicBezTo>
                    <a:cubicBezTo>
                      <a:pt x="342411" y="43394"/>
                      <a:pt x="562924" y="22501"/>
                      <a:pt x="712176" y="1"/>
                    </a:cubicBezTo>
                  </a:path>
                </a:pathLst>
              </a:custGeom>
              <a:noFill/>
              <a:ln w="6594">
                <a:solidFill>
                  <a:srgbClr val="FFFFFF"/>
                </a:solidFill>
              </a:ln>
            </p:spPr>
            <p:txBody>
              <a:bodyPr rtlCol="0" anchor="ctr"/>
              <a:lstStyle/>
              <a:p>
                <a:pPr algn="ctr"/>
                <a:endParaRPr sz="2800"/>
              </a:p>
            </p:txBody>
          </p:sp>
        </p:grpSp>
        <p:grpSp>
          <p:nvGrpSpPr>
            <p:cNvPr id="18" name="Group 17">
              <a:extLst>
                <a:ext uri="{FF2B5EF4-FFF2-40B4-BE49-F238E27FC236}">
                  <a16:creationId xmlns:a16="http://schemas.microsoft.com/office/drawing/2014/main" id="{4BCEEB9D-0C7F-053C-68A0-2A6B013979E9}"/>
                </a:ext>
              </a:extLst>
            </p:cNvPr>
            <p:cNvGrpSpPr/>
            <p:nvPr/>
          </p:nvGrpSpPr>
          <p:grpSpPr>
            <a:xfrm>
              <a:off x="6408695" y="1440817"/>
              <a:ext cx="1688123" cy="1899138"/>
              <a:chOff x="6119446" y="1266092"/>
              <a:chExt cx="1688123" cy="1899138"/>
            </a:xfrm>
          </p:grpSpPr>
          <p:sp>
            <p:nvSpPr>
              <p:cNvPr id="19" name="Rounded Rectangle 16">
                <a:extLst>
                  <a:ext uri="{FF2B5EF4-FFF2-40B4-BE49-F238E27FC236}">
                    <a16:creationId xmlns:a16="http://schemas.microsoft.com/office/drawing/2014/main" id="{8D4E310B-AB18-3430-D9ED-42DB0A88FDAD}"/>
                  </a:ext>
                </a:extLst>
              </p:cNvPr>
              <p:cNvSpPr/>
              <p:nvPr/>
            </p:nvSpPr>
            <p:spPr>
              <a:xfrm>
                <a:off x="6119446" y="1266092"/>
                <a:ext cx="1688123" cy="1899138"/>
              </a:xfrm>
              <a:custGeom>
                <a:avLst/>
                <a:gdLst/>
                <a:ahLst/>
                <a:cxnLst/>
                <a:rect l="0" t="0" r="0" b="0"/>
                <a:pathLst>
                  <a:path w="1688123" h="1899138">
                    <a:moveTo>
                      <a:pt x="0" y="1477107"/>
                    </a:moveTo>
                    <a:lnTo>
                      <a:pt x="1688123" y="1477108"/>
                    </a:lnTo>
                    <a:cubicBezTo>
                      <a:pt x="1688123" y="1710189"/>
                      <a:pt x="1688123" y="1899138"/>
                      <a:pt x="1688123" y="1899138"/>
                    </a:cubicBezTo>
                    <a:lnTo>
                      <a:pt x="0" y="1899138"/>
                    </a:lnTo>
                    <a:lnTo>
                      <a:pt x="0" y="1477107"/>
                    </a:lnTo>
                    <a:close/>
                    <a:moveTo>
                      <a:pt x="1688123" y="1477107"/>
                    </a:moveTo>
                    <a:lnTo>
                      <a:pt x="1688123" y="422030"/>
                    </a:lnTo>
                    <a:lnTo>
                      <a:pt x="0" y="422030"/>
                    </a:lnTo>
                    <a:lnTo>
                      <a:pt x="0" y="1477107"/>
                    </a:lnTo>
                    <a:lnTo>
                      <a:pt x="1688123" y="1477107"/>
                    </a:lnTo>
                    <a:close/>
                    <a:moveTo>
                      <a:pt x="0" y="422030"/>
                    </a:moveTo>
                    <a:lnTo>
                      <a:pt x="0" y="0"/>
                    </a:lnTo>
                    <a:lnTo>
                      <a:pt x="941374" y="0"/>
                    </a:lnTo>
                    <a:cubicBezTo>
                      <a:pt x="1166906" y="0"/>
                      <a:pt x="1406769" y="0"/>
                      <a:pt x="1626576" y="52753"/>
                    </a:cubicBezTo>
                    <a:cubicBezTo>
                      <a:pt x="1626576" y="52753"/>
                      <a:pt x="1688123" y="131884"/>
                      <a:pt x="1688123" y="422030"/>
                    </a:cubicBezTo>
                    <a:lnTo>
                      <a:pt x="0" y="422030"/>
                    </a:lnTo>
                    <a:close/>
                  </a:path>
                </a:pathLst>
              </a:custGeom>
              <a:solidFill>
                <a:srgbClr val="329CFF"/>
              </a:solidFill>
              <a:ln>
                <a:noFill/>
              </a:ln>
            </p:spPr>
            <p:txBody>
              <a:bodyPr rtlCol="0" anchor="ctr"/>
              <a:lstStyle/>
              <a:p>
                <a:pPr algn="ctr"/>
                <a:endParaRPr sz="2800"/>
              </a:p>
            </p:txBody>
          </p:sp>
          <p:sp>
            <p:nvSpPr>
              <p:cNvPr id="20" name="Rounded Rectangle 17">
                <a:extLst>
                  <a:ext uri="{FF2B5EF4-FFF2-40B4-BE49-F238E27FC236}">
                    <a16:creationId xmlns:a16="http://schemas.microsoft.com/office/drawing/2014/main" id="{91A21282-AB7F-2FFA-2567-1D55B4CED5BB}"/>
                  </a:ext>
                </a:extLst>
              </p:cNvPr>
              <p:cNvSpPr/>
              <p:nvPr/>
            </p:nvSpPr>
            <p:spPr>
              <a:xfrm>
                <a:off x="6119446" y="1266092"/>
                <a:ext cx="1688123" cy="1899138"/>
              </a:xfrm>
              <a:custGeom>
                <a:avLst/>
                <a:gdLst/>
                <a:ahLst/>
                <a:cxnLst/>
                <a:rect l="0" t="0" r="0" b="0"/>
                <a:pathLst>
                  <a:path w="1688123" h="1899138">
                    <a:moveTo>
                      <a:pt x="0" y="1477107"/>
                    </a:moveTo>
                    <a:lnTo>
                      <a:pt x="0" y="1899138"/>
                    </a:lnTo>
                    <a:lnTo>
                      <a:pt x="1688123" y="1899138"/>
                    </a:lnTo>
                    <a:lnTo>
                      <a:pt x="1688123" y="1477108"/>
                    </a:lnTo>
                    <a:moveTo>
                      <a:pt x="1688123" y="1477107"/>
                    </a:moveTo>
                    <a:lnTo>
                      <a:pt x="1688123" y="422030"/>
                    </a:lnTo>
                    <a:moveTo>
                      <a:pt x="0" y="1477107"/>
                    </a:moveTo>
                    <a:lnTo>
                      <a:pt x="0" y="422030"/>
                    </a:lnTo>
                    <a:moveTo>
                      <a:pt x="0" y="422030"/>
                    </a:moveTo>
                    <a:lnTo>
                      <a:pt x="0" y="0"/>
                    </a:lnTo>
                    <a:lnTo>
                      <a:pt x="941377" y="0"/>
                    </a:lnTo>
                    <a:cubicBezTo>
                      <a:pt x="1166907" y="0"/>
                      <a:pt x="1406769" y="0"/>
                      <a:pt x="1626576" y="52753"/>
                    </a:cubicBezTo>
                    <a:cubicBezTo>
                      <a:pt x="1626576" y="52753"/>
                      <a:pt x="1688123" y="131884"/>
                      <a:pt x="1688123" y="422030"/>
                    </a:cubicBezTo>
                  </a:path>
                </a:pathLst>
              </a:custGeom>
              <a:noFill/>
              <a:ln w="6594">
                <a:solidFill>
                  <a:srgbClr val="FFFFFF"/>
                </a:solidFill>
              </a:ln>
            </p:spPr>
            <p:txBody>
              <a:bodyPr rtlCol="0" anchor="ctr"/>
              <a:lstStyle/>
              <a:p>
                <a:pPr algn="ctr"/>
                <a:endParaRPr sz="2800"/>
              </a:p>
            </p:txBody>
          </p:sp>
        </p:grpSp>
        <p:sp>
          <p:nvSpPr>
            <p:cNvPr id="21" name="TextBox 20">
              <a:extLst>
                <a:ext uri="{FF2B5EF4-FFF2-40B4-BE49-F238E27FC236}">
                  <a16:creationId xmlns:a16="http://schemas.microsoft.com/office/drawing/2014/main" id="{0A4BC1EC-27F7-57CE-508D-28AEA43536A1}"/>
                </a:ext>
              </a:extLst>
            </p:cNvPr>
            <p:cNvSpPr txBox="1"/>
            <p:nvPr/>
          </p:nvSpPr>
          <p:spPr>
            <a:xfrm>
              <a:off x="1088462" y="1555117"/>
              <a:ext cx="933794" cy="216881"/>
            </a:xfrm>
            <a:prstGeom prst="rect">
              <a:avLst/>
            </a:prstGeom>
            <a:noFill/>
            <a:ln>
              <a:noFill/>
            </a:ln>
          </p:spPr>
          <p:txBody>
            <a:bodyPr wrap="none" lIns="0" tIns="0" rIns="0" bIns="0" anchor="t">
              <a:spAutoFit/>
            </a:bodyPr>
            <a:lstStyle/>
            <a:p>
              <a:pPr algn="ctr"/>
              <a:r>
                <a:rPr b="1">
                  <a:solidFill>
                    <a:srgbClr val="FFFFFF"/>
                  </a:solidFill>
                  <a:latin typeface="Arial"/>
                </a:rPr>
                <a:t>LangChain</a:t>
              </a:r>
            </a:p>
          </p:txBody>
        </p:sp>
        <p:sp>
          <p:nvSpPr>
            <p:cNvPr id="22" name="TextBox 21">
              <a:extLst>
                <a:ext uri="{FF2B5EF4-FFF2-40B4-BE49-F238E27FC236}">
                  <a16:creationId xmlns:a16="http://schemas.microsoft.com/office/drawing/2014/main" id="{FE78BE2B-37F7-C032-ED19-DC1D3681D952}"/>
                </a:ext>
              </a:extLst>
            </p:cNvPr>
            <p:cNvSpPr txBox="1"/>
            <p:nvPr/>
          </p:nvSpPr>
          <p:spPr>
            <a:xfrm>
              <a:off x="3143241" y="1660625"/>
              <a:ext cx="622529" cy="216881"/>
            </a:xfrm>
            <a:prstGeom prst="rect">
              <a:avLst/>
            </a:prstGeom>
            <a:noFill/>
            <a:ln>
              <a:noFill/>
            </a:ln>
          </p:spPr>
          <p:txBody>
            <a:bodyPr wrap="none" lIns="0" tIns="0" rIns="0" bIns="0" anchor="t">
              <a:spAutoFit/>
            </a:bodyPr>
            <a:lstStyle/>
            <a:p>
              <a:pPr algn="ctr"/>
              <a:r>
                <a:rPr b="1">
                  <a:solidFill>
                    <a:srgbClr val="FFFFFF"/>
                  </a:solidFill>
                  <a:latin typeface="Arial"/>
                </a:rPr>
                <a:t>CrewAI</a:t>
              </a:r>
            </a:p>
          </p:txBody>
        </p:sp>
        <p:sp>
          <p:nvSpPr>
            <p:cNvPr id="23" name="TextBox 22">
              <a:extLst>
                <a:ext uri="{FF2B5EF4-FFF2-40B4-BE49-F238E27FC236}">
                  <a16:creationId xmlns:a16="http://schemas.microsoft.com/office/drawing/2014/main" id="{BD27565C-F16F-C275-C99F-7DF1A2D14314}"/>
                </a:ext>
              </a:extLst>
            </p:cNvPr>
            <p:cNvSpPr txBox="1"/>
            <p:nvPr/>
          </p:nvSpPr>
          <p:spPr>
            <a:xfrm>
              <a:off x="4962010" y="1555117"/>
              <a:ext cx="783182" cy="216881"/>
            </a:xfrm>
            <a:prstGeom prst="rect">
              <a:avLst/>
            </a:prstGeom>
            <a:noFill/>
            <a:ln>
              <a:noFill/>
            </a:ln>
          </p:spPr>
          <p:txBody>
            <a:bodyPr wrap="none" lIns="0" tIns="0" rIns="0" bIns="0" anchor="t">
              <a:spAutoFit/>
            </a:bodyPr>
            <a:lstStyle/>
            <a:p>
              <a:pPr algn="ctr"/>
              <a:r>
                <a:rPr b="1">
                  <a:solidFill>
                    <a:srgbClr val="FFFFFF"/>
                  </a:solidFill>
                  <a:latin typeface="Arial"/>
                </a:rPr>
                <a:t>AutoGPT</a:t>
              </a:r>
            </a:p>
          </p:txBody>
        </p:sp>
        <p:sp>
          <p:nvSpPr>
            <p:cNvPr id="24" name="TextBox 23">
              <a:extLst>
                <a:ext uri="{FF2B5EF4-FFF2-40B4-BE49-F238E27FC236}">
                  <a16:creationId xmlns:a16="http://schemas.microsoft.com/office/drawing/2014/main" id="{EC66F482-C04B-09E7-B891-8068219E89E1}"/>
                </a:ext>
              </a:extLst>
            </p:cNvPr>
            <p:cNvSpPr txBox="1"/>
            <p:nvPr/>
          </p:nvSpPr>
          <p:spPr>
            <a:xfrm>
              <a:off x="6740694" y="1660625"/>
              <a:ext cx="1024160" cy="216881"/>
            </a:xfrm>
            <a:prstGeom prst="rect">
              <a:avLst/>
            </a:prstGeom>
            <a:noFill/>
            <a:ln>
              <a:noFill/>
            </a:ln>
          </p:spPr>
          <p:txBody>
            <a:bodyPr wrap="none" lIns="0" tIns="0" rIns="0" bIns="0" anchor="t">
              <a:spAutoFit/>
            </a:bodyPr>
            <a:lstStyle/>
            <a:p>
              <a:pPr algn="ctr"/>
              <a:r>
                <a:rPr b="1">
                  <a:solidFill>
                    <a:srgbClr val="FFFFFF"/>
                  </a:solidFill>
                  <a:latin typeface="Arial"/>
                </a:rPr>
                <a:t>SuperAgent</a:t>
              </a:r>
            </a:p>
          </p:txBody>
        </p:sp>
        <p:sp>
          <p:nvSpPr>
            <p:cNvPr id="25" name="TextBox 24">
              <a:extLst>
                <a:ext uri="{FF2B5EF4-FFF2-40B4-BE49-F238E27FC236}">
                  <a16:creationId xmlns:a16="http://schemas.microsoft.com/office/drawing/2014/main" id="{974DE1B3-E12A-73D2-DBB1-CACF4EA6FEAD}"/>
                </a:ext>
              </a:extLst>
            </p:cNvPr>
            <p:cNvSpPr txBox="1"/>
            <p:nvPr/>
          </p:nvSpPr>
          <p:spPr>
            <a:xfrm>
              <a:off x="1067729" y="1867244"/>
              <a:ext cx="975212" cy="795231"/>
            </a:xfrm>
            <a:prstGeom prst="rect">
              <a:avLst/>
            </a:prstGeom>
            <a:noFill/>
            <a:ln>
              <a:noFill/>
            </a:ln>
          </p:spPr>
          <p:txBody>
            <a:bodyPr wrap="none" lIns="0" tIns="0" rIns="0" bIns="0" anchor="t">
              <a:spAutoFit/>
            </a:bodyPr>
            <a:lstStyle/>
            <a:p>
              <a:pPr algn="ctr"/>
              <a:r>
                <a:rPr sz="1100" b="0">
                  <a:solidFill>
                    <a:srgbClr val="FFFFFF"/>
                  </a:solidFill>
                  <a:latin typeface="Arial"/>
                </a:rPr>
                <a:t>Flexible LLM
workflows, modular,
large community.
Developer-focused,
higher technical
barrier.</a:t>
              </a:r>
            </a:p>
          </p:txBody>
        </p:sp>
        <p:sp>
          <p:nvSpPr>
            <p:cNvPr id="26" name="TextBox 25">
              <a:extLst>
                <a:ext uri="{FF2B5EF4-FFF2-40B4-BE49-F238E27FC236}">
                  <a16:creationId xmlns:a16="http://schemas.microsoft.com/office/drawing/2014/main" id="{D353869E-D98F-9309-1593-02F49216DE51}"/>
                </a:ext>
              </a:extLst>
            </p:cNvPr>
            <p:cNvSpPr txBox="1"/>
            <p:nvPr/>
          </p:nvSpPr>
          <p:spPr>
            <a:xfrm>
              <a:off x="2954946" y="1972751"/>
              <a:ext cx="999059" cy="1060307"/>
            </a:xfrm>
            <a:prstGeom prst="rect">
              <a:avLst/>
            </a:prstGeom>
            <a:noFill/>
            <a:ln>
              <a:noFill/>
            </a:ln>
          </p:spPr>
          <p:txBody>
            <a:bodyPr wrap="none" lIns="0" tIns="0" rIns="0" bIns="0" anchor="t">
              <a:spAutoFit/>
            </a:bodyPr>
            <a:lstStyle/>
            <a:p>
              <a:pPr algn="ctr"/>
              <a:r>
                <a:rPr sz="1100" b="0">
                  <a:solidFill>
                    <a:srgbClr val="FFFFFF"/>
                  </a:solidFill>
                  <a:latin typeface="Arial"/>
                </a:rPr>
                <a:t>Multi-agent
collaboration with
task-based roles,
code-based and
visual experiences.
Effective for
coordinating "crews"
of agents.</a:t>
              </a:r>
            </a:p>
          </p:txBody>
        </p:sp>
        <p:sp>
          <p:nvSpPr>
            <p:cNvPr id="27" name="TextBox 26">
              <a:extLst>
                <a:ext uri="{FF2B5EF4-FFF2-40B4-BE49-F238E27FC236}">
                  <a16:creationId xmlns:a16="http://schemas.microsoft.com/office/drawing/2014/main" id="{33E911CD-A11C-9922-917E-33DD09C16550}"/>
                </a:ext>
              </a:extLst>
            </p:cNvPr>
            <p:cNvSpPr txBox="1"/>
            <p:nvPr/>
          </p:nvSpPr>
          <p:spPr>
            <a:xfrm>
              <a:off x="4850911" y="1867244"/>
              <a:ext cx="1005334" cy="795231"/>
            </a:xfrm>
            <a:prstGeom prst="rect">
              <a:avLst/>
            </a:prstGeom>
            <a:noFill/>
            <a:ln>
              <a:noFill/>
            </a:ln>
          </p:spPr>
          <p:txBody>
            <a:bodyPr wrap="none" lIns="0" tIns="0" rIns="0" bIns="0" anchor="t">
              <a:spAutoFit/>
            </a:bodyPr>
            <a:lstStyle/>
            <a:p>
              <a:pPr algn="ctr"/>
              <a:r>
                <a:rPr sz="1100" b="0">
                  <a:solidFill>
                    <a:srgbClr val="FFFFFF"/>
                  </a:solidFill>
                  <a:latin typeface="Arial"/>
                </a:rPr>
                <a:t>Low-code, visual
drag-and-drop editor
for continuous
agents. Can be
challenging to set
up.</a:t>
              </a:r>
            </a:p>
          </p:txBody>
        </p:sp>
        <p:sp>
          <p:nvSpPr>
            <p:cNvPr id="28" name="TextBox 27">
              <a:extLst>
                <a:ext uri="{FF2B5EF4-FFF2-40B4-BE49-F238E27FC236}">
                  <a16:creationId xmlns:a16="http://schemas.microsoft.com/office/drawing/2014/main" id="{6BC7721C-95B4-6F35-114B-C40AB3DAB759}"/>
                </a:ext>
              </a:extLst>
            </p:cNvPr>
            <p:cNvSpPr txBox="1"/>
            <p:nvPr/>
          </p:nvSpPr>
          <p:spPr>
            <a:xfrm>
              <a:off x="6740703" y="1999128"/>
              <a:ext cx="1024161" cy="927769"/>
            </a:xfrm>
            <a:prstGeom prst="rect">
              <a:avLst/>
            </a:prstGeom>
            <a:noFill/>
            <a:ln>
              <a:noFill/>
            </a:ln>
          </p:spPr>
          <p:txBody>
            <a:bodyPr wrap="none" lIns="0" tIns="0" rIns="0" bIns="0" anchor="t">
              <a:spAutoFit/>
            </a:bodyPr>
            <a:lstStyle/>
            <a:p>
              <a:pPr algn="ctr"/>
              <a:r>
                <a:rPr sz="1100" b="0">
                  <a:solidFill>
                    <a:srgbClr val="FFFFFF"/>
                  </a:solidFill>
                  <a:latin typeface="Arial"/>
                </a:rPr>
                <a:t>Open-source
framework and cloud
platform for AI
assistants, optimized
for fast iteration.
Developer-centric,
lacks visual builder.</a:t>
              </a:r>
            </a:p>
          </p:txBody>
        </p:sp>
        <p:sp>
          <p:nvSpPr>
            <p:cNvPr id="29" name="TextBox 28">
              <a:extLst>
                <a:ext uri="{FF2B5EF4-FFF2-40B4-BE49-F238E27FC236}">
                  <a16:creationId xmlns:a16="http://schemas.microsoft.com/office/drawing/2014/main" id="{8EF73391-4D71-24C1-4928-E1A617AC20BF}"/>
                </a:ext>
              </a:extLst>
            </p:cNvPr>
            <p:cNvSpPr txBox="1"/>
            <p:nvPr/>
          </p:nvSpPr>
          <p:spPr>
            <a:xfrm>
              <a:off x="1163785" y="3454255"/>
              <a:ext cx="783182" cy="216881"/>
            </a:xfrm>
            <a:prstGeom prst="rect">
              <a:avLst/>
            </a:prstGeom>
            <a:noFill/>
            <a:ln>
              <a:noFill/>
            </a:ln>
          </p:spPr>
          <p:txBody>
            <a:bodyPr wrap="none" lIns="0" tIns="0" rIns="0" bIns="0" anchor="t">
              <a:spAutoFit/>
            </a:bodyPr>
            <a:lstStyle/>
            <a:p>
              <a:pPr algn="ctr"/>
              <a:r>
                <a:rPr b="1">
                  <a:solidFill>
                    <a:srgbClr val="FFFFFF"/>
                  </a:solidFill>
                  <a:latin typeface="Arial"/>
                </a:rPr>
                <a:t>MetaGPT</a:t>
              </a:r>
            </a:p>
          </p:txBody>
        </p:sp>
        <p:sp>
          <p:nvSpPr>
            <p:cNvPr id="30" name="TextBox 29">
              <a:extLst>
                <a:ext uri="{FF2B5EF4-FFF2-40B4-BE49-F238E27FC236}">
                  <a16:creationId xmlns:a16="http://schemas.microsoft.com/office/drawing/2014/main" id="{B6B96F43-8A82-B0DE-59FD-A716B03A569F}"/>
                </a:ext>
              </a:extLst>
            </p:cNvPr>
            <p:cNvSpPr txBox="1"/>
            <p:nvPr/>
          </p:nvSpPr>
          <p:spPr>
            <a:xfrm>
              <a:off x="1043911" y="3792759"/>
              <a:ext cx="1022906" cy="927769"/>
            </a:xfrm>
            <a:prstGeom prst="rect">
              <a:avLst/>
            </a:prstGeom>
            <a:noFill/>
            <a:ln>
              <a:noFill/>
            </a:ln>
          </p:spPr>
          <p:txBody>
            <a:bodyPr wrap="none" lIns="0" tIns="0" rIns="0" bIns="0" anchor="t">
              <a:spAutoFit/>
            </a:bodyPr>
            <a:lstStyle/>
            <a:p>
              <a:pPr algn="ctr"/>
              <a:r>
                <a:rPr sz="1100" b="0">
                  <a:solidFill>
                    <a:srgbClr val="FFFFFF"/>
                  </a:solidFill>
                  <a:latin typeface="Arial"/>
                </a:rPr>
                <a:t>Simulates a
"development team"
to generate full-stack
software prototypes.
Niche focus on
software
development.</a:t>
              </a:r>
            </a:p>
          </p:txBody>
        </p:sp>
        <p:sp>
          <p:nvSpPr>
            <p:cNvPr id="31" name="TextBox 30">
              <a:extLst>
                <a:ext uri="{FF2B5EF4-FFF2-40B4-BE49-F238E27FC236}">
                  <a16:creationId xmlns:a16="http://schemas.microsoft.com/office/drawing/2014/main" id="{BB750ED7-D245-2E41-3064-8883C0E17B31}"/>
                </a:ext>
              </a:extLst>
            </p:cNvPr>
            <p:cNvSpPr txBox="1"/>
            <p:nvPr/>
          </p:nvSpPr>
          <p:spPr>
            <a:xfrm>
              <a:off x="3133213" y="3876286"/>
              <a:ext cx="642612" cy="216881"/>
            </a:xfrm>
            <a:prstGeom prst="rect">
              <a:avLst/>
            </a:prstGeom>
            <a:noFill/>
            <a:ln>
              <a:noFill/>
            </a:ln>
          </p:spPr>
          <p:txBody>
            <a:bodyPr wrap="none" lIns="0" tIns="0" rIns="0" bIns="0" anchor="t">
              <a:spAutoFit/>
            </a:bodyPr>
            <a:lstStyle/>
            <a:p>
              <a:pPr algn="ctr"/>
              <a:r>
                <a:rPr b="1">
                  <a:solidFill>
                    <a:srgbClr val="FFFFFF"/>
                  </a:solidFill>
                  <a:latin typeface="Arial"/>
                </a:rPr>
                <a:t>CAMEL</a:t>
              </a:r>
            </a:p>
          </p:txBody>
        </p:sp>
        <p:sp>
          <p:nvSpPr>
            <p:cNvPr id="32" name="TextBox 31">
              <a:extLst>
                <a:ext uri="{FF2B5EF4-FFF2-40B4-BE49-F238E27FC236}">
                  <a16:creationId xmlns:a16="http://schemas.microsoft.com/office/drawing/2014/main" id="{3ABBFF83-0F09-ABCE-5B8C-2A96FD57E882}"/>
                </a:ext>
              </a:extLst>
            </p:cNvPr>
            <p:cNvSpPr txBox="1"/>
            <p:nvPr/>
          </p:nvSpPr>
          <p:spPr>
            <a:xfrm>
              <a:off x="2959975" y="4188413"/>
              <a:ext cx="989018" cy="795231"/>
            </a:xfrm>
            <a:prstGeom prst="rect">
              <a:avLst/>
            </a:prstGeom>
            <a:noFill/>
            <a:ln>
              <a:noFill/>
            </a:ln>
          </p:spPr>
          <p:txBody>
            <a:bodyPr wrap="none" lIns="0" tIns="0" rIns="0" bIns="0" anchor="t">
              <a:spAutoFit/>
            </a:bodyPr>
            <a:lstStyle/>
            <a:p>
              <a:pPr algn="ctr"/>
              <a:r>
                <a:rPr sz="1100" b="0">
                  <a:solidFill>
                    <a:srgbClr val="FFFFFF"/>
                  </a:solidFill>
                  <a:latin typeface="Arial"/>
                </a:rPr>
                <a:t>Communication and
negotiation between
agents for adaptive
decision-making.
Primarily for
research.</a:t>
              </a:r>
            </a:p>
          </p:txBody>
        </p:sp>
      </p:grpSp>
    </p:spTree>
    <p:extLst>
      <p:ext uri="{BB962C8B-B14F-4D97-AF65-F5344CB8AC3E}">
        <p14:creationId xmlns:p14="http://schemas.microsoft.com/office/powerpoint/2010/main" val="187308008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00AA3E-33AE-245F-E161-75377D91A3E1}"/>
              </a:ext>
            </a:extLst>
          </p:cNvPr>
          <p:cNvSpPr>
            <a:spLocks noGrp="1"/>
          </p:cNvSpPr>
          <p:nvPr>
            <p:ph type="title"/>
          </p:nvPr>
        </p:nvSpPr>
        <p:spPr/>
        <p:txBody>
          <a:bodyPr/>
          <a:lstStyle/>
          <a:p>
            <a:r>
              <a:rPr lang="en-US"/>
              <a:t>Key Infrastructure Layers</a:t>
            </a:r>
          </a:p>
        </p:txBody>
      </p:sp>
      <p:grpSp>
        <p:nvGrpSpPr>
          <p:cNvPr id="24" name="Group 23">
            <a:extLst>
              <a:ext uri="{FF2B5EF4-FFF2-40B4-BE49-F238E27FC236}">
                <a16:creationId xmlns:a16="http://schemas.microsoft.com/office/drawing/2014/main" id="{117B5643-EB87-8F9C-06B5-E1BC1A63F46D}"/>
              </a:ext>
            </a:extLst>
          </p:cNvPr>
          <p:cNvGrpSpPr>
            <a:grpSpLocks noChangeAspect="1"/>
          </p:cNvGrpSpPr>
          <p:nvPr/>
        </p:nvGrpSpPr>
        <p:grpSpPr>
          <a:xfrm>
            <a:off x="2390275" y="1178718"/>
            <a:ext cx="7411450" cy="5120640"/>
            <a:chOff x="458366" y="1169388"/>
            <a:chExt cx="6286500" cy="4343400"/>
          </a:xfrm>
        </p:grpSpPr>
        <p:grpSp>
          <p:nvGrpSpPr>
            <p:cNvPr id="3" name="Group 2">
              <a:extLst>
                <a:ext uri="{FF2B5EF4-FFF2-40B4-BE49-F238E27FC236}">
                  <a16:creationId xmlns:a16="http://schemas.microsoft.com/office/drawing/2014/main" id="{FF8A7B9B-AA99-E058-B67C-451E98716315}"/>
                </a:ext>
              </a:extLst>
            </p:cNvPr>
            <p:cNvGrpSpPr/>
            <p:nvPr/>
          </p:nvGrpSpPr>
          <p:grpSpPr>
            <a:xfrm>
              <a:off x="458366" y="1169388"/>
              <a:ext cx="1943100" cy="1828800"/>
              <a:chOff x="457200" y="1257300"/>
              <a:chExt cx="1943100" cy="1828800"/>
            </a:xfrm>
          </p:grpSpPr>
          <p:sp>
            <p:nvSpPr>
              <p:cNvPr id="4" name="Rounded Rectangle 1">
                <a:extLst>
                  <a:ext uri="{FF2B5EF4-FFF2-40B4-BE49-F238E27FC236}">
                    <a16:creationId xmlns:a16="http://schemas.microsoft.com/office/drawing/2014/main" id="{D7716084-E6BC-EC77-EA42-7B00E23C5534}"/>
                  </a:ext>
                </a:extLst>
              </p:cNvPr>
              <p:cNvSpPr/>
              <p:nvPr/>
            </p:nvSpPr>
            <p:spPr>
              <a:xfrm>
                <a:off x="457200" y="1257300"/>
                <a:ext cx="1943100" cy="1828800"/>
              </a:xfrm>
              <a:custGeom>
                <a:avLst/>
                <a:gdLst/>
                <a:ahLst/>
                <a:cxnLst/>
                <a:rect l="0" t="0" r="0" b="0"/>
                <a:pathLst>
                  <a:path w="1943100" h="1828800">
                    <a:moveTo>
                      <a:pt x="0" y="0"/>
                    </a:moveTo>
                    <a:lnTo>
                      <a:pt x="1943100" y="0"/>
                    </a:lnTo>
                    <a:lnTo>
                      <a:pt x="1943100" y="1828800"/>
                    </a:lnTo>
                    <a:lnTo>
                      <a:pt x="0" y="1828800"/>
                    </a:lnTo>
                    <a:close/>
                  </a:path>
                </a:pathLst>
              </a:custGeom>
              <a:solidFill>
                <a:srgbClr val="0D8AFF"/>
              </a:solidFill>
              <a:ln>
                <a:noFill/>
              </a:ln>
            </p:spPr>
            <p:txBody>
              <a:bodyPr rtlCol="0" anchor="ctr"/>
              <a:lstStyle/>
              <a:p>
                <a:pPr algn="ctr"/>
                <a:endParaRPr sz="2400"/>
              </a:p>
            </p:txBody>
          </p:sp>
          <p:sp>
            <p:nvSpPr>
              <p:cNvPr id="5" name="Rounded Rectangle 2">
                <a:extLst>
                  <a:ext uri="{FF2B5EF4-FFF2-40B4-BE49-F238E27FC236}">
                    <a16:creationId xmlns:a16="http://schemas.microsoft.com/office/drawing/2014/main" id="{B4C8C070-F10A-9AC4-B9B0-5F5A97659C17}"/>
                  </a:ext>
                </a:extLst>
              </p:cNvPr>
              <p:cNvSpPr/>
              <p:nvPr/>
            </p:nvSpPr>
            <p:spPr>
              <a:xfrm>
                <a:off x="581025" y="3076575"/>
                <a:ext cx="1695450" cy="9525"/>
              </a:xfrm>
              <a:custGeom>
                <a:avLst/>
                <a:gdLst/>
                <a:ahLst/>
                <a:cxnLst/>
                <a:rect l="0" t="0" r="0" b="0"/>
                <a:pathLst>
                  <a:path w="1695450" h="9525">
                    <a:moveTo>
                      <a:pt x="0" y="0"/>
                    </a:moveTo>
                    <a:lnTo>
                      <a:pt x="1695450" y="0"/>
                    </a:lnTo>
                  </a:path>
                </a:pathLst>
              </a:custGeom>
              <a:noFill/>
              <a:ln w="7143">
                <a:solidFill>
                  <a:srgbClr val="FFFFFF"/>
                </a:solidFill>
              </a:ln>
            </p:spPr>
            <p:txBody>
              <a:bodyPr rtlCol="0" anchor="ctr"/>
              <a:lstStyle/>
              <a:p>
                <a:pPr algn="ctr"/>
                <a:endParaRPr sz="2400"/>
              </a:p>
            </p:txBody>
          </p:sp>
        </p:grpSp>
        <p:grpSp>
          <p:nvGrpSpPr>
            <p:cNvPr id="6" name="Group 5">
              <a:extLst>
                <a:ext uri="{FF2B5EF4-FFF2-40B4-BE49-F238E27FC236}">
                  <a16:creationId xmlns:a16="http://schemas.microsoft.com/office/drawing/2014/main" id="{9B62BAFA-95E8-DD0E-2AB0-C8FB073CD84E}"/>
                </a:ext>
              </a:extLst>
            </p:cNvPr>
            <p:cNvGrpSpPr/>
            <p:nvPr/>
          </p:nvGrpSpPr>
          <p:grpSpPr>
            <a:xfrm>
              <a:off x="2630066" y="1169388"/>
              <a:ext cx="1943100" cy="1828800"/>
              <a:chOff x="2628900" y="1257300"/>
              <a:chExt cx="1943100" cy="1828800"/>
            </a:xfrm>
          </p:grpSpPr>
          <p:sp>
            <p:nvSpPr>
              <p:cNvPr id="7" name="Rounded Rectangle 4">
                <a:extLst>
                  <a:ext uri="{FF2B5EF4-FFF2-40B4-BE49-F238E27FC236}">
                    <a16:creationId xmlns:a16="http://schemas.microsoft.com/office/drawing/2014/main" id="{F5E01940-EBB3-5279-846E-E1E0917184F6}"/>
                  </a:ext>
                </a:extLst>
              </p:cNvPr>
              <p:cNvSpPr/>
              <p:nvPr/>
            </p:nvSpPr>
            <p:spPr>
              <a:xfrm>
                <a:off x="2628900" y="1257300"/>
                <a:ext cx="1943100" cy="1828800"/>
              </a:xfrm>
              <a:custGeom>
                <a:avLst/>
                <a:gdLst/>
                <a:ahLst/>
                <a:cxnLst/>
                <a:rect l="0" t="0" r="0" b="0"/>
                <a:pathLst>
                  <a:path w="1943100" h="1828800">
                    <a:moveTo>
                      <a:pt x="0" y="0"/>
                    </a:moveTo>
                    <a:lnTo>
                      <a:pt x="1943100" y="0"/>
                    </a:lnTo>
                    <a:lnTo>
                      <a:pt x="1943100" y="1828800"/>
                    </a:lnTo>
                    <a:lnTo>
                      <a:pt x="0" y="1828800"/>
                    </a:lnTo>
                    <a:close/>
                  </a:path>
                </a:pathLst>
              </a:custGeom>
              <a:solidFill>
                <a:srgbClr val="329CFF"/>
              </a:solidFill>
              <a:ln>
                <a:noFill/>
              </a:ln>
            </p:spPr>
            <p:txBody>
              <a:bodyPr rtlCol="0" anchor="ctr"/>
              <a:lstStyle/>
              <a:p>
                <a:pPr algn="ctr"/>
                <a:endParaRPr sz="2400"/>
              </a:p>
            </p:txBody>
          </p:sp>
          <p:sp>
            <p:nvSpPr>
              <p:cNvPr id="8" name="Rounded Rectangle 5">
                <a:extLst>
                  <a:ext uri="{FF2B5EF4-FFF2-40B4-BE49-F238E27FC236}">
                    <a16:creationId xmlns:a16="http://schemas.microsoft.com/office/drawing/2014/main" id="{8557E6E5-8B30-17DA-6563-11783E2C1313}"/>
                  </a:ext>
                </a:extLst>
              </p:cNvPr>
              <p:cNvSpPr/>
              <p:nvPr/>
            </p:nvSpPr>
            <p:spPr>
              <a:xfrm>
                <a:off x="2752725" y="3076575"/>
                <a:ext cx="1695450" cy="9525"/>
              </a:xfrm>
              <a:custGeom>
                <a:avLst/>
                <a:gdLst/>
                <a:ahLst/>
                <a:cxnLst/>
                <a:rect l="0" t="0" r="0" b="0"/>
                <a:pathLst>
                  <a:path w="1695450" h="9525">
                    <a:moveTo>
                      <a:pt x="0" y="0"/>
                    </a:moveTo>
                    <a:lnTo>
                      <a:pt x="1695450" y="0"/>
                    </a:lnTo>
                  </a:path>
                </a:pathLst>
              </a:custGeom>
              <a:noFill/>
              <a:ln w="7143">
                <a:solidFill>
                  <a:srgbClr val="FFFFFF"/>
                </a:solidFill>
              </a:ln>
            </p:spPr>
            <p:txBody>
              <a:bodyPr rtlCol="0" anchor="ctr"/>
              <a:lstStyle/>
              <a:p>
                <a:pPr algn="ctr"/>
                <a:endParaRPr sz="2400"/>
              </a:p>
            </p:txBody>
          </p:sp>
        </p:grpSp>
        <p:grpSp>
          <p:nvGrpSpPr>
            <p:cNvPr id="9" name="Group 8">
              <a:extLst>
                <a:ext uri="{FF2B5EF4-FFF2-40B4-BE49-F238E27FC236}">
                  <a16:creationId xmlns:a16="http://schemas.microsoft.com/office/drawing/2014/main" id="{43DFD768-1FF1-79E4-32AD-E52850E15D98}"/>
                </a:ext>
              </a:extLst>
            </p:cNvPr>
            <p:cNvGrpSpPr/>
            <p:nvPr/>
          </p:nvGrpSpPr>
          <p:grpSpPr>
            <a:xfrm>
              <a:off x="4801766" y="1169388"/>
              <a:ext cx="1943100" cy="1828800"/>
              <a:chOff x="4800600" y="1257300"/>
              <a:chExt cx="1943100" cy="1828800"/>
            </a:xfrm>
          </p:grpSpPr>
          <p:sp>
            <p:nvSpPr>
              <p:cNvPr id="10" name="Rounded Rectangle 7">
                <a:extLst>
                  <a:ext uri="{FF2B5EF4-FFF2-40B4-BE49-F238E27FC236}">
                    <a16:creationId xmlns:a16="http://schemas.microsoft.com/office/drawing/2014/main" id="{B6E7C3C1-2D13-31F0-4A71-56DC4BACD84C}"/>
                  </a:ext>
                </a:extLst>
              </p:cNvPr>
              <p:cNvSpPr/>
              <p:nvPr/>
            </p:nvSpPr>
            <p:spPr>
              <a:xfrm>
                <a:off x="4800600" y="1257300"/>
                <a:ext cx="1943100" cy="1828800"/>
              </a:xfrm>
              <a:custGeom>
                <a:avLst/>
                <a:gdLst/>
                <a:ahLst/>
                <a:cxnLst/>
                <a:rect l="0" t="0" r="0" b="0"/>
                <a:pathLst>
                  <a:path w="1943100" h="1828800">
                    <a:moveTo>
                      <a:pt x="0" y="0"/>
                    </a:moveTo>
                    <a:lnTo>
                      <a:pt x="1943100" y="0"/>
                    </a:lnTo>
                    <a:lnTo>
                      <a:pt x="1943100" y="1828800"/>
                    </a:lnTo>
                    <a:lnTo>
                      <a:pt x="0" y="1828800"/>
                    </a:lnTo>
                    <a:close/>
                  </a:path>
                </a:pathLst>
              </a:custGeom>
              <a:solidFill>
                <a:srgbClr val="8AC6FF"/>
              </a:solidFill>
              <a:ln>
                <a:noFill/>
              </a:ln>
            </p:spPr>
            <p:txBody>
              <a:bodyPr rtlCol="0" anchor="ctr"/>
              <a:lstStyle/>
              <a:p>
                <a:pPr algn="ctr"/>
                <a:endParaRPr sz="2400"/>
              </a:p>
            </p:txBody>
          </p:sp>
          <p:sp>
            <p:nvSpPr>
              <p:cNvPr id="11" name="Rounded Rectangle 8">
                <a:extLst>
                  <a:ext uri="{FF2B5EF4-FFF2-40B4-BE49-F238E27FC236}">
                    <a16:creationId xmlns:a16="http://schemas.microsoft.com/office/drawing/2014/main" id="{5DEB6F45-6CFE-CF0C-0EF8-EA7D3B14B4CE}"/>
                  </a:ext>
                </a:extLst>
              </p:cNvPr>
              <p:cNvSpPr/>
              <p:nvPr/>
            </p:nvSpPr>
            <p:spPr>
              <a:xfrm>
                <a:off x="4924425" y="3076575"/>
                <a:ext cx="1695450" cy="9525"/>
              </a:xfrm>
              <a:custGeom>
                <a:avLst/>
                <a:gdLst/>
                <a:ahLst/>
                <a:cxnLst/>
                <a:rect l="0" t="0" r="0" b="0"/>
                <a:pathLst>
                  <a:path w="1695450" h="9525">
                    <a:moveTo>
                      <a:pt x="0" y="0"/>
                    </a:moveTo>
                    <a:lnTo>
                      <a:pt x="1695450" y="0"/>
                    </a:lnTo>
                  </a:path>
                </a:pathLst>
              </a:custGeom>
              <a:noFill/>
              <a:ln w="7143">
                <a:solidFill>
                  <a:srgbClr val="FFFFFF"/>
                </a:solidFill>
              </a:ln>
            </p:spPr>
            <p:txBody>
              <a:bodyPr rtlCol="0" anchor="ctr"/>
              <a:lstStyle/>
              <a:p>
                <a:pPr algn="ctr"/>
                <a:endParaRPr sz="2400"/>
              </a:p>
            </p:txBody>
          </p:sp>
        </p:grpSp>
        <p:sp>
          <p:nvSpPr>
            <p:cNvPr id="12" name="Rounded Rectangle 10">
              <a:extLst>
                <a:ext uri="{FF2B5EF4-FFF2-40B4-BE49-F238E27FC236}">
                  <a16:creationId xmlns:a16="http://schemas.microsoft.com/office/drawing/2014/main" id="{7C3AA6DE-456F-1E46-A476-335C6EA1FC07}"/>
                </a:ext>
              </a:extLst>
            </p:cNvPr>
            <p:cNvSpPr/>
            <p:nvPr/>
          </p:nvSpPr>
          <p:spPr>
            <a:xfrm>
              <a:off x="458366" y="2998188"/>
              <a:ext cx="1943100" cy="2514600"/>
            </a:xfrm>
            <a:custGeom>
              <a:avLst/>
              <a:gdLst/>
              <a:ahLst/>
              <a:cxnLst/>
              <a:rect l="0" t="0" r="0" b="0"/>
              <a:pathLst>
                <a:path w="1943100" h="2514600">
                  <a:moveTo>
                    <a:pt x="0" y="0"/>
                  </a:moveTo>
                  <a:lnTo>
                    <a:pt x="1943100" y="0"/>
                  </a:lnTo>
                  <a:lnTo>
                    <a:pt x="1943100" y="228600"/>
                  </a:lnTo>
                  <a:lnTo>
                    <a:pt x="0" y="228600"/>
                  </a:lnTo>
                  <a:close/>
                  <a:moveTo>
                    <a:pt x="0" y="228600"/>
                  </a:moveTo>
                  <a:lnTo>
                    <a:pt x="1943100" y="228600"/>
                  </a:lnTo>
                  <a:lnTo>
                    <a:pt x="1943100" y="2286000"/>
                  </a:lnTo>
                  <a:lnTo>
                    <a:pt x="0" y="2286000"/>
                  </a:lnTo>
                  <a:close/>
                  <a:moveTo>
                    <a:pt x="0" y="2286000"/>
                  </a:moveTo>
                  <a:lnTo>
                    <a:pt x="1943100" y="2286000"/>
                  </a:lnTo>
                  <a:lnTo>
                    <a:pt x="1943100" y="2514600"/>
                  </a:lnTo>
                  <a:lnTo>
                    <a:pt x="0" y="2514600"/>
                  </a:lnTo>
                  <a:close/>
                </a:path>
              </a:pathLst>
            </a:custGeom>
            <a:solidFill>
              <a:srgbClr val="0D8AFF"/>
            </a:solidFill>
            <a:ln>
              <a:noFill/>
            </a:ln>
          </p:spPr>
          <p:txBody>
            <a:bodyPr rtlCol="0" anchor="ctr"/>
            <a:lstStyle/>
            <a:p>
              <a:pPr algn="ctr"/>
              <a:endParaRPr sz="2400"/>
            </a:p>
          </p:txBody>
        </p:sp>
        <p:sp>
          <p:nvSpPr>
            <p:cNvPr id="13" name="Rounded Rectangle 11">
              <a:extLst>
                <a:ext uri="{FF2B5EF4-FFF2-40B4-BE49-F238E27FC236}">
                  <a16:creationId xmlns:a16="http://schemas.microsoft.com/office/drawing/2014/main" id="{B0372882-451A-F99B-575D-EE07047266E4}"/>
                </a:ext>
              </a:extLst>
            </p:cNvPr>
            <p:cNvSpPr/>
            <p:nvPr/>
          </p:nvSpPr>
          <p:spPr>
            <a:xfrm>
              <a:off x="2630066" y="2998188"/>
              <a:ext cx="1943100" cy="2514600"/>
            </a:xfrm>
            <a:custGeom>
              <a:avLst/>
              <a:gdLst/>
              <a:ahLst/>
              <a:cxnLst/>
              <a:rect l="0" t="0" r="0" b="0"/>
              <a:pathLst>
                <a:path w="1943100" h="2514600">
                  <a:moveTo>
                    <a:pt x="0" y="0"/>
                  </a:moveTo>
                  <a:lnTo>
                    <a:pt x="1943100" y="0"/>
                  </a:lnTo>
                  <a:lnTo>
                    <a:pt x="1943100" y="228600"/>
                  </a:lnTo>
                  <a:lnTo>
                    <a:pt x="0" y="228600"/>
                  </a:lnTo>
                  <a:close/>
                  <a:moveTo>
                    <a:pt x="0" y="228600"/>
                  </a:moveTo>
                  <a:lnTo>
                    <a:pt x="1943100" y="228600"/>
                  </a:lnTo>
                  <a:lnTo>
                    <a:pt x="1943100" y="2286000"/>
                  </a:lnTo>
                  <a:lnTo>
                    <a:pt x="0" y="2286000"/>
                  </a:lnTo>
                  <a:close/>
                  <a:moveTo>
                    <a:pt x="0" y="2286000"/>
                  </a:moveTo>
                  <a:lnTo>
                    <a:pt x="1943100" y="2286000"/>
                  </a:lnTo>
                  <a:lnTo>
                    <a:pt x="1943100" y="2514600"/>
                  </a:lnTo>
                  <a:lnTo>
                    <a:pt x="0" y="2514600"/>
                  </a:lnTo>
                  <a:close/>
                </a:path>
              </a:pathLst>
            </a:custGeom>
            <a:solidFill>
              <a:srgbClr val="329CFF"/>
            </a:solidFill>
            <a:ln>
              <a:noFill/>
            </a:ln>
          </p:spPr>
          <p:txBody>
            <a:bodyPr rtlCol="0" anchor="ctr"/>
            <a:lstStyle/>
            <a:p>
              <a:pPr algn="ctr"/>
              <a:endParaRPr sz="2400"/>
            </a:p>
          </p:txBody>
        </p:sp>
        <p:sp>
          <p:nvSpPr>
            <p:cNvPr id="14" name="Rounded Rectangle 12">
              <a:extLst>
                <a:ext uri="{FF2B5EF4-FFF2-40B4-BE49-F238E27FC236}">
                  <a16:creationId xmlns:a16="http://schemas.microsoft.com/office/drawing/2014/main" id="{F7FF4A48-A8CE-4289-163D-00056F29F673}"/>
                </a:ext>
              </a:extLst>
            </p:cNvPr>
            <p:cNvSpPr/>
            <p:nvPr/>
          </p:nvSpPr>
          <p:spPr>
            <a:xfrm>
              <a:off x="4801766" y="2998188"/>
              <a:ext cx="1943100" cy="2514600"/>
            </a:xfrm>
            <a:custGeom>
              <a:avLst/>
              <a:gdLst/>
              <a:ahLst/>
              <a:cxnLst/>
              <a:rect l="0" t="0" r="0" b="0"/>
              <a:pathLst>
                <a:path w="1943100" h="2514600">
                  <a:moveTo>
                    <a:pt x="0" y="0"/>
                  </a:moveTo>
                  <a:lnTo>
                    <a:pt x="1943100" y="0"/>
                  </a:lnTo>
                  <a:lnTo>
                    <a:pt x="1943100" y="228600"/>
                  </a:lnTo>
                  <a:lnTo>
                    <a:pt x="0" y="228600"/>
                  </a:lnTo>
                  <a:close/>
                  <a:moveTo>
                    <a:pt x="0" y="228600"/>
                  </a:moveTo>
                  <a:lnTo>
                    <a:pt x="1943100" y="228600"/>
                  </a:lnTo>
                  <a:lnTo>
                    <a:pt x="1943100" y="2286000"/>
                  </a:lnTo>
                  <a:lnTo>
                    <a:pt x="0" y="2286000"/>
                  </a:lnTo>
                  <a:close/>
                  <a:moveTo>
                    <a:pt x="0" y="2286000"/>
                  </a:moveTo>
                  <a:lnTo>
                    <a:pt x="1943100" y="2286000"/>
                  </a:lnTo>
                  <a:lnTo>
                    <a:pt x="1943100" y="2514600"/>
                  </a:lnTo>
                  <a:lnTo>
                    <a:pt x="0" y="2514600"/>
                  </a:lnTo>
                  <a:close/>
                </a:path>
              </a:pathLst>
            </a:custGeom>
            <a:solidFill>
              <a:srgbClr val="8AC6FF"/>
            </a:solidFill>
            <a:ln>
              <a:noFill/>
            </a:ln>
          </p:spPr>
          <p:txBody>
            <a:bodyPr rtlCol="0" anchor="ctr"/>
            <a:lstStyle/>
            <a:p>
              <a:pPr algn="ctr"/>
              <a:endParaRPr sz="2400"/>
            </a:p>
          </p:txBody>
        </p:sp>
        <p:sp>
          <p:nvSpPr>
            <p:cNvPr id="15" name="TextBox 14">
              <a:extLst>
                <a:ext uri="{FF2B5EF4-FFF2-40B4-BE49-F238E27FC236}">
                  <a16:creationId xmlns:a16="http://schemas.microsoft.com/office/drawing/2014/main" id="{A6258F75-F935-481E-D79B-3DA521337DC7}"/>
                </a:ext>
              </a:extLst>
            </p:cNvPr>
            <p:cNvSpPr txBox="1"/>
            <p:nvPr/>
          </p:nvSpPr>
          <p:spPr>
            <a:xfrm>
              <a:off x="779092" y="3236313"/>
              <a:ext cx="1301659" cy="234955"/>
            </a:xfrm>
            <a:prstGeom prst="rect">
              <a:avLst/>
            </a:prstGeom>
            <a:noFill/>
            <a:ln>
              <a:noFill/>
            </a:ln>
          </p:spPr>
          <p:txBody>
            <a:bodyPr wrap="none" lIns="0" tIns="0" rIns="0" bIns="0" anchor="t">
              <a:spAutoFit/>
            </a:bodyPr>
            <a:lstStyle/>
            <a:p>
              <a:pPr algn="ctr"/>
              <a:r>
                <a:rPr lang="en-US" b="1">
                  <a:solidFill>
                    <a:srgbClr val="FFFFFF"/>
                  </a:solidFill>
                  <a:latin typeface="Arial"/>
                </a:rPr>
                <a:t>1. </a:t>
              </a:r>
              <a:r>
                <a:rPr b="1">
                  <a:solidFill>
                    <a:srgbClr val="FFFFFF"/>
                  </a:solidFill>
                  <a:latin typeface="Arial"/>
                </a:rPr>
                <a:t>Tools Layer</a:t>
              </a:r>
            </a:p>
          </p:txBody>
        </p:sp>
        <p:sp>
          <p:nvSpPr>
            <p:cNvPr id="16" name="TextBox 15">
              <a:extLst>
                <a:ext uri="{FF2B5EF4-FFF2-40B4-BE49-F238E27FC236}">
                  <a16:creationId xmlns:a16="http://schemas.microsoft.com/office/drawing/2014/main" id="{01EB58AB-F011-4123-5B28-B81C4CE5DA69}"/>
                </a:ext>
              </a:extLst>
            </p:cNvPr>
            <p:cNvSpPr txBox="1"/>
            <p:nvPr/>
          </p:nvSpPr>
          <p:spPr>
            <a:xfrm>
              <a:off x="2992479" y="3236313"/>
              <a:ext cx="1218283" cy="234955"/>
            </a:xfrm>
            <a:prstGeom prst="rect">
              <a:avLst/>
            </a:prstGeom>
            <a:noFill/>
            <a:ln>
              <a:noFill/>
            </a:ln>
          </p:spPr>
          <p:txBody>
            <a:bodyPr wrap="none" lIns="0" tIns="0" rIns="0" bIns="0" anchor="t">
              <a:spAutoFit/>
            </a:bodyPr>
            <a:lstStyle/>
            <a:p>
              <a:pPr algn="ctr"/>
              <a:r>
                <a:rPr lang="en-US" b="1">
                  <a:solidFill>
                    <a:srgbClr val="FFFFFF"/>
                  </a:solidFill>
                  <a:latin typeface="Arial"/>
                </a:rPr>
                <a:t>2. </a:t>
              </a:r>
              <a:r>
                <a:rPr b="1">
                  <a:solidFill>
                    <a:srgbClr val="FFFFFF"/>
                  </a:solidFill>
                  <a:latin typeface="Arial"/>
                </a:rPr>
                <a:t>Data Layer</a:t>
              </a:r>
            </a:p>
          </p:txBody>
        </p:sp>
        <p:sp>
          <p:nvSpPr>
            <p:cNvPr id="17" name="TextBox 16">
              <a:extLst>
                <a:ext uri="{FF2B5EF4-FFF2-40B4-BE49-F238E27FC236}">
                  <a16:creationId xmlns:a16="http://schemas.microsoft.com/office/drawing/2014/main" id="{AC480B9F-2CB2-951F-57B9-F2A052647AEA}"/>
                </a:ext>
              </a:extLst>
            </p:cNvPr>
            <p:cNvSpPr txBox="1"/>
            <p:nvPr/>
          </p:nvSpPr>
          <p:spPr>
            <a:xfrm>
              <a:off x="5022762" y="3236313"/>
              <a:ext cx="1501099" cy="469909"/>
            </a:xfrm>
            <a:prstGeom prst="rect">
              <a:avLst/>
            </a:prstGeom>
            <a:noFill/>
            <a:ln>
              <a:noFill/>
            </a:ln>
          </p:spPr>
          <p:txBody>
            <a:bodyPr wrap="none" lIns="0" tIns="0" rIns="0" bIns="0" anchor="t">
              <a:spAutoFit/>
            </a:bodyPr>
            <a:lstStyle/>
            <a:p>
              <a:pPr algn="ctr"/>
              <a:r>
                <a:rPr lang="en-US" b="1">
                  <a:solidFill>
                    <a:srgbClr val="FFFFFF"/>
                  </a:solidFill>
                  <a:latin typeface="Arial"/>
                </a:rPr>
                <a:t>3. </a:t>
              </a:r>
              <a:r>
                <a:rPr b="1">
                  <a:solidFill>
                    <a:srgbClr val="FFFFFF"/>
                  </a:solidFill>
                  <a:latin typeface="Arial"/>
                </a:rPr>
                <a:t>Orchestration
Layer</a:t>
              </a:r>
            </a:p>
          </p:txBody>
        </p:sp>
        <p:sp>
          <p:nvSpPr>
            <p:cNvPr id="18" name="TextBox 17">
              <a:extLst>
                <a:ext uri="{FF2B5EF4-FFF2-40B4-BE49-F238E27FC236}">
                  <a16:creationId xmlns:a16="http://schemas.microsoft.com/office/drawing/2014/main" id="{796DC962-1078-35F8-5448-33995CDAD53C}"/>
                </a:ext>
              </a:extLst>
            </p:cNvPr>
            <p:cNvSpPr txBox="1"/>
            <p:nvPr/>
          </p:nvSpPr>
          <p:spPr>
            <a:xfrm>
              <a:off x="788820" y="3831625"/>
              <a:ext cx="1282188" cy="1096454"/>
            </a:xfrm>
            <a:prstGeom prst="rect">
              <a:avLst/>
            </a:prstGeom>
            <a:noFill/>
            <a:ln>
              <a:noFill/>
            </a:ln>
          </p:spPr>
          <p:txBody>
            <a:bodyPr wrap="none" lIns="0" tIns="0" rIns="0" bIns="0" anchor="t">
              <a:spAutoFit/>
            </a:bodyPr>
            <a:lstStyle/>
            <a:p>
              <a:pPr algn="ctr"/>
              <a:r>
                <a:rPr sz="1400" b="0">
                  <a:solidFill>
                    <a:srgbClr val="FFFFFF"/>
                  </a:solidFill>
                  <a:latin typeface="Arial"/>
                </a:rPr>
                <a:t>Enables agents to
perform actions,
including browser
automation,
authentication, and
tool discovery.</a:t>
              </a:r>
            </a:p>
          </p:txBody>
        </p:sp>
        <p:sp>
          <p:nvSpPr>
            <p:cNvPr id="19" name="TextBox 18">
              <a:extLst>
                <a:ext uri="{FF2B5EF4-FFF2-40B4-BE49-F238E27FC236}">
                  <a16:creationId xmlns:a16="http://schemas.microsoft.com/office/drawing/2014/main" id="{C4988AD3-1C29-F76D-A673-94285AE178D1}"/>
                </a:ext>
              </a:extLst>
            </p:cNvPr>
            <p:cNvSpPr txBox="1"/>
            <p:nvPr/>
          </p:nvSpPr>
          <p:spPr>
            <a:xfrm>
              <a:off x="2838149" y="3831625"/>
              <a:ext cx="1526933" cy="1096454"/>
            </a:xfrm>
            <a:prstGeom prst="rect">
              <a:avLst/>
            </a:prstGeom>
            <a:noFill/>
            <a:ln>
              <a:noFill/>
            </a:ln>
          </p:spPr>
          <p:txBody>
            <a:bodyPr wrap="none" lIns="0" tIns="0" rIns="0" bIns="0" anchor="t">
              <a:spAutoFit/>
            </a:bodyPr>
            <a:lstStyle/>
            <a:p>
              <a:pPr algn="ctr"/>
              <a:r>
                <a:rPr sz="1400" b="0">
                  <a:solidFill>
                    <a:srgbClr val="FFFFFF"/>
                  </a:solidFill>
                  <a:latin typeface="Arial"/>
                </a:rPr>
                <a:t>Provides agents with
memory and access to
information, including
memory systems,
storage solutions, and
ETL services.</a:t>
              </a:r>
            </a:p>
          </p:txBody>
        </p:sp>
        <p:sp>
          <p:nvSpPr>
            <p:cNvPr id="20" name="TextBox 19">
              <a:extLst>
                <a:ext uri="{FF2B5EF4-FFF2-40B4-BE49-F238E27FC236}">
                  <a16:creationId xmlns:a16="http://schemas.microsoft.com/office/drawing/2014/main" id="{0E4C2CBC-876B-82F1-F4C1-AA777AEAA7EB}"/>
                </a:ext>
              </a:extLst>
            </p:cNvPr>
            <p:cNvSpPr txBox="1"/>
            <p:nvPr/>
          </p:nvSpPr>
          <p:spPr>
            <a:xfrm>
              <a:off x="5013961" y="3831625"/>
              <a:ext cx="1518775" cy="1279196"/>
            </a:xfrm>
            <a:prstGeom prst="rect">
              <a:avLst/>
            </a:prstGeom>
            <a:noFill/>
            <a:ln>
              <a:noFill/>
            </a:ln>
          </p:spPr>
          <p:txBody>
            <a:bodyPr wrap="none" lIns="0" tIns="0" rIns="0" bIns="0" anchor="t">
              <a:spAutoFit/>
            </a:bodyPr>
            <a:lstStyle/>
            <a:p>
              <a:pPr algn="ctr"/>
              <a:r>
                <a:rPr sz="1400" b="0">
                  <a:solidFill>
                    <a:srgbClr val="FFFFFF"/>
                  </a:solidFill>
                  <a:latin typeface="Arial"/>
                </a:rPr>
                <a:t>Manages complexity
and coordination of
multiple agents,
including managed
orchestration solutions
and persistence
engines.</a:t>
              </a:r>
            </a:p>
          </p:txBody>
        </p:sp>
        <p:sp>
          <p:nvSpPr>
            <p:cNvPr id="21" name="Rounded Rectangle 20">
              <a:extLst>
                <a:ext uri="{FF2B5EF4-FFF2-40B4-BE49-F238E27FC236}">
                  <a16:creationId xmlns:a16="http://schemas.microsoft.com/office/drawing/2014/main" id="{2B63745D-AD4E-85BC-0600-432C40ACC7CB}"/>
                </a:ext>
              </a:extLst>
            </p:cNvPr>
            <p:cNvSpPr/>
            <p:nvPr/>
          </p:nvSpPr>
          <p:spPr>
            <a:xfrm>
              <a:off x="894134" y="1560436"/>
              <a:ext cx="1071562" cy="1046702"/>
            </a:xfrm>
            <a:custGeom>
              <a:avLst/>
              <a:gdLst/>
              <a:ahLst/>
              <a:cxnLst/>
              <a:rect l="0" t="0" r="0" b="0"/>
              <a:pathLst>
                <a:path w="1071562" h="1046702">
                  <a:moveTo>
                    <a:pt x="452008" y="921257"/>
                  </a:moveTo>
                  <a:lnTo>
                    <a:pt x="622030" y="921257"/>
                  </a:lnTo>
                  <a:cubicBezTo>
                    <a:pt x="654608" y="921231"/>
                    <a:pt x="681011" y="894828"/>
                    <a:pt x="681037" y="862250"/>
                  </a:cubicBezTo>
                  <a:lnTo>
                    <a:pt x="681037" y="862250"/>
                  </a:lnTo>
                  <a:cubicBezTo>
                    <a:pt x="681037" y="829672"/>
                    <a:pt x="654655" y="803248"/>
                    <a:pt x="622077" y="803195"/>
                  </a:cubicBezTo>
                  <a:lnTo>
                    <a:pt x="452056" y="803195"/>
                  </a:lnTo>
                  <a:cubicBezTo>
                    <a:pt x="419681" y="803193"/>
                    <a:pt x="393340" y="829258"/>
                    <a:pt x="393001" y="861631"/>
                  </a:cubicBezTo>
                  <a:lnTo>
                    <a:pt x="393001" y="861631"/>
                  </a:lnTo>
                  <a:cubicBezTo>
                    <a:pt x="392849" y="877384"/>
                    <a:pt x="398997" y="892545"/>
                    <a:pt x="410078" y="903742"/>
                  </a:cubicBezTo>
                  <a:cubicBezTo>
                    <a:pt x="421159" y="914940"/>
                    <a:pt x="436255" y="921246"/>
                    <a:pt x="452008" y="921257"/>
                  </a:cubicBezTo>
                  <a:close/>
                  <a:moveTo>
                    <a:pt x="1071562" y="686895"/>
                  </a:moveTo>
                  <a:lnTo>
                    <a:pt x="1071562" y="1000172"/>
                  </a:lnTo>
                  <a:cubicBezTo>
                    <a:pt x="1071562" y="1025890"/>
                    <a:pt x="1050750" y="1046702"/>
                    <a:pt x="1025032" y="1046702"/>
                  </a:cubicBezTo>
                  <a:lnTo>
                    <a:pt x="48434" y="1046702"/>
                  </a:lnTo>
                  <a:cubicBezTo>
                    <a:pt x="22737" y="1046702"/>
                    <a:pt x="1905" y="1025870"/>
                    <a:pt x="1905" y="1000172"/>
                  </a:cubicBezTo>
                  <a:lnTo>
                    <a:pt x="1905" y="686895"/>
                  </a:lnTo>
                  <a:moveTo>
                    <a:pt x="1905" y="686895"/>
                  </a:moveTo>
                  <a:lnTo>
                    <a:pt x="1071562" y="686895"/>
                  </a:lnTo>
                  <a:moveTo>
                    <a:pt x="0" y="209311"/>
                  </a:moveTo>
                  <a:lnTo>
                    <a:pt x="0" y="46529"/>
                  </a:lnTo>
                  <a:cubicBezTo>
                    <a:pt x="0" y="20812"/>
                    <a:pt x="20812" y="0"/>
                    <a:pt x="46529" y="0"/>
                  </a:cubicBezTo>
                  <a:lnTo>
                    <a:pt x="1023127" y="0"/>
                  </a:lnTo>
                  <a:cubicBezTo>
                    <a:pt x="1048845" y="0"/>
                    <a:pt x="1069657" y="20812"/>
                    <a:pt x="1069657" y="46529"/>
                  </a:cubicBezTo>
                  <a:lnTo>
                    <a:pt x="1069657" y="209311"/>
                  </a:lnTo>
                  <a:moveTo>
                    <a:pt x="381095" y="439864"/>
                  </a:moveTo>
                  <a:cubicBezTo>
                    <a:pt x="361331" y="468241"/>
                    <a:pt x="333388" y="489921"/>
                    <a:pt x="300990" y="502015"/>
                  </a:cubicBezTo>
                  <a:lnTo>
                    <a:pt x="300418" y="686895"/>
                  </a:lnTo>
                  <a:lnTo>
                    <a:pt x="180022" y="686895"/>
                  </a:lnTo>
                  <a:lnTo>
                    <a:pt x="180641" y="501634"/>
                  </a:lnTo>
                  <a:cubicBezTo>
                    <a:pt x="114498" y="476424"/>
                    <a:pt x="70869" y="412902"/>
                    <a:pt x="71081" y="342118"/>
                  </a:cubicBezTo>
                  <a:cubicBezTo>
                    <a:pt x="71292" y="271334"/>
                    <a:pt x="115301" y="208074"/>
                    <a:pt x="181594" y="183261"/>
                  </a:cubicBezTo>
                  <a:lnTo>
                    <a:pt x="181260" y="312324"/>
                  </a:lnTo>
                  <a:lnTo>
                    <a:pt x="241268" y="372713"/>
                  </a:lnTo>
                  <a:lnTo>
                    <a:pt x="301561" y="312705"/>
                  </a:lnTo>
                  <a:lnTo>
                    <a:pt x="301942" y="183641"/>
                  </a:lnTo>
                  <a:cubicBezTo>
                    <a:pt x="350877" y="202292"/>
                    <a:pt x="388499" y="242437"/>
                    <a:pt x="403939" y="292478"/>
                  </a:cubicBezTo>
                  <a:cubicBezTo>
                    <a:pt x="419380" y="342519"/>
                    <a:pt x="410918" y="396883"/>
                    <a:pt x="381000" y="439864"/>
                  </a:cubicBezTo>
                  <a:close/>
                  <a:moveTo>
                    <a:pt x="485203" y="686895"/>
                  </a:moveTo>
                  <a:lnTo>
                    <a:pt x="485822" y="512111"/>
                  </a:lnTo>
                  <a:lnTo>
                    <a:pt x="634317" y="512206"/>
                  </a:lnTo>
                  <a:lnTo>
                    <a:pt x="634317" y="686895"/>
                  </a:lnTo>
                  <a:lnTo>
                    <a:pt x="485251" y="686895"/>
                  </a:lnTo>
                  <a:close/>
                  <a:moveTo>
                    <a:pt x="496442" y="183308"/>
                  </a:moveTo>
                  <a:lnTo>
                    <a:pt x="623839" y="183308"/>
                  </a:lnTo>
                  <a:lnTo>
                    <a:pt x="623839" y="246173"/>
                  </a:lnTo>
                  <a:cubicBezTo>
                    <a:pt x="623839" y="281353"/>
                    <a:pt x="595321" y="309872"/>
                    <a:pt x="560141" y="309872"/>
                  </a:cubicBezTo>
                  <a:cubicBezTo>
                    <a:pt x="524961" y="309872"/>
                    <a:pt x="496442" y="281353"/>
                    <a:pt x="496442" y="246173"/>
                  </a:cubicBezTo>
                  <a:close/>
                  <a:moveTo>
                    <a:pt x="559784" y="309943"/>
                  </a:moveTo>
                  <a:lnTo>
                    <a:pt x="559784" y="512111"/>
                  </a:lnTo>
                  <a:moveTo>
                    <a:pt x="919686" y="442245"/>
                  </a:moveTo>
                  <a:cubicBezTo>
                    <a:pt x="981716" y="411961"/>
                    <a:pt x="1014360" y="342631"/>
                    <a:pt x="998187" y="275524"/>
                  </a:cubicBezTo>
                  <a:cubicBezTo>
                    <a:pt x="982014" y="208417"/>
                    <a:pt x="921371" y="161570"/>
                    <a:pt x="852355" y="162868"/>
                  </a:cubicBezTo>
                  <a:cubicBezTo>
                    <a:pt x="783339" y="164166"/>
                    <a:pt x="724501" y="213259"/>
                    <a:pt x="710862" y="280927"/>
                  </a:cubicBezTo>
                  <a:cubicBezTo>
                    <a:pt x="697223" y="348594"/>
                    <a:pt x="732450" y="416647"/>
                    <a:pt x="795575" y="444579"/>
                  </a:cubicBezTo>
                  <a:lnTo>
                    <a:pt x="795242" y="686895"/>
                  </a:lnTo>
                  <a:lnTo>
                    <a:pt x="919686" y="686895"/>
                  </a:lnTo>
                  <a:close/>
                  <a:moveTo>
                    <a:pt x="799766" y="309943"/>
                  </a:moveTo>
                  <a:cubicBezTo>
                    <a:pt x="799762" y="279350"/>
                    <a:pt x="824561" y="254548"/>
                    <a:pt x="855154" y="254548"/>
                  </a:cubicBezTo>
                  <a:cubicBezTo>
                    <a:pt x="885747" y="254548"/>
                    <a:pt x="910546" y="279350"/>
                    <a:pt x="910542" y="309943"/>
                  </a:cubicBezTo>
                  <a:cubicBezTo>
                    <a:pt x="910546" y="340536"/>
                    <a:pt x="885747" y="365338"/>
                    <a:pt x="855154" y="365338"/>
                  </a:cubicBezTo>
                  <a:cubicBezTo>
                    <a:pt x="824561" y="365338"/>
                    <a:pt x="799762" y="340536"/>
                    <a:pt x="799766" y="309943"/>
                  </a:cubicBezTo>
                </a:path>
              </a:pathLst>
            </a:custGeom>
            <a:noFill/>
            <a:ln w="7143">
              <a:solidFill>
                <a:srgbClr val="FFFFFF"/>
              </a:solidFill>
            </a:ln>
          </p:spPr>
          <p:txBody>
            <a:bodyPr rtlCol="0" anchor="ctr"/>
            <a:lstStyle/>
            <a:p>
              <a:pPr algn="ctr"/>
              <a:endParaRPr sz="2400"/>
            </a:p>
          </p:txBody>
        </p:sp>
        <p:sp>
          <p:nvSpPr>
            <p:cNvPr id="22" name="Rounded Rectangle 21">
              <a:extLst>
                <a:ext uri="{FF2B5EF4-FFF2-40B4-BE49-F238E27FC236}">
                  <a16:creationId xmlns:a16="http://schemas.microsoft.com/office/drawing/2014/main" id="{F7C6F907-78F2-5EE8-0CCB-511CB45D8141}"/>
                </a:ext>
              </a:extLst>
            </p:cNvPr>
            <p:cNvSpPr/>
            <p:nvPr/>
          </p:nvSpPr>
          <p:spPr>
            <a:xfrm>
              <a:off x="3172991" y="1536100"/>
              <a:ext cx="857250" cy="1095374"/>
            </a:xfrm>
            <a:custGeom>
              <a:avLst/>
              <a:gdLst/>
              <a:ahLst/>
              <a:cxnLst/>
              <a:rect l="0" t="0" r="0" b="0"/>
              <a:pathLst>
                <a:path w="857250" h="1095374">
                  <a:moveTo>
                    <a:pt x="0" y="166687"/>
                  </a:moveTo>
                  <a:cubicBezTo>
                    <a:pt x="0" y="258746"/>
                    <a:pt x="191901" y="333374"/>
                    <a:pt x="428625" y="333374"/>
                  </a:cubicBezTo>
                  <a:cubicBezTo>
                    <a:pt x="665348" y="333374"/>
                    <a:pt x="857250" y="258746"/>
                    <a:pt x="857250" y="166687"/>
                  </a:cubicBezTo>
                  <a:cubicBezTo>
                    <a:pt x="857250" y="74628"/>
                    <a:pt x="665348" y="0"/>
                    <a:pt x="428625" y="0"/>
                  </a:cubicBezTo>
                  <a:cubicBezTo>
                    <a:pt x="191901" y="0"/>
                    <a:pt x="0" y="74628"/>
                    <a:pt x="0" y="166687"/>
                  </a:cubicBezTo>
                  <a:moveTo>
                    <a:pt x="0" y="166687"/>
                  </a:moveTo>
                  <a:lnTo>
                    <a:pt x="0" y="928687"/>
                  </a:lnTo>
                  <a:cubicBezTo>
                    <a:pt x="0" y="1020746"/>
                    <a:pt x="191881" y="1095374"/>
                    <a:pt x="428625" y="1095374"/>
                  </a:cubicBezTo>
                  <a:cubicBezTo>
                    <a:pt x="665368" y="1095374"/>
                    <a:pt x="857250" y="1020746"/>
                    <a:pt x="857250" y="928687"/>
                  </a:cubicBezTo>
                  <a:lnTo>
                    <a:pt x="857250" y="166687"/>
                  </a:lnTo>
                  <a:moveTo>
                    <a:pt x="857250" y="333374"/>
                  </a:moveTo>
                  <a:cubicBezTo>
                    <a:pt x="857250" y="425434"/>
                    <a:pt x="665368" y="500062"/>
                    <a:pt x="428625" y="500062"/>
                  </a:cubicBezTo>
                  <a:cubicBezTo>
                    <a:pt x="191881" y="500062"/>
                    <a:pt x="0" y="425434"/>
                    <a:pt x="0" y="333374"/>
                  </a:cubicBezTo>
                  <a:moveTo>
                    <a:pt x="857250" y="500062"/>
                  </a:moveTo>
                  <a:cubicBezTo>
                    <a:pt x="857250" y="592121"/>
                    <a:pt x="665368" y="666749"/>
                    <a:pt x="428625" y="666749"/>
                  </a:cubicBezTo>
                  <a:cubicBezTo>
                    <a:pt x="191881" y="666749"/>
                    <a:pt x="0" y="592121"/>
                    <a:pt x="0" y="500062"/>
                  </a:cubicBezTo>
                </a:path>
              </a:pathLst>
            </a:custGeom>
            <a:noFill/>
            <a:ln w="7143">
              <a:solidFill>
                <a:srgbClr val="FFFFFF"/>
              </a:solidFill>
            </a:ln>
          </p:spPr>
          <p:txBody>
            <a:bodyPr rtlCol="0" anchor="ctr"/>
            <a:lstStyle/>
            <a:p>
              <a:pPr algn="ctr"/>
              <a:endParaRPr sz="2400"/>
            </a:p>
          </p:txBody>
        </p:sp>
        <p:sp>
          <p:nvSpPr>
            <p:cNvPr id="23" name="Rounded Rectangle 22">
              <a:extLst>
                <a:ext uri="{FF2B5EF4-FFF2-40B4-BE49-F238E27FC236}">
                  <a16:creationId xmlns:a16="http://schemas.microsoft.com/office/drawing/2014/main" id="{1096FFA6-DFB9-05D1-F90C-F7909007B4CA}"/>
                </a:ext>
              </a:extLst>
            </p:cNvPr>
            <p:cNvSpPr/>
            <p:nvPr/>
          </p:nvSpPr>
          <p:spPr>
            <a:xfrm>
              <a:off x="5241294" y="1536100"/>
              <a:ext cx="1064282" cy="1095375"/>
            </a:xfrm>
            <a:custGeom>
              <a:avLst/>
              <a:gdLst/>
              <a:ahLst/>
              <a:cxnLst/>
              <a:rect l="0" t="0" r="0" b="0"/>
              <a:pathLst>
                <a:path w="1064282" h="1095375">
                  <a:moveTo>
                    <a:pt x="174834" y="797766"/>
                  </a:moveTo>
                  <a:cubicBezTo>
                    <a:pt x="174834" y="738585"/>
                    <a:pt x="222809" y="690610"/>
                    <a:pt x="281990" y="690610"/>
                  </a:cubicBezTo>
                  <a:cubicBezTo>
                    <a:pt x="341171" y="690610"/>
                    <a:pt x="389146" y="738585"/>
                    <a:pt x="389146" y="797766"/>
                  </a:cubicBezTo>
                  <a:cubicBezTo>
                    <a:pt x="389146" y="856947"/>
                    <a:pt x="341171" y="904922"/>
                    <a:pt x="281990" y="904922"/>
                  </a:cubicBezTo>
                  <a:cubicBezTo>
                    <a:pt x="222809" y="904922"/>
                    <a:pt x="174834" y="856947"/>
                    <a:pt x="174834" y="797766"/>
                  </a:cubicBezTo>
                  <a:close/>
                  <a:moveTo>
                    <a:pt x="548928" y="883158"/>
                  </a:moveTo>
                  <a:lnTo>
                    <a:pt x="500779" y="855344"/>
                  </a:lnTo>
                  <a:cubicBezTo>
                    <a:pt x="510685" y="817598"/>
                    <a:pt x="510685" y="777934"/>
                    <a:pt x="500779" y="740187"/>
                  </a:cubicBezTo>
                  <a:lnTo>
                    <a:pt x="548928" y="712374"/>
                  </a:lnTo>
                  <a:cubicBezTo>
                    <a:pt x="560317" y="705798"/>
                    <a:pt x="564219" y="691235"/>
                    <a:pt x="557644" y="679846"/>
                  </a:cubicBezTo>
                  <a:lnTo>
                    <a:pt x="521925" y="617934"/>
                  </a:lnTo>
                  <a:cubicBezTo>
                    <a:pt x="515349" y="606545"/>
                    <a:pt x="500786" y="602643"/>
                    <a:pt x="489397" y="609218"/>
                  </a:cubicBezTo>
                  <a:lnTo>
                    <a:pt x="441248" y="636984"/>
                  </a:lnTo>
                  <a:cubicBezTo>
                    <a:pt x="413518" y="609544"/>
                    <a:pt x="379164" y="589742"/>
                    <a:pt x="341521" y="579501"/>
                  </a:cubicBezTo>
                  <a:lnTo>
                    <a:pt x="341521" y="523875"/>
                  </a:lnTo>
                  <a:cubicBezTo>
                    <a:pt x="341521" y="510723"/>
                    <a:pt x="330860" y="500062"/>
                    <a:pt x="317709" y="500062"/>
                  </a:cubicBezTo>
                  <a:lnTo>
                    <a:pt x="246271" y="500062"/>
                  </a:lnTo>
                  <a:cubicBezTo>
                    <a:pt x="233120" y="500062"/>
                    <a:pt x="222459" y="510723"/>
                    <a:pt x="222459" y="523875"/>
                  </a:cubicBezTo>
                  <a:lnTo>
                    <a:pt x="222459" y="579453"/>
                  </a:lnTo>
                  <a:cubicBezTo>
                    <a:pt x="184806" y="589722"/>
                    <a:pt x="150451" y="609557"/>
                    <a:pt x="122732" y="637032"/>
                  </a:cubicBezTo>
                  <a:lnTo>
                    <a:pt x="74821" y="609314"/>
                  </a:lnTo>
                  <a:cubicBezTo>
                    <a:pt x="63432" y="602738"/>
                    <a:pt x="48869" y="606640"/>
                    <a:pt x="42294" y="618029"/>
                  </a:cubicBezTo>
                  <a:lnTo>
                    <a:pt x="6575" y="679942"/>
                  </a:lnTo>
                  <a:cubicBezTo>
                    <a:pt x="0" y="691331"/>
                    <a:pt x="3901" y="705894"/>
                    <a:pt x="15290" y="712470"/>
                  </a:cubicBezTo>
                  <a:lnTo>
                    <a:pt x="63439" y="740283"/>
                  </a:lnTo>
                  <a:cubicBezTo>
                    <a:pt x="53533" y="778029"/>
                    <a:pt x="53533" y="817693"/>
                    <a:pt x="63439" y="855440"/>
                  </a:cubicBezTo>
                  <a:lnTo>
                    <a:pt x="15290" y="883253"/>
                  </a:lnTo>
                  <a:cubicBezTo>
                    <a:pt x="3901" y="889829"/>
                    <a:pt x="0" y="904392"/>
                    <a:pt x="6575" y="915781"/>
                  </a:cubicBezTo>
                  <a:lnTo>
                    <a:pt x="42294" y="977693"/>
                  </a:lnTo>
                  <a:cubicBezTo>
                    <a:pt x="48869" y="989082"/>
                    <a:pt x="63432" y="992984"/>
                    <a:pt x="74821" y="986408"/>
                  </a:cubicBezTo>
                  <a:lnTo>
                    <a:pt x="122970" y="958643"/>
                  </a:lnTo>
                  <a:cubicBezTo>
                    <a:pt x="150644" y="986013"/>
                    <a:pt x="184911" y="1005779"/>
                    <a:pt x="222459" y="1016031"/>
                  </a:cubicBezTo>
                  <a:lnTo>
                    <a:pt x="222459" y="1071562"/>
                  </a:lnTo>
                  <a:cubicBezTo>
                    <a:pt x="222459" y="1084713"/>
                    <a:pt x="233120" y="1095375"/>
                    <a:pt x="246271" y="1095375"/>
                  </a:cubicBezTo>
                  <a:lnTo>
                    <a:pt x="317709" y="1095375"/>
                  </a:lnTo>
                  <a:cubicBezTo>
                    <a:pt x="330860" y="1095375"/>
                    <a:pt x="341521" y="1084713"/>
                    <a:pt x="341521" y="1071562"/>
                  </a:cubicBezTo>
                  <a:lnTo>
                    <a:pt x="341521" y="1016031"/>
                  </a:lnTo>
                  <a:cubicBezTo>
                    <a:pt x="379174" y="1005762"/>
                    <a:pt x="413529" y="985927"/>
                    <a:pt x="441248" y="958453"/>
                  </a:cubicBezTo>
                  <a:lnTo>
                    <a:pt x="489397" y="986218"/>
                  </a:lnTo>
                  <a:cubicBezTo>
                    <a:pt x="500786" y="992793"/>
                    <a:pt x="515349" y="988891"/>
                    <a:pt x="521925" y="977503"/>
                  </a:cubicBezTo>
                  <a:lnTo>
                    <a:pt x="557644" y="915590"/>
                  </a:lnTo>
                  <a:cubicBezTo>
                    <a:pt x="564154" y="904222"/>
                    <a:pt x="560260" y="889731"/>
                    <a:pt x="548928" y="883158"/>
                  </a:cubicBezTo>
                  <a:close/>
                  <a:moveTo>
                    <a:pt x="674896" y="297703"/>
                  </a:moveTo>
                  <a:cubicBezTo>
                    <a:pt x="674896" y="238523"/>
                    <a:pt x="722872" y="190547"/>
                    <a:pt x="782053" y="190547"/>
                  </a:cubicBezTo>
                  <a:cubicBezTo>
                    <a:pt x="841234" y="190547"/>
                    <a:pt x="889209" y="238523"/>
                    <a:pt x="889209" y="297703"/>
                  </a:cubicBezTo>
                  <a:cubicBezTo>
                    <a:pt x="889209" y="356884"/>
                    <a:pt x="841234" y="404860"/>
                    <a:pt x="782053" y="404860"/>
                  </a:cubicBezTo>
                  <a:cubicBezTo>
                    <a:pt x="722872" y="404860"/>
                    <a:pt x="674896" y="356884"/>
                    <a:pt x="674896" y="297703"/>
                  </a:cubicBezTo>
                  <a:close/>
                  <a:moveTo>
                    <a:pt x="515115" y="212312"/>
                  </a:moveTo>
                  <a:lnTo>
                    <a:pt x="563263" y="240125"/>
                  </a:lnTo>
                  <a:cubicBezTo>
                    <a:pt x="553358" y="277871"/>
                    <a:pt x="553358" y="317535"/>
                    <a:pt x="563263" y="355282"/>
                  </a:cubicBezTo>
                  <a:lnTo>
                    <a:pt x="515115" y="383095"/>
                  </a:lnTo>
                  <a:cubicBezTo>
                    <a:pt x="503726" y="389671"/>
                    <a:pt x="499824" y="404234"/>
                    <a:pt x="506399" y="415623"/>
                  </a:cubicBezTo>
                  <a:lnTo>
                    <a:pt x="542118" y="477535"/>
                  </a:lnTo>
                  <a:cubicBezTo>
                    <a:pt x="548694" y="488924"/>
                    <a:pt x="563257" y="492826"/>
                    <a:pt x="574646" y="486251"/>
                  </a:cubicBezTo>
                  <a:lnTo>
                    <a:pt x="622795" y="458485"/>
                  </a:lnTo>
                  <a:cubicBezTo>
                    <a:pt x="650524" y="485925"/>
                    <a:pt x="684879" y="505727"/>
                    <a:pt x="722521" y="515969"/>
                  </a:cubicBezTo>
                  <a:lnTo>
                    <a:pt x="722521" y="571500"/>
                  </a:lnTo>
                  <a:cubicBezTo>
                    <a:pt x="722521" y="584651"/>
                    <a:pt x="733183" y="595312"/>
                    <a:pt x="746334" y="595312"/>
                  </a:cubicBezTo>
                  <a:lnTo>
                    <a:pt x="817771" y="595312"/>
                  </a:lnTo>
                  <a:cubicBezTo>
                    <a:pt x="830923" y="595312"/>
                    <a:pt x="841584" y="584651"/>
                    <a:pt x="841584" y="571500"/>
                  </a:cubicBezTo>
                  <a:lnTo>
                    <a:pt x="841584" y="515969"/>
                  </a:lnTo>
                  <a:cubicBezTo>
                    <a:pt x="879236" y="505700"/>
                    <a:pt x="913592" y="485864"/>
                    <a:pt x="941311" y="458390"/>
                  </a:cubicBezTo>
                  <a:lnTo>
                    <a:pt x="989460" y="486156"/>
                  </a:lnTo>
                  <a:cubicBezTo>
                    <a:pt x="1000849" y="492731"/>
                    <a:pt x="1015412" y="488829"/>
                    <a:pt x="1021987" y="477440"/>
                  </a:cubicBezTo>
                  <a:lnTo>
                    <a:pt x="1057706" y="415528"/>
                  </a:lnTo>
                  <a:cubicBezTo>
                    <a:pt x="1064282" y="404139"/>
                    <a:pt x="1060380" y="389576"/>
                    <a:pt x="1048991" y="383000"/>
                  </a:cubicBezTo>
                  <a:lnTo>
                    <a:pt x="1000842" y="355282"/>
                  </a:lnTo>
                  <a:cubicBezTo>
                    <a:pt x="1010748" y="317535"/>
                    <a:pt x="1010748" y="277871"/>
                    <a:pt x="1000842" y="240125"/>
                  </a:cubicBezTo>
                  <a:lnTo>
                    <a:pt x="1048991" y="212312"/>
                  </a:lnTo>
                  <a:cubicBezTo>
                    <a:pt x="1060380" y="205736"/>
                    <a:pt x="1064282" y="191173"/>
                    <a:pt x="1057706" y="179784"/>
                  </a:cubicBezTo>
                  <a:lnTo>
                    <a:pt x="1021987" y="117871"/>
                  </a:lnTo>
                  <a:cubicBezTo>
                    <a:pt x="1015412" y="106483"/>
                    <a:pt x="1000849" y="102581"/>
                    <a:pt x="989460" y="109156"/>
                  </a:cubicBezTo>
                  <a:lnTo>
                    <a:pt x="941311" y="136921"/>
                  </a:lnTo>
                  <a:cubicBezTo>
                    <a:pt x="913581" y="109482"/>
                    <a:pt x="879227" y="89680"/>
                    <a:pt x="841584" y="79438"/>
                  </a:cubicBezTo>
                  <a:lnTo>
                    <a:pt x="841584" y="23812"/>
                  </a:lnTo>
                  <a:cubicBezTo>
                    <a:pt x="841584" y="10661"/>
                    <a:pt x="830923" y="0"/>
                    <a:pt x="817771" y="0"/>
                  </a:cubicBezTo>
                  <a:lnTo>
                    <a:pt x="746334" y="0"/>
                  </a:lnTo>
                  <a:cubicBezTo>
                    <a:pt x="733183" y="0"/>
                    <a:pt x="722521" y="10661"/>
                    <a:pt x="722521" y="23812"/>
                  </a:cubicBezTo>
                  <a:lnTo>
                    <a:pt x="722521" y="79438"/>
                  </a:lnTo>
                  <a:cubicBezTo>
                    <a:pt x="684869" y="89707"/>
                    <a:pt x="650514" y="109543"/>
                    <a:pt x="622795" y="137017"/>
                  </a:cubicBezTo>
                  <a:lnTo>
                    <a:pt x="574884" y="109251"/>
                  </a:lnTo>
                  <a:cubicBezTo>
                    <a:pt x="563495" y="102676"/>
                    <a:pt x="548932" y="106578"/>
                    <a:pt x="542356" y="117967"/>
                  </a:cubicBezTo>
                  <a:lnTo>
                    <a:pt x="506637" y="179879"/>
                  </a:lnTo>
                  <a:cubicBezTo>
                    <a:pt x="500086" y="191185"/>
                    <a:pt x="503869" y="205658"/>
                    <a:pt x="515115" y="212312"/>
                  </a:cubicBezTo>
                  <a:close/>
                </a:path>
              </a:pathLst>
            </a:custGeom>
            <a:noFill/>
            <a:ln w="7143">
              <a:solidFill>
                <a:srgbClr val="FFFFFF"/>
              </a:solidFill>
            </a:ln>
          </p:spPr>
          <p:txBody>
            <a:bodyPr rtlCol="0" anchor="ctr"/>
            <a:lstStyle/>
            <a:p>
              <a:pPr algn="ctr"/>
              <a:endParaRPr sz="2400"/>
            </a:p>
          </p:txBody>
        </p:sp>
      </p:grpSp>
    </p:spTree>
    <p:extLst>
      <p:ext uri="{BB962C8B-B14F-4D97-AF65-F5344CB8AC3E}">
        <p14:creationId xmlns:p14="http://schemas.microsoft.com/office/powerpoint/2010/main" val="296759160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14C53A-EA40-0765-0149-81E8AF12ABDD}"/>
              </a:ext>
            </a:extLst>
          </p:cNvPr>
          <p:cNvSpPr>
            <a:spLocks noGrp="1"/>
          </p:cNvSpPr>
          <p:nvPr>
            <p:ph type="title"/>
          </p:nvPr>
        </p:nvSpPr>
        <p:spPr/>
        <p:txBody>
          <a:bodyPr/>
          <a:lstStyle/>
          <a:p>
            <a:r>
              <a:rPr lang="en-US"/>
              <a:t>Future Trends in AI Agent Development</a:t>
            </a:r>
          </a:p>
        </p:txBody>
      </p:sp>
      <p:grpSp>
        <p:nvGrpSpPr>
          <p:cNvPr id="45" name="Group 44">
            <a:extLst>
              <a:ext uri="{FF2B5EF4-FFF2-40B4-BE49-F238E27FC236}">
                <a16:creationId xmlns:a16="http://schemas.microsoft.com/office/drawing/2014/main" id="{C4812EF6-5FE6-A1B3-A530-0538734FBFD3}"/>
              </a:ext>
            </a:extLst>
          </p:cNvPr>
          <p:cNvGrpSpPr>
            <a:grpSpLocks noChangeAspect="1"/>
          </p:cNvGrpSpPr>
          <p:nvPr/>
        </p:nvGrpSpPr>
        <p:grpSpPr>
          <a:xfrm>
            <a:off x="509232" y="1157782"/>
            <a:ext cx="8466092" cy="5029200"/>
            <a:chOff x="509233" y="1157782"/>
            <a:chExt cx="7781963" cy="4622800"/>
          </a:xfrm>
        </p:grpSpPr>
        <p:grpSp>
          <p:nvGrpSpPr>
            <p:cNvPr id="3" name="Group 2">
              <a:extLst>
                <a:ext uri="{FF2B5EF4-FFF2-40B4-BE49-F238E27FC236}">
                  <a16:creationId xmlns:a16="http://schemas.microsoft.com/office/drawing/2014/main" id="{77392E58-2DDF-6ED7-2E18-78FAE61C2A82}"/>
                </a:ext>
              </a:extLst>
            </p:cNvPr>
            <p:cNvGrpSpPr/>
            <p:nvPr/>
          </p:nvGrpSpPr>
          <p:grpSpPr>
            <a:xfrm>
              <a:off x="509233" y="5120182"/>
              <a:ext cx="3838575" cy="660400"/>
              <a:chOff x="247650" y="4870450"/>
              <a:chExt cx="3838575" cy="660400"/>
            </a:xfrm>
          </p:grpSpPr>
          <p:sp>
            <p:nvSpPr>
              <p:cNvPr id="4" name="Rounded Rectangle 1">
                <a:extLst>
                  <a:ext uri="{FF2B5EF4-FFF2-40B4-BE49-F238E27FC236}">
                    <a16:creationId xmlns:a16="http://schemas.microsoft.com/office/drawing/2014/main" id="{F479CDA0-7C09-817D-7AAA-B6041E910AAC}"/>
                  </a:ext>
                </a:extLst>
              </p:cNvPr>
              <p:cNvSpPr/>
              <p:nvPr/>
            </p:nvSpPr>
            <p:spPr>
              <a:xfrm>
                <a:off x="247650" y="4870450"/>
                <a:ext cx="3838575" cy="660400"/>
              </a:xfrm>
              <a:custGeom>
                <a:avLst/>
                <a:gdLst/>
                <a:ahLst/>
                <a:cxnLst/>
                <a:rect l="0" t="0" r="0" b="0"/>
                <a:pathLst>
                  <a:path w="3838575" h="660400">
                    <a:moveTo>
                      <a:pt x="0" y="660400"/>
                    </a:moveTo>
                    <a:lnTo>
                      <a:pt x="0" y="0"/>
                    </a:lnTo>
                    <a:lnTo>
                      <a:pt x="3563408" y="0"/>
                    </a:lnTo>
                    <a:lnTo>
                      <a:pt x="3838575" y="330200"/>
                    </a:lnTo>
                    <a:lnTo>
                      <a:pt x="3563408" y="660400"/>
                    </a:lnTo>
                    <a:lnTo>
                      <a:pt x="0" y="660400"/>
                    </a:lnTo>
                    <a:close/>
                  </a:path>
                </a:pathLst>
              </a:custGeom>
              <a:solidFill>
                <a:srgbClr val="8AC6FF"/>
              </a:solidFill>
              <a:ln>
                <a:noFill/>
              </a:ln>
            </p:spPr>
            <p:txBody>
              <a:bodyPr rtlCol="0" anchor="ctr"/>
              <a:lstStyle/>
              <a:p>
                <a:pPr algn="ctr"/>
                <a:endParaRPr sz="3600"/>
              </a:p>
            </p:txBody>
          </p:sp>
          <p:sp>
            <p:nvSpPr>
              <p:cNvPr id="5" name="Rounded Rectangle 2">
                <a:extLst>
                  <a:ext uri="{FF2B5EF4-FFF2-40B4-BE49-F238E27FC236}">
                    <a16:creationId xmlns:a16="http://schemas.microsoft.com/office/drawing/2014/main" id="{798A9B8F-DF4A-81F8-D39A-96E739C721D7}"/>
                  </a:ext>
                </a:extLst>
              </p:cNvPr>
              <p:cNvSpPr/>
              <p:nvPr/>
            </p:nvSpPr>
            <p:spPr>
              <a:xfrm>
                <a:off x="247650" y="4870450"/>
                <a:ext cx="3838575" cy="660400"/>
              </a:xfrm>
              <a:custGeom>
                <a:avLst/>
                <a:gdLst/>
                <a:ahLst/>
                <a:cxnLst/>
                <a:rect l="0" t="0" r="0" b="0"/>
                <a:pathLst>
                  <a:path w="3838575" h="660400">
                    <a:moveTo>
                      <a:pt x="0" y="660400"/>
                    </a:moveTo>
                    <a:lnTo>
                      <a:pt x="0" y="0"/>
                    </a:lnTo>
                    <a:lnTo>
                      <a:pt x="3563408" y="0"/>
                    </a:lnTo>
                    <a:lnTo>
                      <a:pt x="3838575" y="330200"/>
                    </a:lnTo>
                    <a:lnTo>
                      <a:pt x="3563408" y="660400"/>
                    </a:lnTo>
                    <a:lnTo>
                      <a:pt x="0" y="660400"/>
                    </a:lnTo>
                    <a:close/>
                  </a:path>
                </a:pathLst>
              </a:custGeom>
              <a:noFill/>
              <a:ln w="5159">
                <a:solidFill>
                  <a:srgbClr val="FFFFFF"/>
                </a:solidFill>
              </a:ln>
            </p:spPr>
            <p:txBody>
              <a:bodyPr rtlCol="0" anchor="ctr"/>
              <a:lstStyle/>
              <a:p>
                <a:pPr algn="ctr"/>
                <a:endParaRPr sz="3600"/>
              </a:p>
            </p:txBody>
          </p:sp>
        </p:grpSp>
        <p:grpSp>
          <p:nvGrpSpPr>
            <p:cNvPr id="6" name="Group 5">
              <a:extLst>
                <a:ext uri="{FF2B5EF4-FFF2-40B4-BE49-F238E27FC236}">
                  <a16:creationId xmlns:a16="http://schemas.microsoft.com/office/drawing/2014/main" id="{B602D5B2-70F7-7C4E-2028-535699205B0F}"/>
                </a:ext>
              </a:extLst>
            </p:cNvPr>
            <p:cNvGrpSpPr/>
            <p:nvPr/>
          </p:nvGrpSpPr>
          <p:grpSpPr>
            <a:xfrm>
              <a:off x="509233" y="4459782"/>
              <a:ext cx="3384550" cy="660400"/>
              <a:chOff x="247650" y="4210050"/>
              <a:chExt cx="3384550" cy="660400"/>
            </a:xfrm>
          </p:grpSpPr>
          <p:sp>
            <p:nvSpPr>
              <p:cNvPr id="7" name="Rounded Rectangle 4">
                <a:extLst>
                  <a:ext uri="{FF2B5EF4-FFF2-40B4-BE49-F238E27FC236}">
                    <a16:creationId xmlns:a16="http://schemas.microsoft.com/office/drawing/2014/main" id="{56CA26B7-680C-164F-78D2-E81C647E0431}"/>
                  </a:ext>
                </a:extLst>
              </p:cNvPr>
              <p:cNvSpPr/>
              <p:nvPr/>
            </p:nvSpPr>
            <p:spPr>
              <a:xfrm>
                <a:off x="247650" y="4210050"/>
                <a:ext cx="3384550" cy="660400"/>
              </a:xfrm>
              <a:custGeom>
                <a:avLst/>
                <a:gdLst/>
                <a:ahLst/>
                <a:cxnLst/>
                <a:rect l="0" t="0" r="0" b="0"/>
                <a:pathLst>
                  <a:path w="3384550" h="660400">
                    <a:moveTo>
                      <a:pt x="0" y="660400"/>
                    </a:moveTo>
                    <a:lnTo>
                      <a:pt x="0" y="0"/>
                    </a:lnTo>
                    <a:lnTo>
                      <a:pt x="3109383" y="0"/>
                    </a:lnTo>
                    <a:lnTo>
                      <a:pt x="3384550" y="330200"/>
                    </a:lnTo>
                    <a:lnTo>
                      <a:pt x="3109383" y="660400"/>
                    </a:lnTo>
                    <a:lnTo>
                      <a:pt x="0" y="660400"/>
                    </a:lnTo>
                    <a:close/>
                  </a:path>
                </a:pathLst>
              </a:custGeom>
              <a:solidFill>
                <a:srgbClr val="5DB1FF"/>
              </a:solidFill>
              <a:ln>
                <a:noFill/>
              </a:ln>
            </p:spPr>
            <p:txBody>
              <a:bodyPr rtlCol="0" anchor="ctr"/>
              <a:lstStyle/>
              <a:p>
                <a:pPr algn="ctr"/>
                <a:endParaRPr sz="3600"/>
              </a:p>
            </p:txBody>
          </p:sp>
          <p:sp>
            <p:nvSpPr>
              <p:cNvPr id="8" name="Rounded Rectangle 5">
                <a:extLst>
                  <a:ext uri="{FF2B5EF4-FFF2-40B4-BE49-F238E27FC236}">
                    <a16:creationId xmlns:a16="http://schemas.microsoft.com/office/drawing/2014/main" id="{53635522-0E22-00D2-8DE7-2B891B4239B0}"/>
                  </a:ext>
                </a:extLst>
              </p:cNvPr>
              <p:cNvSpPr/>
              <p:nvPr/>
            </p:nvSpPr>
            <p:spPr>
              <a:xfrm>
                <a:off x="247650" y="4210050"/>
                <a:ext cx="3384550" cy="660400"/>
              </a:xfrm>
              <a:custGeom>
                <a:avLst/>
                <a:gdLst/>
                <a:ahLst/>
                <a:cxnLst/>
                <a:rect l="0" t="0" r="0" b="0"/>
                <a:pathLst>
                  <a:path w="3384550" h="660400">
                    <a:moveTo>
                      <a:pt x="0" y="660400"/>
                    </a:moveTo>
                    <a:lnTo>
                      <a:pt x="0" y="0"/>
                    </a:lnTo>
                    <a:lnTo>
                      <a:pt x="3109383" y="0"/>
                    </a:lnTo>
                    <a:lnTo>
                      <a:pt x="3384550" y="330200"/>
                    </a:lnTo>
                    <a:lnTo>
                      <a:pt x="3109383" y="660400"/>
                    </a:lnTo>
                    <a:lnTo>
                      <a:pt x="0" y="660400"/>
                    </a:lnTo>
                    <a:close/>
                  </a:path>
                </a:pathLst>
              </a:custGeom>
              <a:noFill/>
              <a:ln w="5159">
                <a:solidFill>
                  <a:srgbClr val="FFFFFF"/>
                </a:solidFill>
              </a:ln>
            </p:spPr>
            <p:txBody>
              <a:bodyPr rtlCol="0" anchor="ctr"/>
              <a:lstStyle/>
              <a:p>
                <a:pPr algn="ctr"/>
                <a:endParaRPr sz="3600"/>
              </a:p>
            </p:txBody>
          </p:sp>
        </p:grpSp>
        <p:grpSp>
          <p:nvGrpSpPr>
            <p:cNvPr id="9" name="Group 8">
              <a:extLst>
                <a:ext uri="{FF2B5EF4-FFF2-40B4-BE49-F238E27FC236}">
                  <a16:creationId xmlns:a16="http://schemas.microsoft.com/office/drawing/2014/main" id="{D933DDCB-901C-414A-7315-4492489B44D6}"/>
                </a:ext>
              </a:extLst>
            </p:cNvPr>
            <p:cNvGrpSpPr/>
            <p:nvPr/>
          </p:nvGrpSpPr>
          <p:grpSpPr>
            <a:xfrm>
              <a:off x="509233" y="3799382"/>
              <a:ext cx="2930525" cy="660400"/>
              <a:chOff x="247650" y="3549650"/>
              <a:chExt cx="2930525" cy="660400"/>
            </a:xfrm>
          </p:grpSpPr>
          <p:sp>
            <p:nvSpPr>
              <p:cNvPr id="10" name="Rounded Rectangle 7">
                <a:extLst>
                  <a:ext uri="{FF2B5EF4-FFF2-40B4-BE49-F238E27FC236}">
                    <a16:creationId xmlns:a16="http://schemas.microsoft.com/office/drawing/2014/main" id="{ADD5B48E-942B-3217-1A3D-66DF653E836C}"/>
                  </a:ext>
                </a:extLst>
              </p:cNvPr>
              <p:cNvSpPr/>
              <p:nvPr/>
            </p:nvSpPr>
            <p:spPr>
              <a:xfrm>
                <a:off x="247650" y="3549650"/>
                <a:ext cx="2930525" cy="660400"/>
              </a:xfrm>
              <a:custGeom>
                <a:avLst/>
                <a:gdLst/>
                <a:ahLst/>
                <a:cxnLst/>
                <a:rect l="0" t="0" r="0" b="0"/>
                <a:pathLst>
                  <a:path w="2930525" h="660400">
                    <a:moveTo>
                      <a:pt x="0" y="660400"/>
                    </a:moveTo>
                    <a:lnTo>
                      <a:pt x="0" y="0"/>
                    </a:lnTo>
                    <a:lnTo>
                      <a:pt x="2655358" y="0"/>
                    </a:lnTo>
                    <a:lnTo>
                      <a:pt x="2930525" y="330200"/>
                    </a:lnTo>
                    <a:lnTo>
                      <a:pt x="2655358" y="660400"/>
                    </a:lnTo>
                    <a:lnTo>
                      <a:pt x="0" y="660400"/>
                    </a:lnTo>
                    <a:close/>
                  </a:path>
                </a:pathLst>
              </a:custGeom>
              <a:solidFill>
                <a:srgbClr val="389FFF"/>
              </a:solidFill>
              <a:ln>
                <a:noFill/>
              </a:ln>
            </p:spPr>
            <p:txBody>
              <a:bodyPr rtlCol="0" anchor="ctr"/>
              <a:lstStyle/>
              <a:p>
                <a:pPr algn="ctr"/>
                <a:endParaRPr sz="3600"/>
              </a:p>
            </p:txBody>
          </p:sp>
          <p:sp>
            <p:nvSpPr>
              <p:cNvPr id="11" name="Rounded Rectangle 8">
                <a:extLst>
                  <a:ext uri="{FF2B5EF4-FFF2-40B4-BE49-F238E27FC236}">
                    <a16:creationId xmlns:a16="http://schemas.microsoft.com/office/drawing/2014/main" id="{EEC4F334-A6EA-BA8F-4BE7-F41A87079A10}"/>
                  </a:ext>
                </a:extLst>
              </p:cNvPr>
              <p:cNvSpPr/>
              <p:nvPr/>
            </p:nvSpPr>
            <p:spPr>
              <a:xfrm>
                <a:off x="247650" y="3549650"/>
                <a:ext cx="2930525" cy="660400"/>
              </a:xfrm>
              <a:custGeom>
                <a:avLst/>
                <a:gdLst/>
                <a:ahLst/>
                <a:cxnLst/>
                <a:rect l="0" t="0" r="0" b="0"/>
                <a:pathLst>
                  <a:path w="2930525" h="660400">
                    <a:moveTo>
                      <a:pt x="0" y="660400"/>
                    </a:moveTo>
                    <a:lnTo>
                      <a:pt x="0" y="0"/>
                    </a:lnTo>
                    <a:lnTo>
                      <a:pt x="2655358" y="0"/>
                    </a:lnTo>
                    <a:lnTo>
                      <a:pt x="2930525" y="330200"/>
                    </a:lnTo>
                    <a:lnTo>
                      <a:pt x="2655358" y="660400"/>
                    </a:lnTo>
                    <a:lnTo>
                      <a:pt x="0" y="660400"/>
                    </a:lnTo>
                    <a:close/>
                  </a:path>
                </a:pathLst>
              </a:custGeom>
              <a:noFill/>
              <a:ln w="5159">
                <a:solidFill>
                  <a:srgbClr val="FFFFFF"/>
                </a:solidFill>
              </a:ln>
            </p:spPr>
            <p:txBody>
              <a:bodyPr rtlCol="0" anchor="ctr"/>
              <a:lstStyle/>
              <a:p>
                <a:pPr algn="ctr"/>
                <a:endParaRPr sz="3600"/>
              </a:p>
            </p:txBody>
          </p:sp>
        </p:grpSp>
        <p:grpSp>
          <p:nvGrpSpPr>
            <p:cNvPr id="12" name="Group 11">
              <a:extLst>
                <a:ext uri="{FF2B5EF4-FFF2-40B4-BE49-F238E27FC236}">
                  <a16:creationId xmlns:a16="http://schemas.microsoft.com/office/drawing/2014/main" id="{DA8D3C0A-97D6-814B-3CBD-C80C3CF838A9}"/>
                </a:ext>
              </a:extLst>
            </p:cNvPr>
            <p:cNvGrpSpPr/>
            <p:nvPr/>
          </p:nvGrpSpPr>
          <p:grpSpPr>
            <a:xfrm>
              <a:off x="509233" y="3138982"/>
              <a:ext cx="2476500" cy="660400"/>
              <a:chOff x="247650" y="2889250"/>
              <a:chExt cx="2476500" cy="660400"/>
            </a:xfrm>
          </p:grpSpPr>
          <p:sp>
            <p:nvSpPr>
              <p:cNvPr id="13" name="Rounded Rectangle 10">
                <a:extLst>
                  <a:ext uri="{FF2B5EF4-FFF2-40B4-BE49-F238E27FC236}">
                    <a16:creationId xmlns:a16="http://schemas.microsoft.com/office/drawing/2014/main" id="{52E5F955-E556-AABC-3C3F-A1975C478CAF}"/>
                  </a:ext>
                </a:extLst>
              </p:cNvPr>
              <p:cNvSpPr/>
              <p:nvPr/>
            </p:nvSpPr>
            <p:spPr>
              <a:xfrm>
                <a:off x="247650" y="2889250"/>
                <a:ext cx="2476500" cy="660400"/>
              </a:xfrm>
              <a:custGeom>
                <a:avLst/>
                <a:gdLst/>
                <a:ahLst/>
                <a:cxnLst/>
                <a:rect l="0" t="0" r="0" b="0"/>
                <a:pathLst>
                  <a:path w="2476500" h="660400">
                    <a:moveTo>
                      <a:pt x="0" y="660400"/>
                    </a:moveTo>
                    <a:lnTo>
                      <a:pt x="0" y="0"/>
                    </a:lnTo>
                    <a:lnTo>
                      <a:pt x="2201333" y="0"/>
                    </a:lnTo>
                    <a:lnTo>
                      <a:pt x="2476500" y="330200"/>
                    </a:lnTo>
                    <a:lnTo>
                      <a:pt x="2201333" y="660400"/>
                    </a:lnTo>
                    <a:lnTo>
                      <a:pt x="0" y="660400"/>
                    </a:lnTo>
                    <a:close/>
                  </a:path>
                </a:pathLst>
              </a:custGeom>
              <a:solidFill>
                <a:srgbClr val="2897FF"/>
              </a:solidFill>
              <a:ln>
                <a:noFill/>
              </a:ln>
            </p:spPr>
            <p:txBody>
              <a:bodyPr rtlCol="0" anchor="ctr"/>
              <a:lstStyle/>
              <a:p>
                <a:pPr algn="ctr"/>
                <a:endParaRPr sz="3600"/>
              </a:p>
            </p:txBody>
          </p:sp>
          <p:sp>
            <p:nvSpPr>
              <p:cNvPr id="14" name="Rounded Rectangle 11">
                <a:extLst>
                  <a:ext uri="{FF2B5EF4-FFF2-40B4-BE49-F238E27FC236}">
                    <a16:creationId xmlns:a16="http://schemas.microsoft.com/office/drawing/2014/main" id="{C7DFC752-EEDE-A050-C4AE-21B86DA770AC}"/>
                  </a:ext>
                </a:extLst>
              </p:cNvPr>
              <p:cNvSpPr/>
              <p:nvPr/>
            </p:nvSpPr>
            <p:spPr>
              <a:xfrm>
                <a:off x="247650" y="2889250"/>
                <a:ext cx="2476500" cy="660400"/>
              </a:xfrm>
              <a:custGeom>
                <a:avLst/>
                <a:gdLst/>
                <a:ahLst/>
                <a:cxnLst/>
                <a:rect l="0" t="0" r="0" b="0"/>
                <a:pathLst>
                  <a:path w="2476500" h="660400">
                    <a:moveTo>
                      <a:pt x="0" y="660400"/>
                    </a:moveTo>
                    <a:lnTo>
                      <a:pt x="0" y="0"/>
                    </a:lnTo>
                    <a:lnTo>
                      <a:pt x="2201333" y="0"/>
                    </a:lnTo>
                    <a:lnTo>
                      <a:pt x="2476500" y="330200"/>
                    </a:lnTo>
                    <a:lnTo>
                      <a:pt x="2201333" y="660400"/>
                    </a:lnTo>
                    <a:lnTo>
                      <a:pt x="0" y="660400"/>
                    </a:lnTo>
                    <a:close/>
                  </a:path>
                </a:pathLst>
              </a:custGeom>
              <a:noFill/>
              <a:ln w="5159">
                <a:solidFill>
                  <a:srgbClr val="FFFFFF"/>
                </a:solidFill>
              </a:ln>
            </p:spPr>
            <p:txBody>
              <a:bodyPr rtlCol="0" anchor="ctr"/>
              <a:lstStyle/>
              <a:p>
                <a:pPr algn="ctr"/>
                <a:endParaRPr sz="3600"/>
              </a:p>
            </p:txBody>
          </p:sp>
        </p:grpSp>
        <p:grpSp>
          <p:nvGrpSpPr>
            <p:cNvPr id="15" name="Group 14">
              <a:extLst>
                <a:ext uri="{FF2B5EF4-FFF2-40B4-BE49-F238E27FC236}">
                  <a16:creationId xmlns:a16="http://schemas.microsoft.com/office/drawing/2014/main" id="{D074A7BF-D833-18C8-5902-043127047567}"/>
                </a:ext>
              </a:extLst>
            </p:cNvPr>
            <p:cNvGrpSpPr/>
            <p:nvPr/>
          </p:nvGrpSpPr>
          <p:grpSpPr>
            <a:xfrm>
              <a:off x="509233" y="2478582"/>
              <a:ext cx="2022475" cy="660400"/>
              <a:chOff x="247650" y="2228850"/>
              <a:chExt cx="2022475" cy="660400"/>
            </a:xfrm>
          </p:grpSpPr>
          <p:sp>
            <p:nvSpPr>
              <p:cNvPr id="16" name="Rounded Rectangle 13">
                <a:extLst>
                  <a:ext uri="{FF2B5EF4-FFF2-40B4-BE49-F238E27FC236}">
                    <a16:creationId xmlns:a16="http://schemas.microsoft.com/office/drawing/2014/main" id="{8BD3FE0E-0EF8-4ED6-B523-CCB918F77216}"/>
                  </a:ext>
                </a:extLst>
              </p:cNvPr>
              <p:cNvSpPr/>
              <p:nvPr/>
            </p:nvSpPr>
            <p:spPr>
              <a:xfrm>
                <a:off x="247650" y="2228850"/>
                <a:ext cx="2022475" cy="660400"/>
              </a:xfrm>
              <a:custGeom>
                <a:avLst/>
                <a:gdLst/>
                <a:ahLst/>
                <a:cxnLst/>
                <a:rect l="0" t="0" r="0" b="0"/>
                <a:pathLst>
                  <a:path w="2022475" h="660400">
                    <a:moveTo>
                      <a:pt x="0" y="660400"/>
                    </a:moveTo>
                    <a:lnTo>
                      <a:pt x="0" y="0"/>
                    </a:lnTo>
                    <a:lnTo>
                      <a:pt x="1747308" y="0"/>
                    </a:lnTo>
                    <a:lnTo>
                      <a:pt x="2022475" y="330200"/>
                    </a:lnTo>
                    <a:lnTo>
                      <a:pt x="1747308" y="660400"/>
                    </a:lnTo>
                    <a:lnTo>
                      <a:pt x="0" y="660400"/>
                    </a:lnTo>
                    <a:close/>
                  </a:path>
                </a:pathLst>
              </a:custGeom>
              <a:solidFill>
                <a:srgbClr val="1890FF"/>
              </a:solidFill>
              <a:ln>
                <a:noFill/>
              </a:ln>
            </p:spPr>
            <p:txBody>
              <a:bodyPr rtlCol="0" anchor="ctr"/>
              <a:lstStyle/>
              <a:p>
                <a:pPr algn="ctr"/>
                <a:endParaRPr sz="3600"/>
              </a:p>
            </p:txBody>
          </p:sp>
          <p:sp>
            <p:nvSpPr>
              <p:cNvPr id="17" name="Rounded Rectangle 14">
                <a:extLst>
                  <a:ext uri="{FF2B5EF4-FFF2-40B4-BE49-F238E27FC236}">
                    <a16:creationId xmlns:a16="http://schemas.microsoft.com/office/drawing/2014/main" id="{DC2C4B01-3241-DCC0-42D9-8D6070E40ADD}"/>
                  </a:ext>
                </a:extLst>
              </p:cNvPr>
              <p:cNvSpPr/>
              <p:nvPr/>
            </p:nvSpPr>
            <p:spPr>
              <a:xfrm>
                <a:off x="247650" y="2228850"/>
                <a:ext cx="2022475" cy="660400"/>
              </a:xfrm>
              <a:custGeom>
                <a:avLst/>
                <a:gdLst/>
                <a:ahLst/>
                <a:cxnLst/>
                <a:rect l="0" t="0" r="0" b="0"/>
                <a:pathLst>
                  <a:path w="2022475" h="660400">
                    <a:moveTo>
                      <a:pt x="0" y="660400"/>
                    </a:moveTo>
                    <a:lnTo>
                      <a:pt x="0" y="0"/>
                    </a:lnTo>
                    <a:lnTo>
                      <a:pt x="1747308" y="0"/>
                    </a:lnTo>
                    <a:lnTo>
                      <a:pt x="2022475" y="330200"/>
                    </a:lnTo>
                    <a:lnTo>
                      <a:pt x="1747308" y="660400"/>
                    </a:lnTo>
                    <a:lnTo>
                      <a:pt x="0" y="660400"/>
                    </a:lnTo>
                    <a:close/>
                  </a:path>
                </a:pathLst>
              </a:custGeom>
              <a:noFill/>
              <a:ln w="5159">
                <a:solidFill>
                  <a:srgbClr val="FFFFFF"/>
                </a:solidFill>
              </a:ln>
            </p:spPr>
            <p:txBody>
              <a:bodyPr rtlCol="0" anchor="ctr"/>
              <a:lstStyle/>
              <a:p>
                <a:pPr algn="ctr"/>
                <a:endParaRPr sz="3600"/>
              </a:p>
            </p:txBody>
          </p:sp>
        </p:grpSp>
        <p:grpSp>
          <p:nvGrpSpPr>
            <p:cNvPr id="18" name="Group 17">
              <a:extLst>
                <a:ext uri="{FF2B5EF4-FFF2-40B4-BE49-F238E27FC236}">
                  <a16:creationId xmlns:a16="http://schemas.microsoft.com/office/drawing/2014/main" id="{0F796C69-43FD-454B-7BE2-9B773E4231A6}"/>
                </a:ext>
              </a:extLst>
            </p:cNvPr>
            <p:cNvGrpSpPr/>
            <p:nvPr/>
          </p:nvGrpSpPr>
          <p:grpSpPr>
            <a:xfrm>
              <a:off x="509233" y="1818182"/>
              <a:ext cx="1568450" cy="660401"/>
              <a:chOff x="247650" y="1568450"/>
              <a:chExt cx="1568450" cy="660401"/>
            </a:xfrm>
          </p:grpSpPr>
          <p:sp>
            <p:nvSpPr>
              <p:cNvPr id="19" name="Rounded Rectangle 16">
                <a:extLst>
                  <a:ext uri="{FF2B5EF4-FFF2-40B4-BE49-F238E27FC236}">
                    <a16:creationId xmlns:a16="http://schemas.microsoft.com/office/drawing/2014/main" id="{81D2EE9C-8BC8-B730-CBAB-C51862A2B57B}"/>
                  </a:ext>
                </a:extLst>
              </p:cNvPr>
              <p:cNvSpPr/>
              <p:nvPr/>
            </p:nvSpPr>
            <p:spPr>
              <a:xfrm>
                <a:off x="247650" y="1568450"/>
                <a:ext cx="1568450" cy="660401"/>
              </a:xfrm>
              <a:custGeom>
                <a:avLst/>
                <a:gdLst/>
                <a:ahLst/>
                <a:cxnLst/>
                <a:rect l="0" t="0" r="0" b="0"/>
                <a:pathLst>
                  <a:path w="1568450" h="660401">
                    <a:moveTo>
                      <a:pt x="0" y="660401"/>
                    </a:moveTo>
                    <a:lnTo>
                      <a:pt x="0" y="1"/>
                    </a:lnTo>
                    <a:lnTo>
                      <a:pt x="1293283" y="0"/>
                    </a:lnTo>
                    <a:lnTo>
                      <a:pt x="1568450" y="330200"/>
                    </a:lnTo>
                    <a:lnTo>
                      <a:pt x="1293283" y="660400"/>
                    </a:lnTo>
                    <a:lnTo>
                      <a:pt x="0" y="660401"/>
                    </a:lnTo>
                    <a:close/>
                  </a:path>
                </a:pathLst>
              </a:custGeom>
              <a:solidFill>
                <a:srgbClr val="0888FF"/>
              </a:solidFill>
              <a:ln>
                <a:noFill/>
              </a:ln>
            </p:spPr>
            <p:txBody>
              <a:bodyPr rtlCol="0" anchor="ctr"/>
              <a:lstStyle/>
              <a:p>
                <a:pPr algn="ctr"/>
                <a:endParaRPr sz="3600"/>
              </a:p>
            </p:txBody>
          </p:sp>
          <p:sp>
            <p:nvSpPr>
              <p:cNvPr id="20" name="Rounded Rectangle 17">
                <a:extLst>
                  <a:ext uri="{FF2B5EF4-FFF2-40B4-BE49-F238E27FC236}">
                    <a16:creationId xmlns:a16="http://schemas.microsoft.com/office/drawing/2014/main" id="{5876B0DE-D3A5-9689-06FB-926E178938AB}"/>
                  </a:ext>
                </a:extLst>
              </p:cNvPr>
              <p:cNvSpPr/>
              <p:nvPr/>
            </p:nvSpPr>
            <p:spPr>
              <a:xfrm>
                <a:off x="247650" y="1568450"/>
                <a:ext cx="1568450" cy="660401"/>
              </a:xfrm>
              <a:custGeom>
                <a:avLst/>
                <a:gdLst/>
                <a:ahLst/>
                <a:cxnLst/>
                <a:rect l="0" t="0" r="0" b="0"/>
                <a:pathLst>
                  <a:path w="1568450" h="660401">
                    <a:moveTo>
                      <a:pt x="0" y="660401"/>
                    </a:moveTo>
                    <a:lnTo>
                      <a:pt x="0" y="1"/>
                    </a:lnTo>
                    <a:lnTo>
                      <a:pt x="1293283" y="0"/>
                    </a:lnTo>
                    <a:lnTo>
                      <a:pt x="1568450" y="330200"/>
                    </a:lnTo>
                    <a:lnTo>
                      <a:pt x="1293283" y="660400"/>
                    </a:lnTo>
                    <a:lnTo>
                      <a:pt x="0" y="660401"/>
                    </a:lnTo>
                    <a:close/>
                  </a:path>
                </a:pathLst>
              </a:custGeom>
              <a:noFill/>
              <a:ln w="5159">
                <a:solidFill>
                  <a:srgbClr val="FFFFFF"/>
                </a:solidFill>
              </a:ln>
            </p:spPr>
            <p:txBody>
              <a:bodyPr rtlCol="0" anchor="ctr"/>
              <a:lstStyle/>
              <a:p>
                <a:pPr algn="ctr"/>
                <a:endParaRPr sz="3600"/>
              </a:p>
            </p:txBody>
          </p:sp>
        </p:grpSp>
        <p:grpSp>
          <p:nvGrpSpPr>
            <p:cNvPr id="21" name="Group 20">
              <a:extLst>
                <a:ext uri="{FF2B5EF4-FFF2-40B4-BE49-F238E27FC236}">
                  <a16:creationId xmlns:a16="http://schemas.microsoft.com/office/drawing/2014/main" id="{8667D3C1-AFF8-B70E-DC44-7710EF2060B2}"/>
                </a:ext>
              </a:extLst>
            </p:cNvPr>
            <p:cNvGrpSpPr/>
            <p:nvPr/>
          </p:nvGrpSpPr>
          <p:grpSpPr>
            <a:xfrm>
              <a:off x="509233" y="1157782"/>
              <a:ext cx="1114425" cy="660400"/>
              <a:chOff x="247650" y="908050"/>
              <a:chExt cx="1114425" cy="660400"/>
            </a:xfrm>
          </p:grpSpPr>
          <p:sp>
            <p:nvSpPr>
              <p:cNvPr id="22" name="Rounded Rectangle 19">
                <a:extLst>
                  <a:ext uri="{FF2B5EF4-FFF2-40B4-BE49-F238E27FC236}">
                    <a16:creationId xmlns:a16="http://schemas.microsoft.com/office/drawing/2014/main" id="{D4872440-F8D1-B46C-0259-AA0B4178C7AA}"/>
                  </a:ext>
                </a:extLst>
              </p:cNvPr>
              <p:cNvSpPr/>
              <p:nvPr/>
            </p:nvSpPr>
            <p:spPr>
              <a:xfrm>
                <a:off x="247650" y="908050"/>
                <a:ext cx="1114425" cy="660400"/>
              </a:xfrm>
              <a:custGeom>
                <a:avLst/>
                <a:gdLst/>
                <a:ahLst/>
                <a:cxnLst/>
                <a:rect l="0" t="0" r="0" b="0"/>
                <a:pathLst>
                  <a:path w="1114425" h="660400">
                    <a:moveTo>
                      <a:pt x="0" y="660400"/>
                    </a:moveTo>
                    <a:lnTo>
                      <a:pt x="0" y="0"/>
                    </a:lnTo>
                    <a:lnTo>
                      <a:pt x="839258" y="0"/>
                    </a:lnTo>
                    <a:lnTo>
                      <a:pt x="1114425" y="330200"/>
                    </a:lnTo>
                    <a:lnTo>
                      <a:pt x="839258" y="660400"/>
                    </a:lnTo>
                    <a:lnTo>
                      <a:pt x="0" y="660400"/>
                    </a:lnTo>
                    <a:close/>
                  </a:path>
                </a:pathLst>
              </a:custGeom>
              <a:solidFill>
                <a:srgbClr val="0D75D6"/>
              </a:solidFill>
              <a:ln>
                <a:noFill/>
              </a:ln>
            </p:spPr>
            <p:txBody>
              <a:bodyPr rtlCol="0" anchor="ctr"/>
              <a:lstStyle/>
              <a:p>
                <a:pPr algn="ctr"/>
                <a:endParaRPr sz="3600"/>
              </a:p>
            </p:txBody>
          </p:sp>
          <p:sp>
            <p:nvSpPr>
              <p:cNvPr id="23" name="Rounded Rectangle 20">
                <a:extLst>
                  <a:ext uri="{FF2B5EF4-FFF2-40B4-BE49-F238E27FC236}">
                    <a16:creationId xmlns:a16="http://schemas.microsoft.com/office/drawing/2014/main" id="{5615B6E3-CD94-463E-CB64-EF37EC1F6CF9}"/>
                  </a:ext>
                </a:extLst>
              </p:cNvPr>
              <p:cNvSpPr/>
              <p:nvPr/>
            </p:nvSpPr>
            <p:spPr>
              <a:xfrm>
                <a:off x="247650" y="908050"/>
                <a:ext cx="1114425" cy="660400"/>
              </a:xfrm>
              <a:custGeom>
                <a:avLst/>
                <a:gdLst/>
                <a:ahLst/>
                <a:cxnLst/>
                <a:rect l="0" t="0" r="0" b="0"/>
                <a:pathLst>
                  <a:path w="1114425" h="660400">
                    <a:moveTo>
                      <a:pt x="0" y="660400"/>
                    </a:moveTo>
                    <a:lnTo>
                      <a:pt x="0" y="0"/>
                    </a:lnTo>
                    <a:lnTo>
                      <a:pt x="839258" y="0"/>
                    </a:lnTo>
                    <a:lnTo>
                      <a:pt x="1114425" y="330200"/>
                    </a:lnTo>
                    <a:lnTo>
                      <a:pt x="839258" y="660400"/>
                    </a:lnTo>
                    <a:lnTo>
                      <a:pt x="0" y="660400"/>
                    </a:lnTo>
                    <a:close/>
                  </a:path>
                </a:pathLst>
              </a:custGeom>
              <a:noFill/>
              <a:ln w="5159">
                <a:solidFill>
                  <a:srgbClr val="FFFFFF"/>
                </a:solidFill>
              </a:ln>
            </p:spPr>
            <p:txBody>
              <a:bodyPr rtlCol="0" anchor="ctr"/>
              <a:lstStyle/>
              <a:p>
                <a:pPr algn="ctr"/>
                <a:endParaRPr sz="3600"/>
              </a:p>
            </p:txBody>
          </p:sp>
        </p:grpSp>
        <p:sp>
          <p:nvSpPr>
            <p:cNvPr id="24" name="TextBox 23">
              <a:extLst>
                <a:ext uri="{FF2B5EF4-FFF2-40B4-BE49-F238E27FC236}">
                  <a16:creationId xmlns:a16="http://schemas.microsoft.com/office/drawing/2014/main" id="{1088BE1A-C9EB-F227-B641-2B1901114D03}"/>
                </a:ext>
              </a:extLst>
            </p:cNvPr>
            <p:cNvSpPr txBox="1"/>
            <p:nvPr/>
          </p:nvSpPr>
          <p:spPr>
            <a:xfrm>
              <a:off x="2256541" y="1907611"/>
              <a:ext cx="2052541" cy="226324"/>
            </a:xfrm>
            <a:prstGeom prst="rect">
              <a:avLst/>
            </a:prstGeom>
            <a:noFill/>
            <a:ln>
              <a:noFill/>
            </a:ln>
          </p:spPr>
          <p:txBody>
            <a:bodyPr wrap="none" lIns="0" tIns="0" rIns="0" bIns="0" anchor="t">
              <a:spAutoFit/>
            </a:bodyPr>
            <a:lstStyle/>
            <a:p>
              <a:pPr algn="l"/>
              <a:r>
                <a:rPr sz="1600" b="1">
                  <a:solidFill>
                    <a:srgbClr val="1A1A1A"/>
                  </a:solidFill>
                  <a:latin typeface="Arial"/>
                </a:rPr>
                <a:t>Expanding Community</a:t>
              </a:r>
            </a:p>
          </p:txBody>
        </p:sp>
        <p:sp>
          <p:nvSpPr>
            <p:cNvPr id="25" name="TextBox 24">
              <a:extLst>
                <a:ext uri="{FF2B5EF4-FFF2-40B4-BE49-F238E27FC236}">
                  <a16:creationId xmlns:a16="http://schemas.microsoft.com/office/drawing/2014/main" id="{C5F29C87-0ADA-9342-62A5-0482BCA75392}"/>
                </a:ext>
              </a:extLst>
            </p:cNvPr>
            <p:cNvSpPr txBox="1"/>
            <p:nvPr/>
          </p:nvSpPr>
          <p:spPr>
            <a:xfrm>
              <a:off x="2256541" y="2172459"/>
              <a:ext cx="2451850" cy="155598"/>
            </a:xfrm>
            <a:prstGeom prst="rect">
              <a:avLst/>
            </a:prstGeom>
            <a:noFill/>
            <a:ln>
              <a:noFill/>
            </a:ln>
          </p:spPr>
          <p:txBody>
            <a:bodyPr wrap="none" lIns="0" tIns="0" rIns="0" bIns="0" anchor="t">
              <a:spAutoFit/>
            </a:bodyPr>
            <a:lstStyle/>
            <a:p>
              <a:pPr algn="l"/>
              <a:r>
                <a:rPr sz="1100" b="0">
                  <a:solidFill>
                    <a:srgbClr val="1A1A1A"/>
                  </a:solidFill>
                  <a:latin typeface="Arial"/>
                </a:rPr>
                <a:t>More developers simplifying agent building</a:t>
              </a:r>
            </a:p>
          </p:txBody>
        </p:sp>
        <p:sp>
          <p:nvSpPr>
            <p:cNvPr id="26" name="TextBox 25">
              <a:extLst>
                <a:ext uri="{FF2B5EF4-FFF2-40B4-BE49-F238E27FC236}">
                  <a16:creationId xmlns:a16="http://schemas.microsoft.com/office/drawing/2014/main" id="{B1F7FD8F-B8BD-8BF2-F8D6-5B9E3F96FA64}"/>
                </a:ext>
              </a:extLst>
            </p:cNvPr>
            <p:cNvSpPr txBox="1"/>
            <p:nvPr/>
          </p:nvSpPr>
          <p:spPr>
            <a:xfrm>
              <a:off x="4526666" y="5474459"/>
              <a:ext cx="2276507" cy="155598"/>
            </a:xfrm>
            <a:prstGeom prst="rect">
              <a:avLst/>
            </a:prstGeom>
            <a:noFill/>
            <a:ln>
              <a:noFill/>
            </a:ln>
          </p:spPr>
          <p:txBody>
            <a:bodyPr wrap="none" lIns="0" tIns="0" rIns="0" bIns="0" anchor="t">
              <a:spAutoFit/>
            </a:bodyPr>
            <a:lstStyle/>
            <a:p>
              <a:pPr algn="l"/>
              <a:r>
                <a:rPr lang="en-US" sz="1100" b="0">
                  <a:solidFill>
                    <a:srgbClr val="1A1A1A"/>
                  </a:solidFill>
                  <a:latin typeface="Arial"/>
                </a:rPr>
                <a:t>Projected to reach $47.1 billion by 2030</a:t>
              </a:r>
            </a:p>
          </p:txBody>
        </p:sp>
        <p:sp>
          <p:nvSpPr>
            <p:cNvPr id="27" name="TextBox 26">
              <a:extLst>
                <a:ext uri="{FF2B5EF4-FFF2-40B4-BE49-F238E27FC236}">
                  <a16:creationId xmlns:a16="http://schemas.microsoft.com/office/drawing/2014/main" id="{848604B5-E47F-FBE4-66F2-94110B4A07FC}"/>
                </a:ext>
              </a:extLst>
            </p:cNvPr>
            <p:cNvSpPr txBox="1"/>
            <p:nvPr/>
          </p:nvSpPr>
          <p:spPr>
            <a:xfrm>
              <a:off x="2710566" y="2568011"/>
              <a:ext cx="1866883" cy="226324"/>
            </a:xfrm>
            <a:prstGeom prst="rect">
              <a:avLst/>
            </a:prstGeom>
            <a:noFill/>
            <a:ln>
              <a:noFill/>
            </a:ln>
          </p:spPr>
          <p:txBody>
            <a:bodyPr wrap="none" lIns="0" tIns="0" rIns="0" bIns="0" anchor="t">
              <a:spAutoFit/>
            </a:bodyPr>
            <a:lstStyle/>
            <a:p>
              <a:pPr algn="l"/>
              <a:r>
                <a:rPr sz="1600" b="1">
                  <a:solidFill>
                    <a:srgbClr val="1A1A1A"/>
                  </a:solidFill>
                  <a:latin typeface="Arial"/>
                </a:rPr>
                <a:t>Multi-Agent Systems</a:t>
              </a:r>
            </a:p>
          </p:txBody>
        </p:sp>
        <p:sp>
          <p:nvSpPr>
            <p:cNvPr id="28" name="TextBox 27">
              <a:extLst>
                <a:ext uri="{FF2B5EF4-FFF2-40B4-BE49-F238E27FC236}">
                  <a16:creationId xmlns:a16="http://schemas.microsoft.com/office/drawing/2014/main" id="{4BA34A2A-F774-AE7A-3B10-C93C4B40AAFC}"/>
                </a:ext>
              </a:extLst>
            </p:cNvPr>
            <p:cNvSpPr txBox="1"/>
            <p:nvPr/>
          </p:nvSpPr>
          <p:spPr>
            <a:xfrm>
              <a:off x="2710566" y="2832859"/>
              <a:ext cx="2152736" cy="155598"/>
            </a:xfrm>
            <a:prstGeom prst="rect">
              <a:avLst/>
            </a:prstGeom>
            <a:noFill/>
            <a:ln>
              <a:noFill/>
            </a:ln>
          </p:spPr>
          <p:txBody>
            <a:bodyPr wrap="none" lIns="0" tIns="0" rIns="0" bIns="0" anchor="t">
              <a:spAutoFit/>
            </a:bodyPr>
            <a:lstStyle/>
            <a:p>
              <a:pPr algn="l"/>
              <a:r>
                <a:rPr sz="1100" b="0">
                  <a:solidFill>
                    <a:srgbClr val="1A1A1A"/>
                  </a:solidFill>
                  <a:latin typeface="Arial"/>
                </a:rPr>
                <a:t>Growth in coordinating complex tasks</a:t>
              </a:r>
            </a:p>
          </p:txBody>
        </p:sp>
        <p:sp>
          <p:nvSpPr>
            <p:cNvPr id="29" name="TextBox 28">
              <a:extLst>
                <a:ext uri="{FF2B5EF4-FFF2-40B4-BE49-F238E27FC236}">
                  <a16:creationId xmlns:a16="http://schemas.microsoft.com/office/drawing/2014/main" id="{5355A04B-79C8-9A04-70A3-9E8AA5DA3BD0}"/>
                </a:ext>
              </a:extLst>
            </p:cNvPr>
            <p:cNvSpPr txBox="1"/>
            <p:nvPr/>
          </p:nvSpPr>
          <p:spPr>
            <a:xfrm>
              <a:off x="1802516" y="1491421"/>
              <a:ext cx="4473091" cy="155598"/>
            </a:xfrm>
            <a:prstGeom prst="rect">
              <a:avLst/>
            </a:prstGeom>
            <a:noFill/>
            <a:ln>
              <a:noFill/>
            </a:ln>
          </p:spPr>
          <p:txBody>
            <a:bodyPr wrap="square" lIns="0" tIns="0" rIns="0" bIns="0" anchor="t">
              <a:spAutoFit/>
            </a:bodyPr>
            <a:lstStyle/>
            <a:p>
              <a:pPr algn="l"/>
              <a:r>
                <a:rPr sz="1100" b="0">
                  <a:solidFill>
                    <a:srgbClr val="1A1A1A"/>
                  </a:solidFill>
                  <a:latin typeface="Arial"/>
                </a:rPr>
                <a:t>Advancements in NLP, ML, and cloud</a:t>
              </a:r>
              <a:r>
                <a:rPr lang="en-US" sz="1100" b="0">
                  <a:solidFill>
                    <a:srgbClr val="1A1A1A"/>
                  </a:solidFill>
                  <a:latin typeface="Arial"/>
                </a:rPr>
                <a:t> </a:t>
              </a:r>
              <a:r>
                <a:rPr sz="1100" b="0">
                  <a:solidFill>
                    <a:srgbClr val="1A1A1A"/>
                  </a:solidFill>
                  <a:latin typeface="Arial"/>
                </a:rPr>
                <a:t>computing</a:t>
              </a:r>
            </a:p>
          </p:txBody>
        </p:sp>
        <p:sp>
          <p:nvSpPr>
            <p:cNvPr id="30" name="TextBox 29">
              <a:extLst>
                <a:ext uri="{FF2B5EF4-FFF2-40B4-BE49-F238E27FC236}">
                  <a16:creationId xmlns:a16="http://schemas.microsoft.com/office/drawing/2014/main" id="{CF09CFCC-6770-2935-7F52-650094A93F72}"/>
                </a:ext>
              </a:extLst>
            </p:cNvPr>
            <p:cNvSpPr txBox="1"/>
            <p:nvPr/>
          </p:nvSpPr>
          <p:spPr>
            <a:xfrm>
              <a:off x="3164591" y="3228411"/>
              <a:ext cx="2065801" cy="226324"/>
            </a:xfrm>
            <a:prstGeom prst="rect">
              <a:avLst/>
            </a:prstGeom>
            <a:noFill/>
            <a:ln>
              <a:noFill/>
            </a:ln>
          </p:spPr>
          <p:txBody>
            <a:bodyPr wrap="none" lIns="0" tIns="0" rIns="0" bIns="0" anchor="t">
              <a:spAutoFit/>
            </a:bodyPr>
            <a:lstStyle/>
            <a:p>
              <a:pPr algn="l"/>
              <a:r>
                <a:rPr sz="1600" b="1">
                  <a:solidFill>
                    <a:srgbClr val="1A1A1A"/>
                  </a:solidFill>
                  <a:latin typeface="Arial"/>
                </a:rPr>
                <a:t>On-premises Solutions</a:t>
              </a:r>
            </a:p>
          </p:txBody>
        </p:sp>
        <p:sp>
          <p:nvSpPr>
            <p:cNvPr id="31" name="TextBox 30">
              <a:extLst>
                <a:ext uri="{FF2B5EF4-FFF2-40B4-BE49-F238E27FC236}">
                  <a16:creationId xmlns:a16="http://schemas.microsoft.com/office/drawing/2014/main" id="{5A0D45B6-C094-B417-35FB-4D7874FBAB80}"/>
                </a:ext>
              </a:extLst>
            </p:cNvPr>
            <p:cNvSpPr txBox="1"/>
            <p:nvPr/>
          </p:nvSpPr>
          <p:spPr>
            <a:xfrm>
              <a:off x="3164591" y="3493259"/>
              <a:ext cx="2280928" cy="155598"/>
            </a:xfrm>
            <a:prstGeom prst="rect">
              <a:avLst/>
            </a:prstGeom>
            <a:noFill/>
            <a:ln>
              <a:noFill/>
            </a:ln>
          </p:spPr>
          <p:txBody>
            <a:bodyPr wrap="none" lIns="0" tIns="0" rIns="0" bIns="0" anchor="t">
              <a:spAutoFit/>
            </a:bodyPr>
            <a:lstStyle/>
            <a:p>
              <a:pPr algn="l"/>
              <a:r>
                <a:rPr sz="1100" b="0">
                  <a:solidFill>
                    <a:srgbClr val="1A1A1A"/>
                  </a:solidFill>
                  <a:latin typeface="Arial"/>
                </a:rPr>
                <a:t>Rise of open-source models for security</a:t>
              </a:r>
            </a:p>
          </p:txBody>
        </p:sp>
        <p:sp>
          <p:nvSpPr>
            <p:cNvPr id="32" name="TextBox 31">
              <a:extLst>
                <a:ext uri="{FF2B5EF4-FFF2-40B4-BE49-F238E27FC236}">
                  <a16:creationId xmlns:a16="http://schemas.microsoft.com/office/drawing/2014/main" id="{E11A05E9-B9E6-C756-573D-2E5C2B270FEC}"/>
                </a:ext>
              </a:extLst>
            </p:cNvPr>
            <p:cNvSpPr txBox="1"/>
            <p:nvPr/>
          </p:nvSpPr>
          <p:spPr>
            <a:xfrm>
              <a:off x="1802516" y="1247211"/>
              <a:ext cx="2011284" cy="226324"/>
            </a:xfrm>
            <a:prstGeom prst="rect">
              <a:avLst/>
            </a:prstGeom>
            <a:noFill/>
            <a:ln>
              <a:noFill/>
            </a:ln>
          </p:spPr>
          <p:txBody>
            <a:bodyPr wrap="none" lIns="0" tIns="0" rIns="0" bIns="0" anchor="t">
              <a:spAutoFit/>
            </a:bodyPr>
            <a:lstStyle/>
            <a:p>
              <a:pPr algn="l"/>
              <a:r>
                <a:rPr sz="1600" b="1">
                  <a:solidFill>
                    <a:srgbClr val="1A1A1A"/>
                  </a:solidFill>
                  <a:latin typeface="Arial"/>
                </a:rPr>
                <a:t>Advanced Capabilities</a:t>
              </a:r>
            </a:p>
          </p:txBody>
        </p:sp>
        <p:sp>
          <p:nvSpPr>
            <p:cNvPr id="33" name="TextBox 32">
              <a:extLst>
                <a:ext uri="{FF2B5EF4-FFF2-40B4-BE49-F238E27FC236}">
                  <a16:creationId xmlns:a16="http://schemas.microsoft.com/office/drawing/2014/main" id="{F7CB7272-EDE2-C031-D929-A2FC1EB6BB07}"/>
                </a:ext>
              </a:extLst>
            </p:cNvPr>
            <p:cNvSpPr txBox="1"/>
            <p:nvPr/>
          </p:nvSpPr>
          <p:spPr>
            <a:xfrm>
              <a:off x="3618616" y="3888811"/>
              <a:ext cx="1616394" cy="226324"/>
            </a:xfrm>
            <a:prstGeom prst="rect">
              <a:avLst/>
            </a:prstGeom>
            <a:noFill/>
            <a:ln>
              <a:noFill/>
            </a:ln>
          </p:spPr>
          <p:txBody>
            <a:bodyPr wrap="none" lIns="0" tIns="0" rIns="0" bIns="0" anchor="t">
              <a:spAutoFit/>
            </a:bodyPr>
            <a:lstStyle/>
            <a:p>
              <a:pPr algn="l"/>
              <a:r>
                <a:rPr sz="1600" b="1">
                  <a:solidFill>
                    <a:srgbClr val="1A1A1A"/>
                  </a:solidFill>
                  <a:latin typeface="Arial"/>
                </a:rPr>
                <a:t>Ethical Guardrails</a:t>
              </a:r>
            </a:p>
          </p:txBody>
        </p:sp>
        <p:sp>
          <p:nvSpPr>
            <p:cNvPr id="34" name="TextBox 33">
              <a:extLst>
                <a:ext uri="{FF2B5EF4-FFF2-40B4-BE49-F238E27FC236}">
                  <a16:creationId xmlns:a16="http://schemas.microsoft.com/office/drawing/2014/main" id="{85FCEE2F-6339-A27C-4704-EF81F93ADB0D}"/>
                </a:ext>
              </a:extLst>
            </p:cNvPr>
            <p:cNvSpPr txBox="1"/>
            <p:nvPr/>
          </p:nvSpPr>
          <p:spPr>
            <a:xfrm>
              <a:off x="3618616" y="4153659"/>
              <a:ext cx="2089376" cy="155598"/>
            </a:xfrm>
            <a:prstGeom prst="rect">
              <a:avLst/>
            </a:prstGeom>
            <a:noFill/>
            <a:ln>
              <a:noFill/>
            </a:ln>
          </p:spPr>
          <p:txBody>
            <a:bodyPr wrap="none" lIns="0" tIns="0" rIns="0" bIns="0" anchor="t">
              <a:spAutoFit/>
            </a:bodyPr>
            <a:lstStyle/>
            <a:p>
              <a:pPr algn="l"/>
              <a:r>
                <a:rPr sz="1100" b="0">
                  <a:solidFill>
                    <a:srgbClr val="1A1A1A"/>
                  </a:solidFill>
                  <a:latin typeface="Arial"/>
                </a:rPr>
                <a:t>Focus on explainable AI frameworks</a:t>
              </a:r>
            </a:p>
          </p:txBody>
        </p:sp>
        <p:sp>
          <p:nvSpPr>
            <p:cNvPr id="35" name="TextBox 34">
              <a:extLst>
                <a:ext uri="{FF2B5EF4-FFF2-40B4-BE49-F238E27FC236}">
                  <a16:creationId xmlns:a16="http://schemas.microsoft.com/office/drawing/2014/main" id="{82B1AB66-B2DF-EB30-4BF9-A20BD9E5FDBA}"/>
                </a:ext>
              </a:extLst>
            </p:cNvPr>
            <p:cNvSpPr txBox="1"/>
            <p:nvPr/>
          </p:nvSpPr>
          <p:spPr>
            <a:xfrm>
              <a:off x="4072641" y="4549211"/>
              <a:ext cx="1210071" cy="226324"/>
            </a:xfrm>
            <a:prstGeom prst="rect">
              <a:avLst/>
            </a:prstGeom>
            <a:noFill/>
            <a:ln>
              <a:noFill/>
            </a:ln>
          </p:spPr>
          <p:txBody>
            <a:bodyPr wrap="none" lIns="0" tIns="0" rIns="0" bIns="0" anchor="t">
              <a:spAutoFit/>
            </a:bodyPr>
            <a:lstStyle/>
            <a:p>
              <a:pPr algn="l"/>
              <a:r>
                <a:rPr sz="1600" b="1">
                  <a:solidFill>
                    <a:srgbClr val="1A1A1A"/>
                  </a:solidFill>
                  <a:latin typeface="Arial"/>
                </a:rPr>
                <a:t>Generative AI</a:t>
              </a:r>
            </a:p>
          </p:txBody>
        </p:sp>
        <p:sp>
          <p:nvSpPr>
            <p:cNvPr id="36" name="TextBox 35">
              <a:extLst>
                <a:ext uri="{FF2B5EF4-FFF2-40B4-BE49-F238E27FC236}">
                  <a16:creationId xmlns:a16="http://schemas.microsoft.com/office/drawing/2014/main" id="{81C90C83-83AD-8AAA-A66C-6A11DCB677A7}"/>
                </a:ext>
              </a:extLst>
            </p:cNvPr>
            <p:cNvSpPr txBox="1"/>
            <p:nvPr/>
          </p:nvSpPr>
          <p:spPr>
            <a:xfrm>
              <a:off x="4072641" y="4793421"/>
              <a:ext cx="4218555" cy="155598"/>
            </a:xfrm>
            <a:prstGeom prst="rect">
              <a:avLst/>
            </a:prstGeom>
            <a:noFill/>
            <a:ln>
              <a:noFill/>
            </a:ln>
          </p:spPr>
          <p:txBody>
            <a:bodyPr wrap="square" lIns="0" tIns="0" rIns="0" bIns="0" anchor="t">
              <a:spAutoFit/>
            </a:bodyPr>
            <a:lstStyle/>
            <a:p>
              <a:pPr algn="l"/>
              <a:r>
                <a:rPr sz="1100" b="0">
                  <a:solidFill>
                    <a:srgbClr val="1A1A1A"/>
                  </a:solidFill>
                  <a:latin typeface="Arial"/>
                </a:rPr>
                <a:t>Half of companies to launch multi-step pilots by</a:t>
              </a:r>
              <a:r>
                <a:rPr lang="en-US" sz="1100" b="0">
                  <a:solidFill>
                    <a:srgbClr val="1A1A1A"/>
                  </a:solidFill>
                  <a:latin typeface="Arial"/>
                </a:rPr>
                <a:t> </a:t>
              </a:r>
              <a:r>
                <a:rPr sz="1100" b="0">
                  <a:solidFill>
                    <a:srgbClr val="1A1A1A"/>
                  </a:solidFill>
                  <a:latin typeface="Arial"/>
                </a:rPr>
                <a:t>2027</a:t>
              </a:r>
            </a:p>
          </p:txBody>
        </p:sp>
        <p:sp>
          <p:nvSpPr>
            <p:cNvPr id="37" name="TextBox 36">
              <a:extLst>
                <a:ext uri="{FF2B5EF4-FFF2-40B4-BE49-F238E27FC236}">
                  <a16:creationId xmlns:a16="http://schemas.microsoft.com/office/drawing/2014/main" id="{A182E133-37C2-AC66-3416-118B5DC1E7A7}"/>
                </a:ext>
              </a:extLst>
            </p:cNvPr>
            <p:cNvSpPr txBox="1"/>
            <p:nvPr/>
          </p:nvSpPr>
          <p:spPr>
            <a:xfrm>
              <a:off x="4526666" y="5209611"/>
              <a:ext cx="1323174" cy="226324"/>
            </a:xfrm>
            <a:prstGeom prst="rect">
              <a:avLst/>
            </a:prstGeom>
            <a:noFill/>
            <a:ln>
              <a:noFill/>
            </a:ln>
          </p:spPr>
          <p:txBody>
            <a:bodyPr wrap="none" lIns="0" tIns="0" rIns="0" bIns="0" anchor="t">
              <a:spAutoFit/>
            </a:bodyPr>
            <a:lstStyle/>
            <a:p>
              <a:pPr algn="l"/>
              <a:r>
                <a:rPr sz="1600" b="1">
                  <a:solidFill>
                    <a:srgbClr val="1A1A1A"/>
                  </a:solidFill>
                  <a:latin typeface="Arial"/>
                </a:rPr>
                <a:t>Market Growth</a:t>
              </a:r>
            </a:p>
          </p:txBody>
        </p:sp>
        <p:sp>
          <p:nvSpPr>
            <p:cNvPr id="38" name="Rounded Rectangle 37">
              <a:extLst>
                <a:ext uri="{FF2B5EF4-FFF2-40B4-BE49-F238E27FC236}">
                  <a16:creationId xmlns:a16="http://schemas.microsoft.com/office/drawing/2014/main" id="{32B3DB31-23BD-8C47-4CFF-5D07EB37DF3E}"/>
                </a:ext>
              </a:extLst>
            </p:cNvPr>
            <p:cNvSpPr/>
            <p:nvPr/>
          </p:nvSpPr>
          <p:spPr>
            <a:xfrm>
              <a:off x="1465437" y="1990161"/>
              <a:ext cx="316441" cy="316441"/>
            </a:xfrm>
            <a:custGeom>
              <a:avLst/>
              <a:gdLst/>
              <a:ahLst/>
              <a:cxnLst/>
              <a:rect l="0" t="0" r="0" b="0"/>
              <a:pathLst>
                <a:path w="316441" h="316441">
                  <a:moveTo>
                    <a:pt x="275166" y="123825"/>
                  </a:moveTo>
                  <a:cubicBezTo>
                    <a:pt x="275166" y="131423"/>
                    <a:pt x="269006" y="137583"/>
                    <a:pt x="261408" y="137583"/>
                  </a:cubicBezTo>
                  <a:lnTo>
                    <a:pt x="206375" y="137583"/>
                  </a:lnTo>
                  <a:lnTo>
                    <a:pt x="165100" y="178858"/>
                  </a:lnTo>
                  <a:lnTo>
                    <a:pt x="165100" y="137583"/>
                  </a:lnTo>
                  <a:lnTo>
                    <a:pt x="68791" y="137583"/>
                  </a:lnTo>
                  <a:cubicBezTo>
                    <a:pt x="61193" y="137583"/>
                    <a:pt x="55033" y="131423"/>
                    <a:pt x="55033" y="123825"/>
                  </a:cubicBezTo>
                  <a:lnTo>
                    <a:pt x="55033" y="13758"/>
                  </a:lnTo>
                  <a:cubicBezTo>
                    <a:pt x="55033" y="6159"/>
                    <a:pt x="61193" y="0"/>
                    <a:pt x="68791" y="0"/>
                  </a:cubicBezTo>
                  <a:lnTo>
                    <a:pt x="261408" y="0"/>
                  </a:lnTo>
                  <a:cubicBezTo>
                    <a:pt x="269006" y="0"/>
                    <a:pt x="275166" y="6159"/>
                    <a:pt x="275166" y="13758"/>
                  </a:cubicBezTo>
                  <a:close/>
                  <a:moveTo>
                    <a:pt x="22426" y="216693"/>
                  </a:moveTo>
                  <a:cubicBezTo>
                    <a:pt x="22426" y="237589"/>
                    <a:pt x="39365" y="254529"/>
                    <a:pt x="60261" y="254529"/>
                  </a:cubicBezTo>
                  <a:cubicBezTo>
                    <a:pt x="81157" y="254529"/>
                    <a:pt x="98096" y="237589"/>
                    <a:pt x="98096" y="216693"/>
                  </a:cubicBezTo>
                  <a:cubicBezTo>
                    <a:pt x="98096" y="195797"/>
                    <a:pt x="81157" y="178858"/>
                    <a:pt x="60261" y="178858"/>
                  </a:cubicBezTo>
                  <a:cubicBezTo>
                    <a:pt x="39365" y="178858"/>
                    <a:pt x="22426" y="195797"/>
                    <a:pt x="22426" y="216693"/>
                  </a:cubicBezTo>
                  <a:moveTo>
                    <a:pt x="120523" y="316441"/>
                  </a:moveTo>
                  <a:cubicBezTo>
                    <a:pt x="114169" y="288268"/>
                    <a:pt x="89142" y="268256"/>
                    <a:pt x="60261" y="268256"/>
                  </a:cubicBezTo>
                  <a:cubicBezTo>
                    <a:pt x="31380" y="268256"/>
                    <a:pt x="6353" y="288268"/>
                    <a:pt x="0" y="316441"/>
                  </a:cubicBezTo>
                  <a:moveTo>
                    <a:pt x="218344" y="216693"/>
                  </a:moveTo>
                  <a:cubicBezTo>
                    <a:pt x="218344" y="237589"/>
                    <a:pt x="235284" y="254529"/>
                    <a:pt x="256180" y="254529"/>
                  </a:cubicBezTo>
                  <a:cubicBezTo>
                    <a:pt x="277076" y="254529"/>
                    <a:pt x="294015" y="237589"/>
                    <a:pt x="294015" y="216693"/>
                  </a:cubicBezTo>
                  <a:cubicBezTo>
                    <a:pt x="294015" y="195797"/>
                    <a:pt x="277076" y="178858"/>
                    <a:pt x="256180" y="178858"/>
                  </a:cubicBezTo>
                  <a:cubicBezTo>
                    <a:pt x="235284" y="178858"/>
                    <a:pt x="218344" y="195797"/>
                    <a:pt x="218344" y="216693"/>
                  </a:cubicBezTo>
                  <a:moveTo>
                    <a:pt x="316441" y="316441"/>
                  </a:moveTo>
                  <a:cubicBezTo>
                    <a:pt x="310087" y="288268"/>
                    <a:pt x="285061" y="268256"/>
                    <a:pt x="256180" y="268256"/>
                  </a:cubicBezTo>
                  <a:cubicBezTo>
                    <a:pt x="227298" y="268256"/>
                    <a:pt x="202272" y="288268"/>
                    <a:pt x="195918" y="316441"/>
                  </a:cubicBezTo>
                  <a:moveTo>
                    <a:pt x="206375" y="96308"/>
                  </a:moveTo>
                  <a:lnTo>
                    <a:pt x="233891" y="68791"/>
                  </a:lnTo>
                  <a:lnTo>
                    <a:pt x="206375" y="41275"/>
                  </a:lnTo>
                  <a:moveTo>
                    <a:pt x="123825" y="41275"/>
                  </a:moveTo>
                  <a:lnTo>
                    <a:pt x="96308" y="68791"/>
                  </a:lnTo>
                  <a:lnTo>
                    <a:pt x="123825" y="96308"/>
                  </a:lnTo>
                  <a:moveTo>
                    <a:pt x="151341" y="96308"/>
                  </a:moveTo>
                  <a:lnTo>
                    <a:pt x="178858" y="41275"/>
                  </a:lnTo>
                </a:path>
              </a:pathLst>
            </a:custGeom>
            <a:noFill/>
            <a:ln w="5159">
              <a:solidFill>
                <a:srgbClr val="FFFFFF"/>
              </a:solidFill>
            </a:ln>
          </p:spPr>
          <p:txBody>
            <a:bodyPr rtlCol="0" anchor="ctr"/>
            <a:lstStyle/>
            <a:p>
              <a:pPr algn="ctr"/>
              <a:endParaRPr sz="3600"/>
            </a:p>
          </p:txBody>
        </p:sp>
        <p:sp>
          <p:nvSpPr>
            <p:cNvPr id="39" name="Rounded Rectangle 38">
              <a:extLst>
                <a:ext uri="{FF2B5EF4-FFF2-40B4-BE49-F238E27FC236}">
                  <a16:creationId xmlns:a16="http://schemas.microsoft.com/office/drawing/2014/main" id="{BE9EAE02-D2EA-5D28-1E53-22D454ECF663}"/>
                </a:ext>
              </a:extLst>
            </p:cNvPr>
            <p:cNvSpPr/>
            <p:nvPr/>
          </p:nvSpPr>
          <p:spPr>
            <a:xfrm>
              <a:off x="2366608" y="3304082"/>
              <a:ext cx="319879" cy="319881"/>
            </a:xfrm>
            <a:custGeom>
              <a:avLst/>
              <a:gdLst/>
              <a:ahLst/>
              <a:cxnLst/>
              <a:rect l="0" t="0" r="0" b="0"/>
              <a:pathLst>
                <a:path w="319879" h="319881">
                  <a:moveTo>
                    <a:pt x="278604" y="319881"/>
                  </a:moveTo>
                  <a:cubicBezTo>
                    <a:pt x="301401" y="319881"/>
                    <a:pt x="319879" y="301402"/>
                    <a:pt x="319879" y="278606"/>
                  </a:cubicBezTo>
                  <a:cubicBezTo>
                    <a:pt x="319879" y="255810"/>
                    <a:pt x="301401" y="237331"/>
                    <a:pt x="278604" y="237331"/>
                  </a:cubicBezTo>
                  <a:cubicBezTo>
                    <a:pt x="255810" y="237331"/>
                    <a:pt x="237329" y="255810"/>
                    <a:pt x="237329" y="278606"/>
                  </a:cubicBezTo>
                  <a:cubicBezTo>
                    <a:pt x="237329" y="301402"/>
                    <a:pt x="255810" y="319881"/>
                    <a:pt x="278604" y="319881"/>
                  </a:cubicBezTo>
                  <a:close/>
                  <a:moveTo>
                    <a:pt x="237331" y="278606"/>
                  </a:moveTo>
                  <a:lnTo>
                    <a:pt x="147900" y="278606"/>
                  </a:lnTo>
                  <a:cubicBezTo>
                    <a:pt x="139645" y="278606"/>
                    <a:pt x="134142" y="273102"/>
                    <a:pt x="134142" y="264847"/>
                  </a:cubicBezTo>
                  <a:lnTo>
                    <a:pt x="134142" y="237331"/>
                  </a:lnTo>
                  <a:moveTo>
                    <a:pt x="182296" y="244210"/>
                  </a:moveTo>
                  <a:lnTo>
                    <a:pt x="182296" y="278606"/>
                  </a:lnTo>
                  <a:moveTo>
                    <a:pt x="37836" y="223572"/>
                  </a:moveTo>
                  <a:lnTo>
                    <a:pt x="37836" y="237331"/>
                  </a:lnTo>
                  <a:cubicBezTo>
                    <a:pt x="37836" y="252465"/>
                    <a:pt x="50218" y="264847"/>
                    <a:pt x="65352" y="264847"/>
                  </a:cubicBezTo>
                  <a:lnTo>
                    <a:pt x="92869" y="264847"/>
                  </a:lnTo>
                  <a:moveTo>
                    <a:pt x="37836" y="44714"/>
                  </a:moveTo>
                  <a:lnTo>
                    <a:pt x="37836" y="37835"/>
                  </a:lnTo>
                  <a:cubicBezTo>
                    <a:pt x="37836" y="22701"/>
                    <a:pt x="50218" y="10318"/>
                    <a:pt x="65352" y="10318"/>
                  </a:cubicBezTo>
                  <a:lnTo>
                    <a:pt x="244210" y="10318"/>
                  </a:lnTo>
                  <a:cubicBezTo>
                    <a:pt x="259344" y="10318"/>
                    <a:pt x="271727" y="22701"/>
                    <a:pt x="271727" y="37835"/>
                  </a:cubicBezTo>
                  <a:lnTo>
                    <a:pt x="271727" y="189177"/>
                  </a:lnTo>
                  <a:moveTo>
                    <a:pt x="65352" y="72231"/>
                  </a:moveTo>
                  <a:cubicBezTo>
                    <a:pt x="65352" y="80486"/>
                    <a:pt x="59849" y="85989"/>
                    <a:pt x="51594" y="85989"/>
                  </a:cubicBezTo>
                  <a:lnTo>
                    <a:pt x="24077" y="85989"/>
                  </a:lnTo>
                  <a:cubicBezTo>
                    <a:pt x="15822" y="85989"/>
                    <a:pt x="10319" y="80486"/>
                    <a:pt x="10319" y="72231"/>
                  </a:cubicBezTo>
                  <a:lnTo>
                    <a:pt x="10319" y="58472"/>
                  </a:lnTo>
                  <a:cubicBezTo>
                    <a:pt x="10319" y="50217"/>
                    <a:pt x="15822" y="44714"/>
                    <a:pt x="24077" y="44714"/>
                  </a:cubicBezTo>
                  <a:lnTo>
                    <a:pt x="51594" y="44714"/>
                  </a:lnTo>
                  <a:cubicBezTo>
                    <a:pt x="59849" y="44714"/>
                    <a:pt x="65352" y="50217"/>
                    <a:pt x="65352" y="58472"/>
                  </a:cubicBezTo>
                  <a:close/>
                  <a:moveTo>
                    <a:pt x="65352" y="209814"/>
                  </a:moveTo>
                  <a:cubicBezTo>
                    <a:pt x="65352" y="218069"/>
                    <a:pt x="59849" y="223572"/>
                    <a:pt x="51594" y="223572"/>
                  </a:cubicBezTo>
                  <a:lnTo>
                    <a:pt x="24077" y="223572"/>
                  </a:lnTo>
                  <a:cubicBezTo>
                    <a:pt x="15822" y="223572"/>
                    <a:pt x="10319" y="218069"/>
                    <a:pt x="10319" y="209814"/>
                  </a:cubicBezTo>
                  <a:lnTo>
                    <a:pt x="10319" y="196056"/>
                  </a:lnTo>
                  <a:cubicBezTo>
                    <a:pt x="10319" y="187801"/>
                    <a:pt x="15822" y="182297"/>
                    <a:pt x="24077" y="182297"/>
                  </a:cubicBezTo>
                  <a:lnTo>
                    <a:pt x="51594" y="182297"/>
                  </a:lnTo>
                  <a:cubicBezTo>
                    <a:pt x="59849" y="182297"/>
                    <a:pt x="65352" y="187801"/>
                    <a:pt x="65352" y="196056"/>
                  </a:cubicBezTo>
                  <a:close/>
                  <a:moveTo>
                    <a:pt x="161661" y="202935"/>
                  </a:moveTo>
                  <a:cubicBezTo>
                    <a:pt x="199654" y="202935"/>
                    <a:pt x="230452" y="172136"/>
                    <a:pt x="230452" y="134143"/>
                  </a:cubicBezTo>
                  <a:cubicBezTo>
                    <a:pt x="230452" y="96151"/>
                    <a:pt x="199654" y="65352"/>
                    <a:pt x="161661" y="65352"/>
                  </a:cubicBezTo>
                  <a:cubicBezTo>
                    <a:pt x="123668" y="65352"/>
                    <a:pt x="92869" y="96151"/>
                    <a:pt x="92869" y="134143"/>
                  </a:cubicBezTo>
                  <a:cubicBezTo>
                    <a:pt x="92869" y="172136"/>
                    <a:pt x="123668" y="202935"/>
                    <a:pt x="161661" y="202935"/>
                  </a:cubicBezTo>
                  <a:close/>
                  <a:moveTo>
                    <a:pt x="161661" y="154781"/>
                  </a:moveTo>
                  <a:cubicBezTo>
                    <a:pt x="150263" y="154781"/>
                    <a:pt x="141024" y="145541"/>
                    <a:pt x="141024" y="134143"/>
                  </a:cubicBezTo>
                  <a:cubicBezTo>
                    <a:pt x="141024" y="122745"/>
                    <a:pt x="150263" y="113506"/>
                    <a:pt x="161661" y="113506"/>
                  </a:cubicBezTo>
                  <a:cubicBezTo>
                    <a:pt x="173059" y="113506"/>
                    <a:pt x="182297" y="122745"/>
                    <a:pt x="182297" y="134143"/>
                  </a:cubicBezTo>
                  <a:cubicBezTo>
                    <a:pt x="182297" y="145541"/>
                    <a:pt x="173059" y="154781"/>
                    <a:pt x="161661" y="154781"/>
                  </a:cubicBezTo>
                  <a:close/>
                  <a:moveTo>
                    <a:pt x="0" y="0"/>
                  </a:moveTo>
                  <a:moveTo>
                    <a:pt x="230450" y="134143"/>
                  </a:moveTo>
                  <a:lnTo>
                    <a:pt x="182299" y="134143"/>
                  </a:lnTo>
                  <a:moveTo>
                    <a:pt x="37836" y="85989"/>
                  </a:moveTo>
                  <a:lnTo>
                    <a:pt x="37836" y="182297"/>
                  </a:lnTo>
                </a:path>
              </a:pathLst>
            </a:custGeom>
            <a:noFill/>
            <a:ln w="5159">
              <a:solidFill>
                <a:srgbClr val="FFFFFF"/>
              </a:solidFill>
            </a:ln>
          </p:spPr>
          <p:txBody>
            <a:bodyPr rtlCol="0" anchor="ctr"/>
            <a:lstStyle/>
            <a:p>
              <a:pPr algn="ctr"/>
              <a:endParaRPr sz="3600"/>
            </a:p>
          </p:txBody>
        </p:sp>
        <p:sp>
          <p:nvSpPr>
            <p:cNvPr id="40" name="Rounded Rectangle 39">
              <a:extLst>
                <a:ext uri="{FF2B5EF4-FFF2-40B4-BE49-F238E27FC236}">
                  <a16:creationId xmlns:a16="http://schemas.microsoft.com/office/drawing/2014/main" id="{B0205863-6257-03EB-167E-43C76D436F91}"/>
                </a:ext>
              </a:extLst>
            </p:cNvPr>
            <p:cNvSpPr/>
            <p:nvPr/>
          </p:nvSpPr>
          <p:spPr>
            <a:xfrm>
              <a:off x="2820633" y="3964482"/>
              <a:ext cx="316883" cy="316872"/>
            </a:xfrm>
            <a:custGeom>
              <a:avLst/>
              <a:gdLst/>
              <a:ahLst/>
              <a:cxnLst/>
              <a:rect l="0" t="0" r="0" b="0"/>
              <a:pathLst>
                <a:path w="316883" h="316872">
                  <a:moveTo>
                    <a:pt x="13328" y="89214"/>
                  </a:moveTo>
                  <a:lnTo>
                    <a:pt x="13328" y="27086"/>
                  </a:lnTo>
                  <a:cubicBezTo>
                    <a:pt x="13328" y="19488"/>
                    <a:pt x="19488" y="13328"/>
                    <a:pt x="27086" y="13328"/>
                  </a:cubicBezTo>
                  <a:lnTo>
                    <a:pt x="89217" y="13328"/>
                  </a:lnTo>
                  <a:moveTo>
                    <a:pt x="13328" y="240986"/>
                  </a:moveTo>
                  <a:lnTo>
                    <a:pt x="13328" y="303113"/>
                  </a:lnTo>
                  <a:cubicBezTo>
                    <a:pt x="13328" y="310712"/>
                    <a:pt x="19488" y="316872"/>
                    <a:pt x="27086" y="316872"/>
                  </a:cubicBezTo>
                  <a:lnTo>
                    <a:pt x="89217" y="316872"/>
                  </a:lnTo>
                  <a:moveTo>
                    <a:pt x="316883" y="89214"/>
                  </a:moveTo>
                  <a:lnTo>
                    <a:pt x="316883" y="27086"/>
                  </a:lnTo>
                  <a:cubicBezTo>
                    <a:pt x="316883" y="19488"/>
                    <a:pt x="310723" y="13328"/>
                    <a:pt x="303124" y="13328"/>
                  </a:cubicBezTo>
                  <a:lnTo>
                    <a:pt x="240993" y="13328"/>
                  </a:lnTo>
                  <a:moveTo>
                    <a:pt x="316883" y="240986"/>
                  </a:moveTo>
                  <a:lnTo>
                    <a:pt x="316883" y="303113"/>
                  </a:lnTo>
                  <a:cubicBezTo>
                    <a:pt x="316883" y="310712"/>
                    <a:pt x="310723" y="316872"/>
                    <a:pt x="303124" y="316872"/>
                  </a:cubicBezTo>
                  <a:lnTo>
                    <a:pt x="240993" y="316872"/>
                  </a:lnTo>
                  <a:moveTo>
                    <a:pt x="117289" y="111566"/>
                  </a:moveTo>
                  <a:lnTo>
                    <a:pt x="212923" y="111566"/>
                  </a:lnTo>
                  <a:cubicBezTo>
                    <a:pt x="212923" y="111566"/>
                    <a:pt x="247319" y="111566"/>
                    <a:pt x="247319" y="145962"/>
                  </a:cubicBezTo>
                  <a:lnTo>
                    <a:pt x="247319" y="205081"/>
                  </a:lnTo>
                  <a:cubicBezTo>
                    <a:pt x="247319" y="205081"/>
                    <a:pt x="247319" y="239477"/>
                    <a:pt x="212923" y="239477"/>
                  </a:cubicBezTo>
                  <a:lnTo>
                    <a:pt x="117289" y="239477"/>
                  </a:lnTo>
                  <a:cubicBezTo>
                    <a:pt x="117289" y="239477"/>
                    <a:pt x="82893" y="239477"/>
                    <a:pt x="82893" y="205081"/>
                  </a:cubicBezTo>
                  <a:lnTo>
                    <a:pt x="82893" y="145962"/>
                  </a:lnTo>
                  <a:cubicBezTo>
                    <a:pt x="82893" y="145962"/>
                    <a:pt x="82893" y="111566"/>
                    <a:pt x="117289" y="111566"/>
                  </a:cubicBezTo>
                  <a:moveTo>
                    <a:pt x="0" y="0"/>
                  </a:moveTo>
                  <a:moveTo>
                    <a:pt x="165100" y="61117"/>
                  </a:moveTo>
                  <a:lnTo>
                    <a:pt x="165100" y="111571"/>
                  </a:lnTo>
                  <a:moveTo>
                    <a:pt x="0" y="0"/>
                  </a:moveTo>
                  <a:moveTo>
                    <a:pt x="135621" y="159814"/>
                  </a:moveTo>
                  <a:lnTo>
                    <a:pt x="135621" y="191272"/>
                  </a:lnTo>
                  <a:moveTo>
                    <a:pt x="0" y="0"/>
                  </a:moveTo>
                  <a:moveTo>
                    <a:pt x="194604" y="159814"/>
                  </a:moveTo>
                  <a:lnTo>
                    <a:pt x="194604" y="191272"/>
                  </a:lnTo>
                </a:path>
              </a:pathLst>
            </a:custGeom>
            <a:noFill/>
            <a:ln w="5159">
              <a:solidFill>
                <a:srgbClr val="FFFFFF"/>
              </a:solidFill>
            </a:ln>
          </p:spPr>
          <p:txBody>
            <a:bodyPr rtlCol="0" anchor="ctr"/>
            <a:lstStyle/>
            <a:p>
              <a:pPr algn="ctr"/>
              <a:endParaRPr sz="3600"/>
            </a:p>
          </p:txBody>
        </p:sp>
        <p:sp>
          <p:nvSpPr>
            <p:cNvPr id="41" name="Rounded Rectangle 40">
              <a:extLst>
                <a:ext uri="{FF2B5EF4-FFF2-40B4-BE49-F238E27FC236}">
                  <a16:creationId xmlns:a16="http://schemas.microsoft.com/office/drawing/2014/main" id="{72E1F13C-BA5A-917B-224F-A0F3539FC185}"/>
                </a:ext>
              </a:extLst>
            </p:cNvPr>
            <p:cNvSpPr/>
            <p:nvPr/>
          </p:nvSpPr>
          <p:spPr>
            <a:xfrm>
              <a:off x="1025170" y="1329265"/>
              <a:ext cx="290494" cy="316937"/>
            </a:xfrm>
            <a:custGeom>
              <a:avLst/>
              <a:gdLst/>
              <a:ahLst/>
              <a:cxnLst/>
              <a:rect l="0" t="0" r="0" b="0"/>
              <a:pathLst>
                <a:path w="290494" h="316937">
                  <a:moveTo>
                    <a:pt x="66755" y="221179"/>
                  </a:moveTo>
                  <a:lnTo>
                    <a:pt x="31644" y="303426"/>
                  </a:lnTo>
                  <a:moveTo>
                    <a:pt x="0" y="289915"/>
                  </a:moveTo>
                  <a:lnTo>
                    <a:pt x="63274" y="316937"/>
                  </a:lnTo>
                  <a:moveTo>
                    <a:pt x="76537" y="75753"/>
                  </a:moveTo>
                  <a:lnTo>
                    <a:pt x="165100" y="113588"/>
                  </a:lnTo>
                  <a:moveTo>
                    <a:pt x="94904" y="117716"/>
                  </a:moveTo>
                  <a:lnTo>
                    <a:pt x="94904" y="117716"/>
                  </a:lnTo>
                  <a:moveTo>
                    <a:pt x="94932" y="117716"/>
                  </a:moveTo>
                  <a:cubicBezTo>
                    <a:pt x="93184" y="116971"/>
                    <a:pt x="91164" y="117785"/>
                    <a:pt x="90419" y="119532"/>
                  </a:cubicBezTo>
                  <a:cubicBezTo>
                    <a:pt x="89675" y="121280"/>
                    <a:pt x="90488" y="123300"/>
                    <a:pt x="92236" y="124045"/>
                  </a:cubicBezTo>
                  <a:cubicBezTo>
                    <a:pt x="93983" y="124789"/>
                    <a:pt x="96003" y="123976"/>
                    <a:pt x="96748" y="122229"/>
                  </a:cubicBezTo>
                  <a:cubicBezTo>
                    <a:pt x="97493" y="120481"/>
                    <a:pt x="96680" y="118461"/>
                    <a:pt x="94932" y="117716"/>
                  </a:cubicBezTo>
                  <a:moveTo>
                    <a:pt x="115542" y="158991"/>
                  </a:moveTo>
                  <a:lnTo>
                    <a:pt x="115542" y="158991"/>
                  </a:lnTo>
                  <a:moveTo>
                    <a:pt x="115569" y="158991"/>
                  </a:moveTo>
                  <a:cubicBezTo>
                    <a:pt x="113822" y="158246"/>
                    <a:pt x="111802" y="159060"/>
                    <a:pt x="111057" y="160807"/>
                  </a:cubicBezTo>
                  <a:cubicBezTo>
                    <a:pt x="110312" y="162555"/>
                    <a:pt x="111125" y="164575"/>
                    <a:pt x="112873" y="165320"/>
                  </a:cubicBezTo>
                  <a:cubicBezTo>
                    <a:pt x="114621" y="166064"/>
                    <a:pt x="116641" y="165251"/>
                    <a:pt x="117386" y="163504"/>
                  </a:cubicBezTo>
                  <a:cubicBezTo>
                    <a:pt x="118130" y="161756"/>
                    <a:pt x="117317" y="159736"/>
                    <a:pt x="115569" y="158991"/>
                  </a:cubicBezTo>
                  <a:moveTo>
                    <a:pt x="213529" y="118583"/>
                  </a:moveTo>
                  <a:cubicBezTo>
                    <a:pt x="214273" y="116835"/>
                    <a:pt x="216294" y="116022"/>
                    <a:pt x="218042" y="116767"/>
                  </a:cubicBezTo>
                  <a:lnTo>
                    <a:pt x="218042" y="116767"/>
                  </a:lnTo>
                  <a:cubicBezTo>
                    <a:pt x="219789" y="117511"/>
                    <a:pt x="220602" y="119532"/>
                    <a:pt x="219858" y="121279"/>
                  </a:cubicBezTo>
                  <a:cubicBezTo>
                    <a:pt x="219113" y="123027"/>
                    <a:pt x="217093" y="123840"/>
                    <a:pt x="215345" y="123095"/>
                  </a:cubicBezTo>
                  <a:cubicBezTo>
                    <a:pt x="213597" y="122351"/>
                    <a:pt x="212784" y="120330"/>
                    <a:pt x="213529" y="118583"/>
                  </a:cubicBezTo>
                  <a:moveTo>
                    <a:pt x="220408" y="173616"/>
                  </a:moveTo>
                  <a:cubicBezTo>
                    <a:pt x="221158" y="171874"/>
                    <a:pt x="223177" y="171067"/>
                    <a:pt x="224921" y="171814"/>
                  </a:cubicBezTo>
                  <a:lnTo>
                    <a:pt x="224921" y="171814"/>
                  </a:lnTo>
                  <a:cubicBezTo>
                    <a:pt x="226668" y="172562"/>
                    <a:pt x="227478" y="174585"/>
                    <a:pt x="226729" y="176331"/>
                  </a:cubicBezTo>
                  <a:cubicBezTo>
                    <a:pt x="225980" y="178078"/>
                    <a:pt x="223956" y="178886"/>
                    <a:pt x="222210" y="178136"/>
                  </a:cubicBezTo>
                  <a:cubicBezTo>
                    <a:pt x="220464" y="177386"/>
                    <a:pt x="219657" y="175362"/>
                    <a:pt x="220408" y="173616"/>
                  </a:cubicBezTo>
                  <a:moveTo>
                    <a:pt x="241046" y="146099"/>
                  </a:moveTo>
                  <a:cubicBezTo>
                    <a:pt x="241795" y="144357"/>
                    <a:pt x="243814" y="143551"/>
                    <a:pt x="245558" y="144297"/>
                  </a:cubicBezTo>
                  <a:lnTo>
                    <a:pt x="245558" y="144297"/>
                  </a:lnTo>
                  <a:cubicBezTo>
                    <a:pt x="247305" y="145045"/>
                    <a:pt x="248115" y="147068"/>
                    <a:pt x="247366" y="148815"/>
                  </a:cubicBezTo>
                  <a:cubicBezTo>
                    <a:pt x="246617" y="150561"/>
                    <a:pt x="244593" y="151370"/>
                    <a:pt x="242847" y="150620"/>
                  </a:cubicBezTo>
                  <a:cubicBezTo>
                    <a:pt x="241101" y="149869"/>
                    <a:pt x="240294" y="147845"/>
                    <a:pt x="241046" y="146099"/>
                  </a:cubicBezTo>
                  <a:moveTo>
                    <a:pt x="74267" y="172749"/>
                  </a:moveTo>
                  <a:lnTo>
                    <a:pt x="74267" y="172749"/>
                  </a:lnTo>
                  <a:moveTo>
                    <a:pt x="74294" y="172749"/>
                  </a:moveTo>
                  <a:cubicBezTo>
                    <a:pt x="72547" y="172005"/>
                    <a:pt x="70527" y="172818"/>
                    <a:pt x="69782" y="174565"/>
                  </a:cubicBezTo>
                  <a:cubicBezTo>
                    <a:pt x="69037" y="176313"/>
                    <a:pt x="69850" y="178333"/>
                    <a:pt x="71598" y="179078"/>
                  </a:cubicBezTo>
                  <a:cubicBezTo>
                    <a:pt x="73346" y="179823"/>
                    <a:pt x="75366" y="179010"/>
                    <a:pt x="76111" y="177262"/>
                  </a:cubicBezTo>
                  <a:cubicBezTo>
                    <a:pt x="76855" y="175514"/>
                    <a:pt x="76042" y="173494"/>
                    <a:pt x="74294" y="172749"/>
                  </a:cubicBezTo>
                  <a:moveTo>
                    <a:pt x="37780" y="148961"/>
                  </a:moveTo>
                  <a:lnTo>
                    <a:pt x="109626" y="14432"/>
                  </a:lnTo>
                  <a:cubicBezTo>
                    <a:pt x="111308" y="11290"/>
                    <a:pt x="115111" y="9952"/>
                    <a:pt x="118390" y="11350"/>
                  </a:cubicBezTo>
                  <a:lnTo>
                    <a:pt x="182710" y="38867"/>
                  </a:lnTo>
                  <a:cubicBezTo>
                    <a:pt x="185983" y="40272"/>
                    <a:pt x="187643" y="43943"/>
                    <a:pt x="186535" y="47328"/>
                  </a:cubicBezTo>
                  <a:lnTo>
                    <a:pt x="138959" y="192204"/>
                  </a:lnTo>
                  <a:cubicBezTo>
                    <a:pt x="126767" y="219741"/>
                    <a:pt x="94707" y="232364"/>
                    <a:pt x="67014" y="220532"/>
                  </a:cubicBezTo>
                  <a:cubicBezTo>
                    <a:pt x="39320" y="208700"/>
                    <a:pt x="26281" y="176806"/>
                    <a:pt x="37752" y="148961"/>
                  </a:cubicBezTo>
                  <a:close/>
                  <a:moveTo>
                    <a:pt x="240261" y="216693"/>
                  </a:moveTo>
                  <a:lnTo>
                    <a:pt x="254996" y="304898"/>
                  </a:lnTo>
                  <a:moveTo>
                    <a:pt x="288925" y="299230"/>
                  </a:moveTo>
                  <a:lnTo>
                    <a:pt x="221068" y="310567"/>
                  </a:lnTo>
                  <a:moveTo>
                    <a:pt x="265095" y="73056"/>
                  </a:moveTo>
                  <a:lnTo>
                    <a:pt x="206058" y="82921"/>
                  </a:lnTo>
                  <a:moveTo>
                    <a:pt x="176918" y="171470"/>
                  </a:moveTo>
                  <a:cubicBezTo>
                    <a:pt x="181924" y="201451"/>
                    <a:pt x="210288" y="221697"/>
                    <a:pt x="240269" y="216689"/>
                  </a:cubicBezTo>
                  <a:cubicBezTo>
                    <a:pt x="270250" y="211682"/>
                    <a:pt x="290494" y="183317"/>
                    <a:pt x="285485" y="153336"/>
                  </a:cubicBezTo>
                  <a:lnTo>
                    <a:pt x="247416" y="5654"/>
                  </a:lnTo>
                  <a:cubicBezTo>
                    <a:pt x="246523" y="2198"/>
                    <a:pt x="243135" y="0"/>
                    <a:pt x="239615" y="591"/>
                  </a:cubicBezTo>
                  <a:lnTo>
                    <a:pt x="185875" y="9575"/>
                  </a:lnTo>
                </a:path>
              </a:pathLst>
            </a:custGeom>
            <a:noFill/>
            <a:ln w="5159">
              <a:solidFill>
                <a:srgbClr val="FFFFFF"/>
              </a:solidFill>
            </a:ln>
          </p:spPr>
          <p:txBody>
            <a:bodyPr rtlCol="0" anchor="ctr"/>
            <a:lstStyle/>
            <a:p>
              <a:pPr algn="ctr"/>
              <a:endParaRPr sz="3600"/>
            </a:p>
          </p:txBody>
        </p:sp>
        <p:sp>
          <p:nvSpPr>
            <p:cNvPr id="42" name="Rounded Rectangle 41">
              <a:extLst>
                <a:ext uri="{FF2B5EF4-FFF2-40B4-BE49-F238E27FC236}">
                  <a16:creationId xmlns:a16="http://schemas.microsoft.com/office/drawing/2014/main" id="{88806976-E907-3835-E467-F129FB573AE4}"/>
                </a:ext>
              </a:extLst>
            </p:cNvPr>
            <p:cNvSpPr/>
            <p:nvPr/>
          </p:nvSpPr>
          <p:spPr>
            <a:xfrm>
              <a:off x="3274658" y="4624882"/>
              <a:ext cx="318367" cy="318959"/>
            </a:xfrm>
            <a:custGeom>
              <a:avLst/>
              <a:gdLst/>
              <a:ahLst/>
              <a:cxnLst/>
              <a:rect l="0" t="0" r="0" b="0"/>
              <a:pathLst>
                <a:path w="318367" h="318959">
                  <a:moveTo>
                    <a:pt x="105223" y="318959"/>
                  </a:moveTo>
                  <a:lnTo>
                    <a:pt x="11837" y="277687"/>
                  </a:lnTo>
                  <a:lnTo>
                    <a:pt x="11837" y="61643"/>
                  </a:lnTo>
                  <a:lnTo>
                    <a:pt x="105223" y="102916"/>
                  </a:lnTo>
                  <a:moveTo>
                    <a:pt x="198602" y="176859"/>
                  </a:moveTo>
                  <a:lnTo>
                    <a:pt x="198602" y="277674"/>
                  </a:lnTo>
                  <a:lnTo>
                    <a:pt x="105216" y="318945"/>
                  </a:lnTo>
                  <a:lnTo>
                    <a:pt x="105216" y="102903"/>
                  </a:lnTo>
                  <a:lnTo>
                    <a:pt x="159962" y="78250"/>
                  </a:lnTo>
                  <a:moveTo>
                    <a:pt x="0" y="0"/>
                  </a:moveTo>
                  <a:moveTo>
                    <a:pt x="198596" y="277684"/>
                  </a:moveTo>
                  <a:lnTo>
                    <a:pt x="291982" y="318956"/>
                  </a:lnTo>
                  <a:lnTo>
                    <a:pt x="291982" y="176816"/>
                  </a:lnTo>
                  <a:moveTo>
                    <a:pt x="230507" y="46654"/>
                  </a:moveTo>
                  <a:lnTo>
                    <a:pt x="290851" y="46654"/>
                  </a:lnTo>
                  <a:cubicBezTo>
                    <a:pt x="290851" y="46654"/>
                    <a:pt x="318367" y="46654"/>
                    <a:pt x="318367" y="74171"/>
                  </a:cubicBezTo>
                  <a:lnTo>
                    <a:pt x="318367" y="108897"/>
                  </a:lnTo>
                  <a:cubicBezTo>
                    <a:pt x="318367" y="108897"/>
                    <a:pt x="318367" y="136413"/>
                    <a:pt x="290851" y="136413"/>
                  </a:cubicBezTo>
                  <a:lnTo>
                    <a:pt x="230507" y="136413"/>
                  </a:lnTo>
                  <a:cubicBezTo>
                    <a:pt x="230507" y="136413"/>
                    <a:pt x="202990" y="136413"/>
                    <a:pt x="202990" y="108897"/>
                  </a:cubicBezTo>
                  <a:lnTo>
                    <a:pt x="202990" y="74171"/>
                  </a:lnTo>
                  <a:cubicBezTo>
                    <a:pt x="202990" y="74171"/>
                    <a:pt x="202990" y="46654"/>
                    <a:pt x="230507" y="46654"/>
                  </a:cubicBezTo>
                  <a:moveTo>
                    <a:pt x="0" y="0"/>
                  </a:moveTo>
                  <a:moveTo>
                    <a:pt x="260683" y="11246"/>
                  </a:moveTo>
                  <a:lnTo>
                    <a:pt x="260683" y="46649"/>
                  </a:lnTo>
                  <a:moveTo>
                    <a:pt x="0" y="0"/>
                  </a:moveTo>
                  <a:moveTo>
                    <a:pt x="241765" y="83548"/>
                  </a:moveTo>
                  <a:lnTo>
                    <a:pt x="241765" y="99533"/>
                  </a:lnTo>
                  <a:moveTo>
                    <a:pt x="0" y="0"/>
                  </a:moveTo>
                  <a:moveTo>
                    <a:pt x="279600" y="83548"/>
                  </a:moveTo>
                  <a:lnTo>
                    <a:pt x="279600" y="99533"/>
                  </a:lnTo>
                </a:path>
              </a:pathLst>
            </a:custGeom>
            <a:noFill/>
            <a:ln w="5159">
              <a:solidFill>
                <a:srgbClr val="FFFFFF"/>
              </a:solidFill>
            </a:ln>
          </p:spPr>
          <p:txBody>
            <a:bodyPr rtlCol="0" anchor="ctr"/>
            <a:lstStyle/>
            <a:p>
              <a:pPr algn="ctr"/>
              <a:endParaRPr sz="3600"/>
            </a:p>
          </p:txBody>
        </p:sp>
        <p:sp>
          <p:nvSpPr>
            <p:cNvPr id="43" name="Rounded Rectangle 42">
              <a:extLst>
                <a:ext uri="{FF2B5EF4-FFF2-40B4-BE49-F238E27FC236}">
                  <a16:creationId xmlns:a16="http://schemas.microsoft.com/office/drawing/2014/main" id="{64686A2B-D56C-81D7-BA5F-FC5532F9BF16}"/>
                </a:ext>
              </a:extLst>
            </p:cNvPr>
            <p:cNvSpPr/>
            <p:nvPr/>
          </p:nvSpPr>
          <p:spPr>
            <a:xfrm>
              <a:off x="3735837" y="5295600"/>
              <a:ext cx="315891" cy="314573"/>
            </a:xfrm>
            <a:custGeom>
              <a:avLst/>
              <a:gdLst/>
              <a:ahLst/>
              <a:cxnLst/>
              <a:rect l="0" t="0" r="0" b="0"/>
              <a:pathLst>
                <a:path w="315891" h="314573">
                  <a:moveTo>
                    <a:pt x="151341" y="0"/>
                  </a:moveTo>
                  <a:lnTo>
                    <a:pt x="192616" y="0"/>
                  </a:lnTo>
                  <a:lnTo>
                    <a:pt x="192616" y="41275"/>
                  </a:lnTo>
                  <a:moveTo>
                    <a:pt x="192616" y="0"/>
                  </a:moveTo>
                  <a:lnTo>
                    <a:pt x="121210" y="72231"/>
                  </a:lnTo>
                  <a:cubicBezTo>
                    <a:pt x="115844" y="77565"/>
                    <a:pt x="107177" y="77565"/>
                    <a:pt x="101811" y="72231"/>
                  </a:cubicBezTo>
                  <a:lnTo>
                    <a:pt x="76496" y="46228"/>
                  </a:lnTo>
                  <a:cubicBezTo>
                    <a:pt x="71130" y="40893"/>
                    <a:pt x="62463" y="40893"/>
                    <a:pt x="57097" y="46228"/>
                  </a:cubicBezTo>
                  <a:lnTo>
                    <a:pt x="0" y="103187"/>
                  </a:lnTo>
                  <a:moveTo>
                    <a:pt x="235507" y="69287"/>
                  </a:moveTo>
                  <a:lnTo>
                    <a:pt x="259675" y="99638"/>
                  </a:lnTo>
                  <a:cubicBezTo>
                    <a:pt x="259675" y="99638"/>
                    <a:pt x="268245" y="110401"/>
                    <a:pt x="257483" y="118972"/>
                  </a:cubicBezTo>
                  <a:lnTo>
                    <a:pt x="175362" y="184364"/>
                  </a:lnTo>
                  <a:cubicBezTo>
                    <a:pt x="175362" y="184364"/>
                    <a:pt x="164599" y="192934"/>
                    <a:pt x="156028" y="182171"/>
                  </a:cubicBezTo>
                  <a:lnTo>
                    <a:pt x="131860" y="151820"/>
                  </a:lnTo>
                  <a:cubicBezTo>
                    <a:pt x="131860" y="151820"/>
                    <a:pt x="123289" y="141057"/>
                    <a:pt x="134052" y="132487"/>
                  </a:cubicBezTo>
                  <a:lnTo>
                    <a:pt x="216173" y="67095"/>
                  </a:lnTo>
                  <a:cubicBezTo>
                    <a:pt x="216173" y="67095"/>
                    <a:pt x="226936" y="58524"/>
                    <a:pt x="235507" y="69287"/>
                  </a:cubicBezTo>
                  <a:moveTo>
                    <a:pt x="257831" y="97408"/>
                  </a:moveTo>
                  <a:lnTo>
                    <a:pt x="237193" y="72231"/>
                  </a:lnTo>
                  <a:lnTo>
                    <a:pt x="260307" y="53382"/>
                  </a:lnTo>
                  <a:cubicBezTo>
                    <a:pt x="264678" y="48712"/>
                    <a:pt x="271338" y="46959"/>
                    <a:pt x="277441" y="48872"/>
                  </a:cubicBezTo>
                  <a:cubicBezTo>
                    <a:pt x="283545" y="50785"/>
                    <a:pt x="288012" y="56026"/>
                    <a:pt x="288935" y="62355"/>
                  </a:cubicBezTo>
                  <a:cubicBezTo>
                    <a:pt x="289858" y="68685"/>
                    <a:pt x="287073" y="74983"/>
                    <a:pt x="281770" y="78560"/>
                  </a:cubicBezTo>
                  <a:close/>
                  <a:moveTo>
                    <a:pt x="283696" y="55308"/>
                  </a:moveTo>
                  <a:lnTo>
                    <a:pt x="307361" y="36872"/>
                  </a:lnTo>
                  <a:lnTo>
                    <a:pt x="298693" y="26140"/>
                  </a:lnTo>
                  <a:moveTo>
                    <a:pt x="315891" y="47603"/>
                  </a:moveTo>
                  <a:lnTo>
                    <a:pt x="307361" y="36872"/>
                  </a:lnTo>
                  <a:moveTo>
                    <a:pt x="34395" y="227012"/>
                  </a:moveTo>
                  <a:lnTo>
                    <a:pt x="123825" y="227012"/>
                  </a:lnTo>
                  <a:moveTo>
                    <a:pt x="61912" y="309562"/>
                  </a:moveTo>
                  <a:lnTo>
                    <a:pt x="268287" y="309562"/>
                  </a:lnTo>
                  <a:moveTo>
                    <a:pt x="234717" y="137032"/>
                  </a:moveTo>
                  <a:cubicBezTo>
                    <a:pt x="263880" y="169293"/>
                    <a:pt x="269686" y="216375"/>
                    <a:pt x="249235" y="254755"/>
                  </a:cubicBezTo>
                  <a:cubicBezTo>
                    <a:pt x="228784" y="293135"/>
                    <a:pt x="186465" y="314573"/>
                    <a:pt x="143423" y="308358"/>
                  </a:cubicBezTo>
                  <a:cubicBezTo>
                    <a:pt x="100381" y="302143"/>
                    <a:pt x="65855" y="269609"/>
                    <a:pt x="57097" y="227012"/>
                  </a:cubicBezTo>
                  <a:moveTo>
                    <a:pt x="99885" y="227012"/>
                  </a:moveTo>
                  <a:cubicBezTo>
                    <a:pt x="108304" y="251007"/>
                    <a:pt x="130539" y="267414"/>
                    <a:pt x="155949" y="268381"/>
                  </a:cubicBezTo>
                  <a:cubicBezTo>
                    <a:pt x="181360" y="269349"/>
                    <a:pt x="204778" y="254681"/>
                    <a:pt x="214998" y="231397"/>
                  </a:cubicBezTo>
                  <a:cubicBezTo>
                    <a:pt x="225218" y="208112"/>
                    <a:pt x="220161" y="180946"/>
                    <a:pt x="202247" y="162898"/>
                  </a:cubicBezTo>
                </a:path>
              </a:pathLst>
            </a:custGeom>
            <a:noFill/>
            <a:ln w="5159">
              <a:solidFill>
                <a:srgbClr val="FFFFFF"/>
              </a:solidFill>
            </a:ln>
          </p:spPr>
          <p:txBody>
            <a:bodyPr rtlCol="0" anchor="ctr"/>
            <a:lstStyle/>
            <a:p>
              <a:pPr algn="ctr"/>
              <a:endParaRPr sz="3600"/>
            </a:p>
          </p:txBody>
        </p:sp>
        <p:sp>
          <p:nvSpPr>
            <p:cNvPr id="44" name="Rounded Rectangle 43">
              <a:extLst>
                <a:ext uri="{FF2B5EF4-FFF2-40B4-BE49-F238E27FC236}">
                  <a16:creationId xmlns:a16="http://schemas.microsoft.com/office/drawing/2014/main" id="{9EC636D1-03F5-803C-9A70-28FEAC7F53DE}"/>
                </a:ext>
              </a:extLst>
            </p:cNvPr>
            <p:cNvSpPr/>
            <p:nvPr/>
          </p:nvSpPr>
          <p:spPr>
            <a:xfrm>
              <a:off x="1961638" y="2650549"/>
              <a:ext cx="232088" cy="316465"/>
            </a:xfrm>
            <a:custGeom>
              <a:avLst/>
              <a:gdLst/>
              <a:ahLst/>
              <a:cxnLst/>
              <a:rect l="0" t="0" r="0" b="0"/>
              <a:pathLst>
                <a:path w="232088" h="316465">
                  <a:moveTo>
                    <a:pt x="6" y="42208"/>
                  </a:moveTo>
                  <a:cubicBezTo>
                    <a:pt x="0" y="65517"/>
                    <a:pt x="18894" y="84417"/>
                    <a:pt x="42203" y="84417"/>
                  </a:cubicBezTo>
                  <a:cubicBezTo>
                    <a:pt x="65512" y="84417"/>
                    <a:pt x="84406" y="65517"/>
                    <a:pt x="84400" y="42208"/>
                  </a:cubicBezTo>
                  <a:cubicBezTo>
                    <a:pt x="84406" y="18899"/>
                    <a:pt x="65512" y="0"/>
                    <a:pt x="42203" y="0"/>
                  </a:cubicBezTo>
                  <a:cubicBezTo>
                    <a:pt x="18894" y="0"/>
                    <a:pt x="0" y="18899"/>
                    <a:pt x="6" y="42208"/>
                  </a:cubicBezTo>
                  <a:moveTo>
                    <a:pt x="6" y="274256"/>
                  </a:moveTo>
                  <a:cubicBezTo>
                    <a:pt x="0" y="297565"/>
                    <a:pt x="18894" y="316465"/>
                    <a:pt x="42203" y="316465"/>
                  </a:cubicBezTo>
                  <a:cubicBezTo>
                    <a:pt x="65512" y="316465"/>
                    <a:pt x="84406" y="297565"/>
                    <a:pt x="84400" y="274256"/>
                  </a:cubicBezTo>
                  <a:cubicBezTo>
                    <a:pt x="84406" y="250947"/>
                    <a:pt x="65512" y="232048"/>
                    <a:pt x="42203" y="232048"/>
                  </a:cubicBezTo>
                  <a:cubicBezTo>
                    <a:pt x="18894" y="232048"/>
                    <a:pt x="0" y="250947"/>
                    <a:pt x="6" y="274256"/>
                  </a:cubicBezTo>
                  <a:moveTo>
                    <a:pt x="147688" y="42208"/>
                  </a:moveTo>
                  <a:cubicBezTo>
                    <a:pt x="147681" y="65517"/>
                    <a:pt x="166575" y="84417"/>
                    <a:pt x="189885" y="84417"/>
                  </a:cubicBezTo>
                  <a:cubicBezTo>
                    <a:pt x="213194" y="84417"/>
                    <a:pt x="232088" y="65517"/>
                    <a:pt x="232082" y="42208"/>
                  </a:cubicBezTo>
                  <a:cubicBezTo>
                    <a:pt x="232088" y="18899"/>
                    <a:pt x="213194" y="0"/>
                    <a:pt x="189885" y="0"/>
                  </a:cubicBezTo>
                  <a:cubicBezTo>
                    <a:pt x="166575" y="0"/>
                    <a:pt x="147681" y="18899"/>
                    <a:pt x="147688" y="42208"/>
                  </a:cubicBezTo>
                  <a:moveTo>
                    <a:pt x="42203" y="84391"/>
                  </a:moveTo>
                  <a:lnTo>
                    <a:pt x="42203" y="232073"/>
                  </a:lnTo>
                  <a:moveTo>
                    <a:pt x="42203" y="168785"/>
                  </a:moveTo>
                  <a:lnTo>
                    <a:pt x="105491" y="168785"/>
                  </a:lnTo>
                  <a:cubicBezTo>
                    <a:pt x="152100" y="168785"/>
                    <a:pt x="189885" y="131000"/>
                    <a:pt x="189885" y="84391"/>
                  </a:cubicBezTo>
                </a:path>
              </a:pathLst>
            </a:custGeom>
            <a:noFill/>
            <a:ln w="5159">
              <a:solidFill>
                <a:srgbClr val="FFFFFF"/>
              </a:solidFill>
            </a:ln>
          </p:spPr>
          <p:txBody>
            <a:bodyPr rtlCol="0" anchor="ctr"/>
            <a:lstStyle/>
            <a:p>
              <a:pPr algn="ctr"/>
              <a:endParaRPr sz="3600"/>
            </a:p>
          </p:txBody>
        </p:sp>
      </p:grpSp>
    </p:spTree>
    <p:extLst>
      <p:ext uri="{BB962C8B-B14F-4D97-AF65-F5344CB8AC3E}">
        <p14:creationId xmlns:p14="http://schemas.microsoft.com/office/powerpoint/2010/main" val="154261038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368D06D-2E5B-8C68-DFED-B553E367927D}"/>
              </a:ext>
            </a:extLst>
          </p:cNvPr>
          <p:cNvSpPr>
            <a:spLocks noGrp="1"/>
          </p:cNvSpPr>
          <p:nvPr>
            <p:ph type="title"/>
          </p:nvPr>
        </p:nvSpPr>
        <p:spPr/>
        <p:txBody>
          <a:bodyPr/>
          <a:lstStyle/>
          <a:p>
            <a:r>
              <a:rPr lang="en-US"/>
              <a:t>Picture This: Booking a Vacation</a:t>
            </a:r>
          </a:p>
        </p:txBody>
      </p:sp>
      <p:sp>
        <p:nvSpPr>
          <p:cNvPr id="5" name="Text Placeholder 4">
            <a:extLst>
              <a:ext uri="{FF2B5EF4-FFF2-40B4-BE49-F238E27FC236}">
                <a16:creationId xmlns:a16="http://schemas.microsoft.com/office/drawing/2014/main" id="{05418C64-6016-D28E-CE66-B043DB5954C9}"/>
              </a:ext>
            </a:extLst>
          </p:cNvPr>
          <p:cNvSpPr>
            <a:spLocks noGrp="1"/>
          </p:cNvSpPr>
          <p:nvPr>
            <p:ph type="body" sz="quarter" idx="10"/>
          </p:nvPr>
        </p:nvSpPr>
        <p:spPr>
          <a:xfrm>
            <a:off x="263859" y="958806"/>
            <a:ext cx="6906962" cy="5646531"/>
          </a:xfrm>
        </p:spPr>
        <p:txBody>
          <a:bodyPr/>
          <a:lstStyle/>
          <a:p>
            <a:r>
              <a:rPr lang="en-US" sz="2000"/>
              <a:t>You are planning a trip to Italy using ChatGPT</a:t>
            </a:r>
          </a:p>
          <a:p>
            <a:r>
              <a:rPr lang="en-US" sz="2000"/>
              <a:t>”Build me a 14-day itinerary for a family of 5”. </a:t>
            </a:r>
          </a:p>
          <a:p>
            <a:r>
              <a:rPr lang="en-US" sz="2000"/>
              <a:t>ChatGPT builds a perfectly crafted itinerary filled with hidden gems, experiences all tailored for a family of 5</a:t>
            </a:r>
          </a:p>
          <a:p>
            <a:r>
              <a:rPr lang="en-US" sz="2000"/>
              <a:t>The “Tuscany Fattorie” is closed during wine season. The “traditional cooking class”, booked up.</a:t>
            </a:r>
          </a:p>
          <a:p>
            <a:r>
              <a:rPr lang="en-US" sz="2000"/>
              <a:t>Now you or I must do the real work, checking availability, feasibility of travel, prices, all translating a fantasy into a logistically possible vacation.</a:t>
            </a:r>
          </a:p>
          <a:p>
            <a:endParaRPr lang="en-US" sz="2000"/>
          </a:p>
        </p:txBody>
      </p:sp>
      <p:pic>
        <p:nvPicPr>
          <p:cNvPr id="6" name="Picture 5">
            <a:extLst>
              <a:ext uri="{FF2B5EF4-FFF2-40B4-BE49-F238E27FC236}">
                <a16:creationId xmlns:a16="http://schemas.microsoft.com/office/drawing/2014/main" id="{94348B7D-250D-ADC7-B515-B431904B447B}"/>
              </a:ext>
            </a:extLst>
          </p:cNvPr>
          <p:cNvPicPr>
            <a:picLocks noChangeAspect="1"/>
          </p:cNvPicPr>
          <p:nvPr/>
        </p:nvPicPr>
        <p:blipFill>
          <a:blip r:embed="rId2"/>
          <a:srcRect l="3801" t="-1295" r="22369" b="16211"/>
          <a:stretch>
            <a:fillRect/>
          </a:stretch>
        </p:blipFill>
        <p:spPr>
          <a:xfrm>
            <a:off x="7303168" y="884172"/>
            <a:ext cx="4800600" cy="5532521"/>
          </a:xfrm>
          <a:prstGeom prst="rect">
            <a:avLst/>
          </a:prstGeom>
        </p:spPr>
      </p:pic>
    </p:spTree>
    <p:extLst>
      <p:ext uri="{BB962C8B-B14F-4D97-AF65-F5344CB8AC3E}">
        <p14:creationId xmlns:p14="http://schemas.microsoft.com/office/powerpoint/2010/main" val="257072867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B30304-3FB4-6913-5DCF-57260FF1D838}"/>
              </a:ext>
            </a:extLst>
          </p:cNvPr>
          <p:cNvSpPr>
            <a:spLocks noGrp="1"/>
          </p:cNvSpPr>
          <p:nvPr>
            <p:ph type="title"/>
          </p:nvPr>
        </p:nvSpPr>
        <p:spPr/>
        <p:txBody>
          <a:bodyPr/>
          <a:lstStyle/>
          <a:p>
            <a:r>
              <a:rPr lang="en-US"/>
              <a:t>Excelling at the wrong thing</a:t>
            </a:r>
          </a:p>
        </p:txBody>
      </p:sp>
      <p:sp>
        <p:nvSpPr>
          <p:cNvPr id="3" name="Text Placeholder 2">
            <a:extLst>
              <a:ext uri="{FF2B5EF4-FFF2-40B4-BE49-F238E27FC236}">
                <a16:creationId xmlns:a16="http://schemas.microsoft.com/office/drawing/2014/main" id="{F6DD41DE-A9A4-0B63-6E0E-0B6641350D25}"/>
              </a:ext>
            </a:extLst>
          </p:cNvPr>
          <p:cNvSpPr>
            <a:spLocks noGrp="1"/>
          </p:cNvSpPr>
          <p:nvPr>
            <p:ph type="body" sz="quarter" idx="10"/>
          </p:nvPr>
        </p:nvSpPr>
        <p:spPr>
          <a:xfrm>
            <a:off x="384175" y="1231900"/>
            <a:ext cx="7171657" cy="4957763"/>
          </a:xfrm>
        </p:spPr>
        <p:txBody>
          <a:bodyPr/>
          <a:lstStyle/>
          <a:p>
            <a:r>
              <a:rPr lang="en-US" sz="2000"/>
              <a:t>Generative AI is a room of brilliant advisors who are unable to implement or understand within a broader scope their own recommendations</a:t>
            </a:r>
            <a:br>
              <a:rPr lang="en-US" sz="2000"/>
            </a:br>
            <a:endParaRPr lang="en-US" sz="2000"/>
          </a:p>
          <a:p>
            <a:r>
              <a:rPr lang="en-US" sz="2000"/>
              <a:t>ChatGPT and other LLM platforms shine in strategic and creative domains capable of producing strategies, formulating plans, comprehending requirements, and crafting compelling narratives.</a:t>
            </a:r>
            <a:br>
              <a:rPr lang="en-US" sz="2000"/>
            </a:br>
            <a:endParaRPr lang="en-US" sz="2000"/>
          </a:p>
          <a:p>
            <a:r>
              <a:rPr lang="en-US" sz="2000"/>
              <a:t>Yet what they need to be transformative is</a:t>
            </a:r>
          </a:p>
          <a:p>
            <a:pPr lvl="1"/>
            <a:r>
              <a:rPr lang="en-US" sz="1800"/>
              <a:t>Capability to execute actions</a:t>
            </a:r>
          </a:p>
          <a:p>
            <a:pPr lvl="1"/>
            <a:r>
              <a:rPr lang="en-US" sz="1800"/>
              <a:t>Ability to verify and update based on actions taken from feedback.</a:t>
            </a:r>
          </a:p>
          <a:p>
            <a:pPr lvl="1"/>
            <a:r>
              <a:rPr lang="en-US" sz="1800"/>
              <a:t>Power to plan and adapt the plan when faced with challenges</a:t>
            </a:r>
          </a:p>
          <a:p>
            <a:pPr lvl="1"/>
            <a:r>
              <a:rPr lang="en-US" sz="1800"/>
              <a:t>Maintain consistency over the entire action sequence</a:t>
            </a:r>
          </a:p>
        </p:txBody>
      </p:sp>
      <p:pic>
        <p:nvPicPr>
          <p:cNvPr id="4" name="Picture 3">
            <a:extLst>
              <a:ext uri="{FF2B5EF4-FFF2-40B4-BE49-F238E27FC236}">
                <a16:creationId xmlns:a16="http://schemas.microsoft.com/office/drawing/2014/main" id="{081693F2-4896-2922-97EA-6E0F1A766BDC}"/>
              </a:ext>
            </a:extLst>
          </p:cNvPr>
          <p:cNvPicPr>
            <a:picLocks noChangeAspect="1"/>
          </p:cNvPicPr>
          <p:nvPr/>
        </p:nvPicPr>
        <p:blipFill>
          <a:blip r:embed="rId2"/>
          <a:srcRect r="3125"/>
          <a:stretch>
            <a:fillRect/>
          </a:stretch>
        </p:blipFill>
        <p:spPr>
          <a:xfrm>
            <a:off x="7690811" y="1585870"/>
            <a:ext cx="4117014" cy="4249821"/>
          </a:xfrm>
          <a:prstGeom prst="rect">
            <a:avLst/>
          </a:prstGeom>
        </p:spPr>
      </p:pic>
    </p:spTree>
    <p:extLst>
      <p:ext uri="{BB962C8B-B14F-4D97-AF65-F5344CB8AC3E}">
        <p14:creationId xmlns:p14="http://schemas.microsoft.com/office/powerpoint/2010/main" val="209582463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8E22E0-297D-7F09-78D2-F9D4BBBDB84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28E2FC5-E3D4-E72B-B55F-3BA98D455862}"/>
              </a:ext>
            </a:extLst>
          </p:cNvPr>
          <p:cNvSpPr>
            <a:spLocks noGrp="1"/>
          </p:cNvSpPr>
          <p:nvPr>
            <p:ph type="title"/>
          </p:nvPr>
        </p:nvSpPr>
        <p:spPr/>
        <p:txBody>
          <a:bodyPr/>
          <a:lstStyle/>
          <a:p>
            <a:r>
              <a:rPr lang="en-US"/>
              <a:t>An alignment problem</a:t>
            </a:r>
          </a:p>
        </p:txBody>
      </p:sp>
      <p:sp>
        <p:nvSpPr>
          <p:cNvPr id="3" name="Text Placeholder 2">
            <a:extLst>
              <a:ext uri="{FF2B5EF4-FFF2-40B4-BE49-F238E27FC236}">
                <a16:creationId xmlns:a16="http://schemas.microsoft.com/office/drawing/2014/main" id="{B62AA395-27A7-C9FB-C3BA-B6643FC6955C}"/>
              </a:ext>
            </a:extLst>
          </p:cNvPr>
          <p:cNvSpPr>
            <a:spLocks noGrp="1"/>
          </p:cNvSpPr>
          <p:nvPr>
            <p:ph type="body" sz="quarter" idx="10"/>
          </p:nvPr>
        </p:nvSpPr>
        <p:spPr>
          <a:xfrm>
            <a:off x="5254387" y="1231900"/>
            <a:ext cx="6724887" cy="4957763"/>
          </a:xfrm>
        </p:spPr>
        <p:txBody>
          <a:bodyPr/>
          <a:lstStyle/>
          <a:p>
            <a:r>
              <a:rPr lang="en-US"/>
              <a:t>What makes us uniquely human gives us fulfillment, moves progress and innovation namely though creativity, deep connections, critical thinking. </a:t>
            </a:r>
            <a:br>
              <a:rPr lang="en-US"/>
            </a:br>
            <a:endParaRPr lang="en-US"/>
          </a:p>
          <a:p>
            <a:r>
              <a:rPr lang="en-US"/>
              <a:t>Yet Generative AI is anthropomorphized through their remarkable creativity, ability to build deep connections, and to perform critical thinking.</a:t>
            </a:r>
            <a:br>
              <a:rPr lang="en-US"/>
            </a:br>
            <a:endParaRPr lang="en-US"/>
          </a:p>
          <a:p>
            <a:r>
              <a:rPr lang="en-US"/>
              <a:t>Meanwhile humans are performing data entry, follow-ups, verification, digital housekeeping and other mind-numbing tasks.</a:t>
            </a:r>
          </a:p>
        </p:txBody>
      </p:sp>
      <p:pic>
        <p:nvPicPr>
          <p:cNvPr id="4" name="Picture 3">
            <a:extLst>
              <a:ext uri="{FF2B5EF4-FFF2-40B4-BE49-F238E27FC236}">
                <a16:creationId xmlns:a16="http://schemas.microsoft.com/office/drawing/2014/main" id="{BE9E06A9-FC4C-2A3B-E49B-D4C8A09E60FA}"/>
              </a:ext>
            </a:extLst>
          </p:cNvPr>
          <p:cNvPicPr>
            <a:picLocks noChangeAspect="1"/>
          </p:cNvPicPr>
          <p:nvPr/>
        </p:nvPicPr>
        <p:blipFill>
          <a:blip r:embed="rId2"/>
          <a:stretch>
            <a:fillRect/>
          </a:stretch>
        </p:blipFill>
        <p:spPr>
          <a:xfrm>
            <a:off x="296624" y="1353947"/>
            <a:ext cx="4957763" cy="4957763"/>
          </a:xfrm>
          <a:prstGeom prst="rect">
            <a:avLst/>
          </a:prstGeom>
        </p:spPr>
      </p:pic>
    </p:spTree>
    <p:extLst>
      <p:ext uri="{BB962C8B-B14F-4D97-AF65-F5344CB8AC3E}">
        <p14:creationId xmlns:p14="http://schemas.microsoft.com/office/powerpoint/2010/main" val="297174746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B4359A-4A19-BFD3-8CEF-EAD05C0E913E}"/>
              </a:ext>
            </a:extLst>
          </p:cNvPr>
          <p:cNvSpPr>
            <a:spLocks noGrp="1"/>
          </p:cNvSpPr>
          <p:nvPr>
            <p:ph type="title"/>
          </p:nvPr>
        </p:nvSpPr>
        <p:spPr/>
        <p:txBody>
          <a:bodyPr/>
          <a:lstStyle/>
          <a:p>
            <a:r>
              <a:rPr lang="en-US"/>
              <a:t>Scenario 1:</a:t>
            </a:r>
          </a:p>
        </p:txBody>
      </p:sp>
      <p:sp>
        <p:nvSpPr>
          <p:cNvPr id="3" name="Text Placeholder 2">
            <a:extLst>
              <a:ext uri="{FF2B5EF4-FFF2-40B4-BE49-F238E27FC236}">
                <a16:creationId xmlns:a16="http://schemas.microsoft.com/office/drawing/2014/main" id="{97BC733B-B078-0B8C-962B-E1B547113FB7}"/>
              </a:ext>
            </a:extLst>
          </p:cNvPr>
          <p:cNvSpPr>
            <a:spLocks noGrp="1"/>
          </p:cNvSpPr>
          <p:nvPr>
            <p:ph type="body" sz="quarter" idx="10"/>
          </p:nvPr>
        </p:nvSpPr>
        <p:spPr/>
        <p:txBody>
          <a:bodyPr/>
          <a:lstStyle/>
          <a:p>
            <a:pPr marL="0" indent="0">
              <a:buNone/>
            </a:pPr>
            <a:r>
              <a:rPr lang="en-US" sz="1600"/>
              <a:t>Prompt: </a:t>
            </a:r>
          </a:p>
          <a:p>
            <a:pPr marL="0" indent="0">
              <a:buNone/>
            </a:pPr>
            <a:r>
              <a:rPr lang="en-US" sz="1600"/>
              <a:t>Generate Personalized investment profiles for our 100 high net worth clients.</a:t>
            </a:r>
          </a:p>
          <a:p>
            <a:pPr marL="0" indent="0">
              <a:buNone/>
            </a:pPr>
            <a:endParaRPr lang="en-US" sz="1600"/>
          </a:p>
          <a:p>
            <a:pPr marL="0" indent="0">
              <a:buNone/>
            </a:pPr>
            <a:r>
              <a:rPr lang="en-US" sz="1600"/>
              <a:t>Systems:</a:t>
            </a:r>
          </a:p>
          <a:p>
            <a:pPr marL="914392" lvl="1" indent="-457200">
              <a:buFont typeface="+mj-lt"/>
              <a:buAutoNum type="arabicPeriod"/>
            </a:pPr>
            <a:r>
              <a:rPr lang="en-US" sz="1400" b="1"/>
              <a:t>Risk Splitter</a:t>
            </a:r>
            <a:r>
              <a:rPr lang="en-US" sz="1400"/>
              <a:t>-&gt; Puts clients into Safe, Medium, Risky groups</a:t>
            </a:r>
          </a:p>
          <a:p>
            <a:pPr marL="914392" lvl="1" indent="-457200">
              <a:buFont typeface="+mj-lt"/>
              <a:buAutoNum type="arabicPeriod"/>
            </a:pPr>
            <a:r>
              <a:rPr lang="en-US" sz="1400" b="1"/>
              <a:t>Money Planner-</a:t>
            </a:r>
            <a:r>
              <a:rPr lang="en-US" sz="1400"/>
              <a:t>&gt; Decides percentage to invest in stocks, bonds, alternatives</a:t>
            </a:r>
          </a:p>
          <a:p>
            <a:pPr marL="914392" lvl="1" indent="-457200">
              <a:buFont typeface="+mj-lt"/>
              <a:buAutoNum type="arabicPeriod"/>
            </a:pPr>
            <a:r>
              <a:rPr lang="en-US" sz="1400" b="1"/>
              <a:t>Tax Saver </a:t>
            </a:r>
            <a:r>
              <a:rPr lang="en-US" sz="1400"/>
              <a:t>-&gt; Locks cash into special bonds to cut tax bill</a:t>
            </a:r>
          </a:p>
          <a:p>
            <a:pPr marL="914392" lvl="1" indent="-457200">
              <a:buFont typeface="+mj-lt"/>
              <a:buAutoNum type="arabicPeriod"/>
            </a:pPr>
            <a:r>
              <a:rPr lang="en-US" sz="1400" b="1"/>
              <a:t>Future Saver </a:t>
            </a:r>
            <a:r>
              <a:rPr lang="en-US" sz="1400"/>
              <a:t>-&gt; Picks long-term retirement products that tie money up.</a:t>
            </a:r>
          </a:p>
          <a:p>
            <a:pPr marL="457192" lvl="1" indent="0">
              <a:buNone/>
            </a:pPr>
            <a:endParaRPr lang="en-US" sz="1400"/>
          </a:p>
          <a:p>
            <a:pPr marL="0" indent="0">
              <a:buNone/>
            </a:pPr>
            <a:r>
              <a:rPr lang="en-US" sz="1600"/>
              <a:t>Gen AI Problems?</a:t>
            </a:r>
            <a:endParaRPr lang="en-US" sz="2800"/>
          </a:p>
          <a:p>
            <a:pPr marL="742942" lvl="1" indent="-342900">
              <a:buFont typeface="+mj-lt"/>
              <a:buAutoNum type="alphaLcParenR"/>
            </a:pPr>
            <a:r>
              <a:rPr lang="en-US" sz="1400"/>
              <a:t>Which two helpers both grab the same dollar? </a:t>
            </a:r>
          </a:p>
          <a:p>
            <a:pPr marL="742942" lvl="1" indent="-342900">
              <a:buFont typeface="+mj-lt"/>
              <a:buAutoNum type="alphaLcParenR"/>
            </a:pPr>
            <a:r>
              <a:rPr lang="en-US" sz="1400"/>
              <a:t>Who locks up the cash you still need today?</a:t>
            </a:r>
          </a:p>
          <a:p>
            <a:pPr marL="742942" lvl="1" indent="-342900">
              <a:buFont typeface="+mj-lt"/>
              <a:buAutoNum type="alphaLcParenR"/>
            </a:pPr>
            <a:r>
              <a:rPr lang="en-US" sz="1400"/>
              <a:t>That simple step never happens?</a:t>
            </a:r>
          </a:p>
          <a:p>
            <a:pPr marL="742942" lvl="1" indent="-342900">
              <a:buFont typeface="+mj-lt"/>
              <a:buAutoNum type="alphaLcParenR"/>
            </a:pPr>
            <a:r>
              <a:rPr lang="en-US" sz="1400"/>
              <a:t>Why does this system fall apart?</a:t>
            </a:r>
          </a:p>
        </p:txBody>
      </p:sp>
      <p:sp>
        <p:nvSpPr>
          <p:cNvPr id="4" name="Rounded Rectangle 3">
            <a:extLst>
              <a:ext uri="{FF2B5EF4-FFF2-40B4-BE49-F238E27FC236}">
                <a16:creationId xmlns:a16="http://schemas.microsoft.com/office/drawing/2014/main" id="{187FB288-C919-F627-BE11-648652F8C63A}"/>
              </a:ext>
            </a:extLst>
          </p:cNvPr>
          <p:cNvSpPr/>
          <p:nvPr/>
        </p:nvSpPr>
        <p:spPr>
          <a:xfrm rot="10800000">
            <a:off x="384048" y="6218528"/>
            <a:ext cx="9408221" cy="272415"/>
          </a:xfrm>
          <a:prstGeom prst="roundRect">
            <a:avLst/>
          </a:prstGeom>
          <a:ln/>
        </p:spPr>
        <p:style>
          <a:lnRef idx="2">
            <a:schemeClr val="dk1"/>
          </a:lnRef>
          <a:fillRef idx="1">
            <a:schemeClr val="lt1"/>
          </a:fillRef>
          <a:effectRef idx="0">
            <a:schemeClr val="dk1"/>
          </a:effectRef>
          <a:fontRef idx="minor">
            <a:schemeClr val="dk1"/>
          </a:fontRef>
        </p:style>
        <p:txBody>
          <a:bodyPr wrap="square" rtlCol="0" anchor="ctr">
            <a:spAutoFit/>
          </a:bodyPr>
          <a:lstStyle/>
          <a:p>
            <a:pPr algn="r"/>
            <a:r>
              <a:rPr lang="en-US" sz="1000"/>
              <a:t>D: The helpers have no orchestration, planning, feedback, or memory. C: Nobody checks all four plans together, B: Future Saver,  A: Tax Saver and Money Planner </a:t>
            </a:r>
          </a:p>
        </p:txBody>
      </p:sp>
    </p:spTree>
    <p:extLst>
      <p:ext uri="{BB962C8B-B14F-4D97-AF65-F5344CB8AC3E}">
        <p14:creationId xmlns:p14="http://schemas.microsoft.com/office/powerpoint/2010/main" val="414012248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B7B7C7-34B6-16B7-88C3-F93473566AB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2E1187C-5C4C-9E53-F829-CCC15FE455D3}"/>
              </a:ext>
            </a:extLst>
          </p:cNvPr>
          <p:cNvSpPr>
            <a:spLocks noGrp="1"/>
          </p:cNvSpPr>
          <p:nvPr>
            <p:ph type="title"/>
          </p:nvPr>
        </p:nvSpPr>
        <p:spPr/>
        <p:txBody>
          <a:bodyPr/>
          <a:lstStyle/>
          <a:p>
            <a:r>
              <a:rPr lang="en-US"/>
              <a:t>Scenario 2:</a:t>
            </a:r>
          </a:p>
        </p:txBody>
      </p:sp>
      <p:sp>
        <p:nvSpPr>
          <p:cNvPr id="3" name="Text Placeholder 2">
            <a:extLst>
              <a:ext uri="{FF2B5EF4-FFF2-40B4-BE49-F238E27FC236}">
                <a16:creationId xmlns:a16="http://schemas.microsoft.com/office/drawing/2014/main" id="{2670D226-18ED-2F5A-5D61-02DD4C3704FB}"/>
              </a:ext>
            </a:extLst>
          </p:cNvPr>
          <p:cNvSpPr>
            <a:spLocks noGrp="1"/>
          </p:cNvSpPr>
          <p:nvPr>
            <p:ph type="body" sz="quarter" idx="10"/>
          </p:nvPr>
        </p:nvSpPr>
        <p:spPr/>
        <p:txBody>
          <a:bodyPr/>
          <a:lstStyle/>
          <a:p>
            <a:pPr marL="0" indent="0">
              <a:buNone/>
            </a:pPr>
            <a:r>
              <a:rPr lang="en-US" sz="1600"/>
              <a:t>Prompt: </a:t>
            </a:r>
          </a:p>
          <a:p>
            <a:pPr marL="0" indent="0">
              <a:buNone/>
            </a:pPr>
            <a:r>
              <a:rPr lang="en-US" sz="1600"/>
              <a:t>Automate KYC for consumer-loan applicants by verifying identity documents, screening for politically exposed persons (PEP) and flagging suspicious account activity.</a:t>
            </a:r>
          </a:p>
          <a:p>
            <a:pPr marL="0" indent="0">
              <a:buNone/>
            </a:pPr>
            <a:endParaRPr lang="en-US" sz="1600"/>
          </a:p>
          <a:p>
            <a:pPr marL="0" indent="0">
              <a:buNone/>
            </a:pPr>
            <a:r>
              <a:rPr lang="en-US" sz="1600"/>
              <a:t>Systems:</a:t>
            </a:r>
          </a:p>
          <a:p>
            <a:pPr marL="914392" lvl="1" indent="-457200">
              <a:buFont typeface="+mj-lt"/>
              <a:buAutoNum type="arabicPeriod"/>
            </a:pPr>
            <a:r>
              <a:rPr lang="en-US" sz="1400" b="1"/>
              <a:t>ID Verifier</a:t>
            </a:r>
            <a:r>
              <a:rPr lang="en-US" sz="1400"/>
              <a:t>&gt; Puts clients into Safe, Medium, Risky groups</a:t>
            </a:r>
          </a:p>
          <a:p>
            <a:pPr marL="914392" lvl="1" indent="-457200">
              <a:buFont typeface="+mj-lt"/>
              <a:buAutoNum type="arabicPeriod"/>
            </a:pPr>
            <a:r>
              <a:rPr lang="en-US" sz="1400" b="1"/>
              <a:t>PEP Screener</a:t>
            </a:r>
            <a:r>
              <a:rPr lang="en-US" sz="1400"/>
              <a:t>&gt; Decides percentage to invest in stocks, bonds, alternatives</a:t>
            </a:r>
          </a:p>
          <a:p>
            <a:pPr marL="914392" lvl="1" indent="-457200">
              <a:buFont typeface="+mj-lt"/>
              <a:buAutoNum type="arabicPeriod"/>
            </a:pPr>
            <a:r>
              <a:rPr lang="en-US" sz="1400" b="1"/>
              <a:t>Transaction Monitor</a:t>
            </a:r>
            <a:r>
              <a:rPr lang="en-US" sz="1400"/>
              <a:t>-&gt; Locks cash into special bonds to cut tax bill</a:t>
            </a:r>
          </a:p>
          <a:p>
            <a:pPr marL="457192" lvl="1" indent="0">
              <a:buNone/>
            </a:pPr>
            <a:endParaRPr lang="en-US" sz="1400"/>
          </a:p>
          <a:p>
            <a:pPr marL="0" indent="0">
              <a:buNone/>
            </a:pPr>
            <a:r>
              <a:rPr lang="en-US" sz="1600"/>
              <a:t>True or False? </a:t>
            </a:r>
            <a:endParaRPr lang="en-US" sz="2800"/>
          </a:p>
          <a:p>
            <a:pPr marL="742942" lvl="1" indent="-342900">
              <a:buFont typeface="+mj-lt"/>
              <a:buAutoNum type="alphaLcParenR"/>
            </a:pPr>
            <a:r>
              <a:rPr lang="en-US" sz="1400"/>
              <a:t>The ID Verifier and PEP Screener share findings to ensure they have the same person? </a:t>
            </a:r>
          </a:p>
          <a:p>
            <a:pPr marL="742942" lvl="1" indent="-342900">
              <a:buFont typeface="+mj-lt"/>
              <a:buAutoNum type="alphaLcParenR"/>
            </a:pPr>
            <a:r>
              <a:rPr lang="en-US" sz="1400"/>
              <a:t>The Transaction Monitor will rerun if a PEP alarm is is triggered?</a:t>
            </a:r>
          </a:p>
          <a:p>
            <a:pPr marL="742942" lvl="1" indent="-342900">
              <a:buFont typeface="+mj-lt"/>
              <a:buAutoNum type="alphaLcParenR"/>
            </a:pPr>
            <a:r>
              <a:rPr lang="en-US" sz="1400"/>
              <a:t>A combined risk score is calculated with proven rule-based logic?</a:t>
            </a:r>
          </a:p>
          <a:p>
            <a:pPr marL="742942" lvl="1" indent="-342900">
              <a:buFont typeface="+mj-lt"/>
              <a:buAutoNum type="alphaLcParenR"/>
            </a:pPr>
            <a:r>
              <a:rPr lang="en-US" sz="1400"/>
              <a:t>All three systems feed into a single dashboard for the loan officer?</a:t>
            </a:r>
          </a:p>
        </p:txBody>
      </p:sp>
      <p:sp>
        <p:nvSpPr>
          <p:cNvPr id="4" name="Rounded Rectangle 3">
            <a:extLst>
              <a:ext uri="{FF2B5EF4-FFF2-40B4-BE49-F238E27FC236}">
                <a16:creationId xmlns:a16="http://schemas.microsoft.com/office/drawing/2014/main" id="{06272726-A25E-23ED-C5E7-A083820CCA72}"/>
              </a:ext>
            </a:extLst>
          </p:cNvPr>
          <p:cNvSpPr/>
          <p:nvPr/>
        </p:nvSpPr>
        <p:spPr>
          <a:xfrm rot="10800000">
            <a:off x="384048" y="6218528"/>
            <a:ext cx="9408221" cy="272415"/>
          </a:xfrm>
          <a:prstGeom prst="roundRect">
            <a:avLst/>
          </a:prstGeom>
          <a:ln/>
        </p:spPr>
        <p:style>
          <a:lnRef idx="2">
            <a:schemeClr val="dk1"/>
          </a:lnRef>
          <a:fillRef idx="1">
            <a:schemeClr val="lt1"/>
          </a:fillRef>
          <a:effectRef idx="0">
            <a:schemeClr val="dk1"/>
          </a:effectRef>
          <a:fontRef idx="minor">
            <a:schemeClr val="dk1"/>
          </a:fontRef>
        </p:style>
        <p:txBody>
          <a:bodyPr wrap="square" rtlCol="0" anchor="ctr">
            <a:spAutoFit/>
          </a:bodyPr>
          <a:lstStyle/>
          <a:p>
            <a:pPr algn="r"/>
            <a:r>
              <a:rPr lang="en-US" sz="1000"/>
              <a:t>D: False, Each delivers their own report. C: False, no unified risk-aggregation step, B: False, there is no feedback loop,  A: False, they run in separate silos.</a:t>
            </a:r>
          </a:p>
        </p:txBody>
      </p:sp>
    </p:spTree>
    <p:extLst>
      <p:ext uri="{BB962C8B-B14F-4D97-AF65-F5344CB8AC3E}">
        <p14:creationId xmlns:p14="http://schemas.microsoft.com/office/powerpoint/2010/main" val="250217675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405005-2FC3-CB6E-32FA-A2CC46109C0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E580BB8-E38B-8E94-7EBD-80BC17713130}"/>
              </a:ext>
            </a:extLst>
          </p:cNvPr>
          <p:cNvSpPr>
            <a:spLocks noGrp="1"/>
          </p:cNvSpPr>
          <p:nvPr>
            <p:ph type="title"/>
          </p:nvPr>
        </p:nvSpPr>
        <p:spPr>
          <a:xfrm>
            <a:off x="461215" y="1171244"/>
            <a:ext cx="9997440" cy="2380579"/>
          </a:xfrm>
        </p:spPr>
        <p:txBody>
          <a:bodyPr/>
          <a:lstStyle/>
          <a:p>
            <a:r>
              <a:rPr lang="en-US"/>
              <a:t>Intro To Agentic AI</a:t>
            </a:r>
          </a:p>
        </p:txBody>
      </p:sp>
      <p:sp>
        <p:nvSpPr>
          <p:cNvPr id="4" name="Text Placeholder 3">
            <a:extLst>
              <a:ext uri="{FF2B5EF4-FFF2-40B4-BE49-F238E27FC236}">
                <a16:creationId xmlns:a16="http://schemas.microsoft.com/office/drawing/2014/main" id="{9B73ABA1-BD8F-8B77-97DF-A0EAEFB05B1B}"/>
              </a:ext>
            </a:extLst>
          </p:cNvPr>
          <p:cNvSpPr>
            <a:spLocks noGrp="1"/>
          </p:cNvSpPr>
          <p:nvPr>
            <p:ph type="body" idx="1"/>
          </p:nvPr>
        </p:nvSpPr>
        <p:spPr>
          <a:xfrm>
            <a:off x="480721" y="3569057"/>
            <a:ext cx="9997440" cy="2444881"/>
          </a:xfrm>
        </p:spPr>
        <p:txBody>
          <a:bodyPr vert="horz" lIns="91440" tIns="45720" rIns="91440" bIns="45720" rtlCol="0" anchor="t">
            <a:noAutofit/>
          </a:bodyPr>
          <a:lstStyle/>
          <a:p>
            <a:endParaRPr lang="en-US" sz="2000"/>
          </a:p>
        </p:txBody>
      </p:sp>
    </p:spTree>
    <p:extLst>
      <p:ext uri="{BB962C8B-B14F-4D97-AF65-F5344CB8AC3E}">
        <p14:creationId xmlns:p14="http://schemas.microsoft.com/office/powerpoint/2010/main" val="381302577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A44739C-60DF-1C54-155C-F9692FFF7419}"/>
              </a:ext>
            </a:extLst>
          </p:cNvPr>
          <p:cNvSpPr>
            <a:spLocks noGrp="1"/>
          </p:cNvSpPr>
          <p:nvPr>
            <p:ph type="title"/>
          </p:nvPr>
        </p:nvSpPr>
        <p:spPr/>
        <p:txBody>
          <a:bodyPr/>
          <a:lstStyle/>
          <a:p>
            <a:r>
              <a:rPr lang="en-US"/>
              <a:t>What is an Agent?</a:t>
            </a:r>
          </a:p>
        </p:txBody>
      </p:sp>
      <p:sp>
        <p:nvSpPr>
          <p:cNvPr id="7" name="Text Placeholder 6">
            <a:extLst>
              <a:ext uri="{FF2B5EF4-FFF2-40B4-BE49-F238E27FC236}">
                <a16:creationId xmlns:a16="http://schemas.microsoft.com/office/drawing/2014/main" id="{0706F9FA-6E92-6189-99DC-896C96C694E6}"/>
              </a:ext>
            </a:extLst>
          </p:cNvPr>
          <p:cNvSpPr>
            <a:spLocks noGrp="1"/>
          </p:cNvSpPr>
          <p:nvPr>
            <p:ph type="body" sz="quarter" idx="10"/>
          </p:nvPr>
        </p:nvSpPr>
        <p:spPr/>
        <p:txBody>
          <a:bodyPr/>
          <a:lstStyle/>
          <a:p>
            <a:r>
              <a:rPr lang="en-US"/>
              <a:t>The word agent in our journey means assistant.</a:t>
            </a:r>
          </a:p>
          <a:p>
            <a:r>
              <a:rPr lang="en-US"/>
              <a:t>Agent in machine learning has a long history (</a:t>
            </a:r>
            <a:r>
              <a:rPr lang="en-US" err="1"/>
              <a:t>noteably</a:t>
            </a:r>
            <a:r>
              <a:rPr lang="en-US"/>
              <a:t> in reinforcement learning)	</a:t>
            </a:r>
          </a:p>
          <a:p>
            <a:r>
              <a:rPr lang="en-US"/>
              <a:t>Four main paradigms of agent – human, agent – agent interaction</a:t>
            </a:r>
          </a:p>
          <a:p>
            <a:pPr lvl="1"/>
            <a:r>
              <a:rPr lang="en-US"/>
              <a:t>Direct user interaction : direct interaction with LLM</a:t>
            </a:r>
          </a:p>
          <a:p>
            <a:pPr lvl="1"/>
            <a:r>
              <a:rPr lang="en-US"/>
              <a:t>Proxy Agent: leveraging multiple LLMs under the hood as proxy for better performance</a:t>
            </a:r>
          </a:p>
          <a:p>
            <a:pPr lvl="1"/>
            <a:r>
              <a:rPr lang="en-US"/>
              <a:t>Agent: A LLM that has plugins, functions, or tools that the service is aware of. Using externally facing tools might require authentication from the user</a:t>
            </a:r>
          </a:p>
          <a:p>
            <a:pPr lvl="1"/>
            <a:r>
              <a:rPr lang="en-US"/>
              <a:t>Autonomous agent: Agent interprets the users request and feedback but largely provide free rein to explore and learn.</a:t>
            </a:r>
          </a:p>
          <a:p>
            <a:r>
              <a:rPr lang="en-US"/>
              <a:t>Agents can be configured in infinite configurations with tools such as </a:t>
            </a:r>
            <a:r>
              <a:rPr lang="en-US" err="1"/>
              <a:t>AutoGen</a:t>
            </a:r>
            <a:r>
              <a:rPr lang="en-US"/>
              <a:t> or </a:t>
            </a:r>
            <a:r>
              <a:rPr lang="en-US" err="1"/>
              <a:t>CrewAI</a:t>
            </a:r>
            <a:endParaRPr lang="en-US"/>
          </a:p>
        </p:txBody>
      </p:sp>
    </p:spTree>
    <p:extLst>
      <p:ext uri="{BB962C8B-B14F-4D97-AF65-F5344CB8AC3E}">
        <p14:creationId xmlns:p14="http://schemas.microsoft.com/office/powerpoint/2010/main" val="331605639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4478D236-0062-0A59-63FF-6B370BC9952F}"/>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C98AB881-39B1-64D8-56E0-E46666AB2275}"/>
              </a:ext>
            </a:extLst>
          </p:cNvPr>
          <p:cNvSpPr>
            <a:spLocks noGrp="1"/>
          </p:cNvSpPr>
          <p:nvPr>
            <p:ph type="title"/>
          </p:nvPr>
        </p:nvSpPr>
        <p:spPr/>
        <p:txBody>
          <a:bodyPr/>
          <a:lstStyle/>
          <a:p>
            <a:r>
              <a:rPr lang="en-US"/>
              <a:t>A Common Thread</a:t>
            </a:r>
          </a:p>
        </p:txBody>
      </p:sp>
      <p:graphicFrame>
        <p:nvGraphicFramePr>
          <p:cNvPr id="5" name="Table 4">
            <a:extLst>
              <a:ext uri="{FF2B5EF4-FFF2-40B4-BE49-F238E27FC236}">
                <a16:creationId xmlns:a16="http://schemas.microsoft.com/office/drawing/2014/main" id="{3F9BFDCE-BEE4-682D-F40B-AE028EA3AA39}"/>
              </a:ext>
            </a:extLst>
          </p:cNvPr>
          <p:cNvGraphicFramePr>
            <a:graphicFrameLocks noGrp="1"/>
          </p:cNvGraphicFramePr>
          <p:nvPr>
            <p:extLst>
              <p:ext uri="{D42A27DB-BD31-4B8C-83A1-F6EECF244321}">
                <p14:modId xmlns:p14="http://schemas.microsoft.com/office/powerpoint/2010/main" val="813657504"/>
              </p:ext>
            </p:extLst>
          </p:nvPr>
        </p:nvGraphicFramePr>
        <p:xfrm>
          <a:off x="703032" y="1729846"/>
          <a:ext cx="5083406" cy="3398308"/>
        </p:xfrm>
        <a:graphic>
          <a:graphicData uri="http://schemas.openxmlformats.org/drawingml/2006/table">
            <a:tbl>
              <a:tblPr firstRow="1" bandRow="1">
                <a:tableStyleId>{5C22544A-7EE6-4342-B048-85BDC9FD1C3A}</a:tableStyleId>
              </a:tblPr>
              <a:tblGrid>
                <a:gridCol w="2541703">
                  <a:extLst>
                    <a:ext uri="{9D8B030D-6E8A-4147-A177-3AD203B41FA5}">
                      <a16:colId xmlns:a16="http://schemas.microsoft.com/office/drawing/2014/main" val="4281530141"/>
                    </a:ext>
                  </a:extLst>
                </a:gridCol>
                <a:gridCol w="2541703">
                  <a:extLst>
                    <a:ext uri="{9D8B030D-6E8A-4147-A177-3AD203B41FA5}">
                      <a16:colId xmlns:a16="http://schemas.microsoft.com/office/drawing/2014/main" val="3471166684"/>
                    </a:ext>
                  </a:extLst>
                </a:gridCol>
              </a:tblGrid>
              <a:tr h="849577">
                <a:tc>
                  <a:txBody>
                    <a:bodyPr/>
                    <a:lstStyle/>
                    <a:p>
                      <a:pPr algn="ctr"/>
                      <a:r>
                        <a:rPr lang="en-US" sz="2400" b="0" i="0" u="none" strike="noStrike" kern="1200">
                          <a:solidFill>
                            <a:schemeClr val="lt1"/>
                          </a:solidFill>
                          <a:effectLst/>
                          <a:latin typeface="+mn-lt"/>
                          <a:ea typeface="+mn-ea"/>
                          <a:cs typeface="+mn-cs"/>
                        </a:rPr>
                        <a:t>✅ Generative AI Can</a:t>
                      </a:r>
                      <a:endParaRPr lang="en-US" sz="2400"/>
                    </a:p>
                  </a:txBody>
                  <a:tcPr anchor="ctr"/>
                </a:tc>
                <a:tc>
                  <a:txBody>
                    <a:bodyPr/>
                    <a:lstStyle/>
                    <a:p>
                      <a:pPr algn="ctr"/>
                      <a:r>
                        <a:rPr lang="en-US" sz="2400" b="0" i="0" u="none" strike="noStrike" kern="1200">
                          <a:solidFill>
                            <a:schemeClr val="lt1"/>
                          </a:solidFill>
                          <a:effectLst/>
                          <a:latin typeface="+mn-lt"/>
                          <a:ea typeface="+mn-ea"/>
                          <a:cs typeface="+mn-cs"/>
                        </a:rPr>
                        <a:t>❌ Generative AI Can’t</a:t>
                      </a:r>
                      <a:endParaRPr lang="en-US" sz="2400"/>
                    </a:p>
                  </a:txBody>
                  <a:tcPr anchor="ctr"/>
                </a:tc>
                <a:extLst>
                  <a:ext uri="{0D108BD9-81ED-4DB2-BD59-A6C34878D82A}">
                    <a16:rowId xmlns:a16="http://schemas.microsoft.com/office/drawing/2014/main" val="1653662353"/>
                  </a:ext>
                </a:extLst>
              </a:tr>
              <a:tr h="849577">
                <a:tc>
                  <a:txBody>
                    <a:bodyPr/>
                    <a:lstStyle/>
                    <a:p>
                      <a:pPr algn="ctr"/>
                      <a:r>
                        <a:rPr lang="en-US" sz="2400" b="0" i="0" u="none" strike="noStrike" kern="1200">
                          <a:solidFill>
                            <a:schemeClr val="dk1"/>
                          </a:solidFill>
                          <a:effectLst/>
                          <a:latin typeface="+mn-lt"/>
                          <a:ea typeface="+mn-ea"/>
                          <a:cs typeface="+mn-cs"/>
                        </a:rPr>
                        <a:t>🔍 Analyze</a:t>
                      </a:r>
                      <a:endParaRPr lang="en-US" sz="2400"/>
                    </a:p>
                  </a:txBody>
                  <a:tcPr anchor="ctr"/>
                </a:tc>
                <a:tc>
                  <a:txBody>
                    <a:bodyPr/>
                    <a:lstStyle/>
                    <a:p>
                      <a:pPr algn="ctr"/>
                      <a:r>
                        <a:rPr lang="en-US" sz="2400" b="0" i="0" u="none" strike="noStrike" kern="1200">
                          <a:solidFill>
                            <a:schemeClr val="dk1"/>
                          </a:solidFill>
                          <a:effectLst/>
                          <a:latin typeface="+mn-lt"/>
                          <a:ea typeface="+mn-ea"/>
                          <a:cs typeface="+mn-cs"/>
                        </a:rPr>
                        <a:t>▶️ Execute</a:t>
                      </a:r>
                      <a:endParaRPr lang="en-US" sz="2400"/>
                    </a:p>
                  </a:txBody>
                  <a:tcPr anchor="ctr"/>
                </a:tc>
                <a:extLst>
                  <a:ext uri="{0D108BD9-81ED-4DB2-BD59-A6C34878D82A}">
                    <a16:rowId xmlns:a16="http://schemas.microsoft.com/office/drawing/2014/main" val="1810497245"/>
                  </a:ext>
                </a:extLst>
              </a:tr>
              <a:tr h="849577">
                <a:tc>
                  <a:txBody>
                    <a:bodyPr/>
                    <a:lstStyle/>
                    <a:p>
                      <a:pPr algn="ctr"/>
                      <a:r>
                        <a:rPr lang="en-US" sz="2400" b="0" i="0" u="none" strike="noStrike" kern="1200">
                          <a:solidFill>
                            <a:schemeClr val="dk1"/>
                          </a:solidFill>
                          <a:effectLst/>
                          <a:latin typeface="+mn-lt"/>
                          <a:ea typeface="+mn-ea"/>
                          <a:cs typeface="+mn-cs"/>
                        </a:rPr>
                        <a:t>💡 Recommend</a:t>
                      </a:r>
                      <a:endParaRPr lang="en-US" sz="2400"/>
                    </a:p>
                  </a:txBody>
                  <a:tcPr anchor="ctr"/>
                </a:tc>
                <a:tc>
                  <a:txBody>
                    <a:bodyPr/>
                    <a:lstStyle/>
                    <a:p>
                      <a:pPr algn="ctr"/>
                      <a:r>
                        <a:rPr lang="en-US" sz="2400" b="0" i="0" u="none" strike="noStrike" kern="1200">
                          <a:solidFill>
                            <a:schemeClr val="dk1"/>
                          </a:solidFill>
                          <a:effectLst/>
                          <a:latin typeface="+mn-lt"/>
                          <a:ea typeface="+mn-ea"/>
                          <a:cs typeface="+mn-cs"/>
                        </a:rPr>
                        <a:t>🌱 Adapt</a:t>
                      </a:r>
                      <a:endParaRPr lang="en-US" sz="2400"/>
                    </a:p>
                  </a:txBody>
                  <a:tcPr anchor="ctr"/>
                </a:tc>
                <a:extLst>
                  <a:ext uri="{0D108BD9-81ED-4DB2-BD59-A6C34878D82A}">
                    <a16:rowId xmlns:a16="http://schemas.microsoft.com/office/drawing/2014/main" val="4193031231"/>
                  </a:ext>
                </a:extLst>
              </a:tr>
              <a:tr h="849577">
                <a:tc>
                  <a:txBody>
                    <a:bodyPr/>
                    <a:lstStyle/>
                    <a:p>
                      <a:pPr algn="ctr"/>
                      <a:r>
                        <a:rPr lang="en-US" sz="2400" b="0" i="0" u="none" strike="noStrike" kern="1200">
                          <a:solidFill>
                            <a:schemeClr val="dk1"/>
                          </a:solidFill>
                          <a:effectLst/>
                          <a:latin typeface="+mn-lt"/>
                          <a:ea typeface="+mn-ea"/>
                          <a:cs typeface="+mn-cs"/>
                        </a:rPr>
                        <a:t>🔮 Predict</a:t>
                      </a:r>
                      <a:endParaRPr lang="en-US" sz="2400"/>
                    </a:p>
                  </a:txBody>
                  <a:tcPr anchor="ctr"/>
                </a:tc>
                <a:tc>
                  <a:txBody>
                    <a:bodyPr/>
                    <a:lstStyle/>
                    <a:p>
                      <a:pPr marL="0" marR="0" lvl="0" indent="0" algn="ctr" defTabSz="457192" rtl="0" eaLnBrk="1" fontAlgn="auto" latinLnBrk="0" hangingPunct="1">
                        <a:lnSpc>
                          <a:spcPct val="100000"/>
                        </a:lnSpc>
                        <a:spcBef>
                          <a:spcPts val="0"/>
                        </a:spcBef>
                        <a:spcAft>
                          <a:spcPts val="0"/>
                        </a:spcAft>
                        <a:buClrTx/>
                        <a:buSzTx/>
                        <a:buFontTx/>
                        <a:buNone/>
                        <a:tabLst/>
                        <a:defRPr/>
                      </a:pPr>
                      <a:r>
                        <a:rPr lang="en-US" sz="2400" b="0" i="0" u="none" strike="noStrike" kern="1200">
                          <a:solidFill>
                            <a:schemeClr val="dk1"/>
                          </a:solidFill>
                          <a:effectLst/>
                          <a:latin typeface="+mn-lt"/>
                          <a:ea typeface="+mn-ea"/>
                          <a:cs typeface="+mn-cs"/>
                        </a:rPr>
                        <a:t>🤝Coordinate</a:t>
                      </a:r>
                      <a:endParaRPr lang="en-US" sz="2400"/>
                    </a:p>
                  </a:txBody>
                  <a:tcPr anchor="ctr"/>
                </a:tc>
                <a:extLst>
                  <a:ext uri="{0D108BD9-81ED-4DB2-BD59-A6C34878D82A}">
                    <a16:rowId xmlns:a16="http://schemas.microsoft.com/office/drawing/2014/main" val="4277335094"/>
                  </a:ext>
                </a:extLst>
              </a:tr>
            </a:tbl>
          </a:graphicData>
        </a:graphic>
      </p:graphicFrame>
      <p:cxnSp>
        <p:nvCxnSpPr>
          <p:cNvPr id="9" name="Straight Arrow Connector 8">
            <a:extLst>
              <a:ext uri="{FF2B5EF4-FFF2-40B4-BE49-F238E27FC236}">
                <a16:creationId xmlns:a16="http://schemas.microsoft.com/office/drawing/2014/main" id="{31AD623A-F5A4-CEF1-F0F1-1A42E4144A71}"/>
              </a:ext>
            </a:extLst>
          </p:cNvPr>
          <p:cNvCxnSpPr/>
          <p:nvPr/>
        </p:nvCxnSpPr>
        <p:spPr>
          <a:xfrm>
            <a:off x="5786434" y="3012982"/>
            <a:ext cx="1971675" cy="0"/>
          </a:xfrm>
          <a:prstGeom prst="straightConnector1">
            <a:avLst/>
          </a:prstGeom>
          <a:ln>
            <a:tailEnd type="triangle"/>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cxnSp>
        <p:nvCxnSpPr>
          <p:cNvPr id="10" name="Straight Arrow Connector 9">
            <a:extLst>
              <a:ext uri="{FF2B5EF4-FFF2-40B4-BE49-F238E27FC236}">
                <a16:creationId xmlns:a16="http://schemas.microsoft.com/office/drawing/2014/main" id="{300E7781-6ECB-BC6D-A13D-F3B921B6B924}"/>
              </a:ext>
            </a:extLst>
          </p:cNvPr>
          <p:cNvCxnSpPr/>
          <p:nvPr/>
        </p:nvCxnSpPr>
        <p:spPr>
          <a:xfrm>
            <a:off x="5786436" y="3878077"/>
            <a:ext cx="1971675" cy="0"/>
          </a:xfrm>
          <a:prstGeom prst="straightConnector1">
            <a:avLst/>
          </a:prstGeom>
          <a:ln>
            <a:tailEnd type="triangle"/>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cxnSp>
        <p:nvCxnSpPr>
          <p:cNvPr id="11" name="Straight Arrow Connector 10">
            <a:extLst>
              <a:ext uri="{FF2B5EF4-FFF2-40B4-BE49-F238E27FC236}">
                <a16:creationId xmlns:a16="http://schemas.microsoft.com/office/drawing/2014/main" id="{00268D77-C89E-A8E6-2571-CE1A7DE112C8}"/>
              </a:ext>
            </a:extLst>
          </p:cNvPr>
          <p:cNvCxnSpPr/>
          <p:nvPr/>
        </p:nvCxnSpPr>
        <p:spPr>
          <a:xfrm>
            <a:off x="5786435" y="4716837"/>
            <a:ext cx="1971675" cy="0"/>
          </a:xfrm>
          <a:prstGeom prst="straightConnector1">
            <a:avLst/>
          </a:prstGeom>
          <a:ln>
            <a:tailEnd type="triangle"/>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sp>
        <p:nvSpPr>
          <p:cNvPr id="12" name="TextBox 11">
            <a:extLst>
              <a:ext uri="{FF2B5EF4-FFF2-40B4-BE49-F238E27FC236}">
                <a16:creationId xmlns:a16="http://schemas.microsoft.com/office/drawing/2014/main" id="{1250A016-F213-75C2-9F75-3EB2B80F0F57}"/>
              </a:ext>
            </a:extLst>
          </p:cNvPr>
          <p:cNvSpPr txBox="1"/>
          <p:nvPr/>
        </p:nvSpPr>
        <p:spPr>
          <a:xfrm>
            <a:off x="7773787" y="2704596"/>
            <a:ext cx="1697901" cy="369332"/>
          </a:xfrm>
          <a:prstGeom prst="rect">
            <a:avLst/>
          </a:prstGeom>
          <a:noFill/>
        </p:spPr>
        <p:txBody>
          <a:bodyPr wrap="none" rtlCol="0">
            <a:spAutoFit/>
          </a:bodyPr>
          <a:lstStyle/>
          <a:p>
            <a:r>
              <a:rPr lang="en-US"/>
              <a:t>Execution Gap</a:t>
            </a:r>
          </a:p>
        </p:txBody>
      </p:sp>
      <p:sp>
        <p:nvSpPr>
          <p:cNvPr id="13" name="TextBox 12">
            <a:extLst>
              <a:ext uri="{FF2B5EF4-FFF2-40B4-BE49-F238E27FC236}">
                <a16:creationId xmlns:a16="http://schemas.microsoft.com/office/drawing/2014/main" id="{2983F99E-87B6-0AA9-EA61-496E6CEDF1F5}"/>
              </a:ext>
            </a:extLst>
          </p:cNvPr>
          <p:cNvSpPr txBox="1"/>
          <p:nvPr/>
        </p:nvSpPr>
        <p:spPr>
          <a:xfrm>
            <a:off x="7773786" y="3569691"/>
            <a:ext cx="1582484" cy="369332"/>
          </a:xfrm>
          <a:prstGeom prst="rect">
            <a:avLst/>
          </a:prstGeom>
          <a:noFill/>
        </p:spPr>
        <p:txBody>
          <a:bodyPr wrap="none" rtlCol="0">
            <a:spAutoFit/>
          </a:bodyPr>
          <a:lstStyle/>
          <a:p>
            <a:r>
              <a:rPr lang="en-US"/>
              <a:t>Learning Gap</a:t>
            </a:r>
          </a:p>
        </p:txBody>
      </p:sp>
      <p:sp>
        <p:nvSpPr>
          <p:cNvPr id="14" name="TextBox 13">
            <a:extLst>
              <a:ext uri="{FF2B5EF4-FFF2-40B4-BE49-F238E27FC236}">
                <a16:creationId xmlns:a16="http://schemas.microsoft.com/office/drawing/2014/main" id="{561B6CAC-561C-87CA-A9FA-EF6AF2679378}"/>
              </a:ext>
            </a:extLst>
          </p:cNvPr>
          <p:cNvSpPr txBox="1"/>
          <p:nvPr/>
        </p:nvSpPr>
        <p:spPr>
          <a:xfrm>
            <a:off x="7773786" y="4408451"/>
            <a:ext cx="1992853" cy="369332"/>
          </a:xfrm>
          <a:prstGeom prst="rect">
            <a:avLst/>
          </a:prstGeom>
          <a:noFill/>
        </p:spPr>
        <p:txBody>
          <a:bodyPr wrap="none" rtlCol="0">
            <a:spAutoFit/>
          </a:bodyPr>
          <a:lstStyle/>
          <a:p>
            <a:r>
              <a:rPr lang="en-US"/>
              <a:t>Coordination Gap</a:t>
            </a:r>
          </a:p>
        </p:txBody>
      </p:sp>
      <p:sp>
        <p:nvSpPr>
          <p:cNvPr id="15" name="TextBox 14">
            <a:extLst>
              <a:ext uri="{FF2B5EF4-FFF2-40B4-BE49-F238E27FC236}">
                <a16:creationId xmlns:a16="http://schemas.microsoft.com/office/drawing/2014/main" id="{5ED87BB9-5225-0AD4-85F2-FC45658B918B}"/>
              </a:ext>
            </a:extLst>
          </p:cNvPr>
          <p:cNvSpPr txBox="1"/>
          <p:nvPr/>
        </p:nvSpPr>
        <p:spPr>
          <a:xfrm>
            <a:off x="7758109" y="3012982"/>
            <a:ext cx="4306133" cy="600164"/>
          </a:xfrm>
          <a:prstGeom prst="rect">
            <a:avLst/>
          </a:prstGeom>
          <a:noFill/>
        </p:spPr>
        <p:txBody>
          <a:bodyPr wrap="square" rtlCol="0">
            <a:spAutoFit/>
          </a:bodyPr>
          <a:lstStyle/>
          <a:p>
            <a:r>
              <a:rPr lang="en-US" sz="1100"/>
              <a:t>Our systems can plan perfectly but cannot take real world actions to implement.</a:t>
            </a:r>
          </a:p>
          <a:p>
            <a:endParaRPr lang="en-US" sz="1100"/>
          </a:p>
        </p:txBody>
      </p:sp>
      <p:sp>
        <p:nvSpPr>
          <p:cNvPr id="16" name="TextBox 15">
            <a:extLst>
              <a:ext uri="{FF2B5EF4-FFF2-40B4-BE49-F238E27FC236}">
                <a16:creationId xmlns:a16="http://schemas.microsoft.com/office/drawing/2014/main" id="{147D4EF0-EC00-5CCC-2A3F-2F4D2ACB0EFC}"/>
              </a:ext>
            </a:extLst>
          </p:cNvPr>
          <p:cNvSpPr txBox="1"/>
          <p:nvPr/>
        </p:nvSpPr>
        <p:spPr>
          <a:xfrm>
            <a:off x="7758109" y="3858713"/>
            <a:ext cx="4306133" cy="600164"/>
          </a:xfrm>
          <a:prstGeom prst="rect">
            <a:avLst/>
          </a:prstGeom>
          <a:noFill/>
        </p:spPr>
        <p:txBody>
          <a:bodyPr wrap="square" rtlCol="0">
            <a:spAutoFit/>
          </a:bodyPr>
          <a:lstStyle/>
          <a:p>
            <a:r>
              <a:rPr lang="en-US" sz="1100"/>
              <a:t>The AI systems cannot build reliable knowledge over time or adapt based on experiences. Often generated analysis contradicts each other.</a:t>
            </a:r>
          </a:p>
        </p:txBody>
      </p:sp>
      <p:sp>
        <p:nvSpPr>
          <p:cNvPr id="17" name="TextBox 16">
            <a:extLst>
              <a:ext uri="{FF2B5EF4-FFF2-40B4-BE49-F238E27FC236}">
                <a16:creationId xmlns:a16="http://schemas.microsoft.com/office/drawing/2014/main" id="{1AD42B99-3773-A57B-D8BF-BE608987E70E}"/>
              </a:ext>
            </a:extLst>
          </p:cNvPr>
          <p:cNvSpPr txBox="1"/>
          <p:nvPr/>
        </p:nvSpPr>
        <p:spPr>
          <a:xfrm>
            <a:off x="7758109" y="4719325"/>
            <a:ext cx="4306133" cy="430887"/>
          </a:xfrm>
          <a:prstGeom prst="rect">
            <a:avLst/>
          </a:prstGeom>
          <a:noFill/>
        </p:spPr>
        <p:txBody>
          <a:bodyPr wrap="square" rtlCol="0">
            <a:spAutoFit/>
          </a:bodyPr>
          <a:lstStyle/>
          <a:p>
            <a:r>
              <a:rPr lang="en-US" sz="1100"/>
              <a:t>Our systems are often isolated and cannot work together effectively.</a:t>
            </a:r>
          </a:p>
        </p:txBody>
      </p:sp>
    </p:spTree>
    <p:extLst>
      <p:ext uri="{BB962C8B-B14F-4D97-AF65-F5344CB8AC3E}">
        <p14:creationId xmlns:p14="http://schemas.microsoft.com/office/powerpoint/2010/main" val="10768113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dissolve">
                                      <p:cBhvr>
                                        <p:cTn id="7" dur="500"/>
                                        <p:tgtEl>
                                          <p:spTgt spid="9"/>
                                        </p:tgtEl>
                                      </p:cBhvr>
                                    </p:animEffect>
                                  </p:childTnLst>
                                </p:cTn>
                              </p:par>
                              <p:par>
                                <p:cTn id="8" presetID="9"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dissolve">
                                      <p:cBhvr>
                                        <p:cTn id="10" dur="500"/>
                                        <p:tgtEl>
                                          <p:spTgt spid="12"/>
                                        </p:tgtEl>
                                      </p:cBhvr>
                                    </p:animEffec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9" presetClass="entr" presetSubtype="0" fill="hold" nodeType="clickEffect">
                                  <p:stCondLst>
                                    <p:cond delay="0"/>
                                  </p:stCondLst>
                                  <p:childTnLst>
                                    <p:set>
                                      <p:cBhvr>
                                        <p:cTn id="18" dur="1" fill="hold">
                                          <p:stCondLst>
                                            <p:cond delay="0"/>
                                          </p:stCondLst>
                                        </p:cTn>
                                        <p:tgtEl>
                                          <p:spTgt spid="10"/>
                                        </p:tgtEl>
                                        <p:attrNameLst>
                                          <p:attrName>style.visibility</p:attrName>
                                        </p:attrNameLst>
                                      </p:cBhvr>
                                      <p:to>
                                        <p:strVal val="visible"/>
                                      </p:to>
                                    </p:set>
                                    <p:animEffect transition="in" filter="dissolve">
                                      <p:cBhvr>
                                        <p:cTn id="19" dur="500"/>
                                        <p:tgtEl>
                                          <p:spTgt spid="10"/>
                                        </p:tgtEl>
                                      </p:cBhvr>
                                    </p:animEffect>
                                  </p:childTnLst>
                                </p:cTn>
                              </p:par>
                              <p:par>
                                <p:cTn id="20" presetID="9" presetClass="entr" presetSubtype="0" fill="hold" grpId="0" nodeType="with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dissolve">
                                      <p:cBhvr>
                                        <p:cTn id="22" dur="500"/>
                                        <p:tgtEl>
                                          <p:spTgt spid="13"/>
                                        </p:tgtEl>
                                      </p:cBhvr>
                                    </p:animEffec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6"/>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9" presetClass="entr" presetSubtype="0" fill="hold" nodeType="click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dissolve">
                                      <p:cBhvr>
                                        <p:cTn id="31" dur="500"/>
                                        <p:tgtEl>
                                          <p:spTgt spid="11"/>
                                        </p:tgtEl>
                                      </p:cBhvr>
                                    </p:animEffect>
                                  </p:childTnLst>
                                </p:cTn>
                              </p:par>
                              <p:par>
                                <p:cTn id="32" presetID="9" presetClass="entr" presetSubtype="0" fill="hold" grpId="0" nodeType="with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dissolve">
                                      <p:cBhvr>
                                        <p:cTn id="34" dur="500"/>
                                        <p:tgtEl>
                                          <p:spTgt spid="14"/>
                                        </p:tgtEl>
                                      </p:cBhvr>
                                    </p:animEffec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p:bldP spid="14" grpId="0"/>
      <p:bldP spid="15" grpId="0"/>
      <p:bldP spid="16" grpId="0"/>
      <p:bldP spid="17" grpId="0"/>
    </p:bldLst>
  </p:timing>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F30AA91-E58E-4C5B-D450-C91BA85E616A}"/>
              </a:ext>
            </a:extLst>
          </p:cNvPr>
          <p:cNvSpPr>
            <a:spLocks noGrp="1"/>
          </p:cNvSpPr>
          <p:nvPr>
            <p:ph type="title"/>
          </p:nvPr>
        </p:nvSpPr>
        <p:spPr/>
        <p:txBody>
          <a:bodyPr/>
          <a:lstStyle/>
          <a:p>
            <a:r>
              <a:rPr lang="en-US"/>
              <a:t>Agentic AI: A Story of Revolution</a:t>
            </a:r>
          </a:p>
        </p:txBody>
      </p:sp>
      <p:sp>
        <p:nvSpPr>
          <p:cNvPr id="5" name="Content Placeholder 4">
            <a:extLst>
              <a:ext uri="{FF2B5EF4-FFF2-40B4-BE49-F238E27FC236}">
                <a16:creationId xmlns:a16="http://schemas.microsoft.com/office/drawing/2014/main" id="{F38CE38D-4285-DEDC-A12F-DB6DDAD8C261}"/>
              </a:ext>
            </a:extLst>
          </p:cNvPr>
          <p:cNvSpPr>
            <a:spLocks noGrp="1"/>
          </p:cNvSpPr>
          <p:nvPr>
            <p:ph sz="quarter" idx="10"/>
          </p:nvPr>
        </p:nvSpPr>
        <p:spPr>
          <a:xfrm>
            <a:off x="381002" y="1371601"/>
            <a:ext cx="7523284" cy="4940300"/>
          </a:xfrm>
        </p:spPr>
        <p:txBody>
          <a:bodyPr/>
          <a:lstStyle/>
          <a:p>
            <a:r>
              <a:rPr lang="en-US" sz="1800" b="1">
                <a:latin typeface="Arial" panose="020B0604020202020204" pitchFamily="34" charset="0"/>
                <a:cs typeface="Arial" panose="020B0604020202020204" pitchFamily="34" charset="0"/>
              </a:rPr>
              <a:t>Imagine the 15th Century:</a:t>
            </a:r>
            <a:r>
              <a:rPr lang="en-US" sz="1800">
                <a:latin typeface="Arial" panose="020B0604020202020204" pitchFamily="34" charset="0"/>
                <a:cs typeface="Arial" panose="020B0604020202020204" pitchFamily="34" charset="0"/>
              </a:rPr>
              <a:t> Gutenberg's printing press appears. Was it just a faster way to copy books? No. It was the spark of an </a:t>
            </a:r>
            <a:r>
              <a:rPr lang="en-US" sz="1800" i="1">
                <a:latin typeface="Arial" panose="020B0604020202020204" pitchFamily="34" charset="0"/>
                <a:cs typeface="Arial" panose="020B0604020202020204" pitchFamily="34" charset="0"/>
              </a:rPr>
              <a:t>information revolution</a:t>
            </a:r>
            <a:r>
              <a:rPr lang="en-US" sz="1800">
                <a:latin typeface="Arial" panose="020B0604020202020204" pitchFamily="34" charset="0"/>
                <a:cs typeface="Arial" panose="020B0604020202020204" pitchFamily="34" charset="0"/>
              </a:rPr>
              <a:t> that redrew the map of human knowledge and society.</a:t>
            </a:r>
            <a:br>
              <a:rPr lang="en-US" sz="1800">
                <a:latin typeface="Arial" panose="020B0604020202020204" pitchFamily="34" charset="0"/>
                <a:cs typeface="Arial" panose="020B0604020202020204" pitchFamily="34" charset="0"/>
              </a:rPr>
            </a:br>
            <a:endParaRPr lang="en-US" sz="1800">
              <a:latin typeface="Arial" panose="020B0604020202020204" pitchFamily="34" charset="0"/>
              <a:cs typeface="Arial" panose="020B0604020202020204" pitchFamily="34" charset="0"/>
            </a:endParaRPr>
          </a:p>
          <a:p>
            <a:r>
              <a:rPr lang="en-US" sz="1800" b="1">
                <a:latin typeface="Arial" panose="020B0604020202020204" pitchFamily="34" charset="0"/>
                <a:cs typeface="Arial" panose="020B0604020202020204" pitchFamily="34" charset="0"/>
              </a:rPr>
              <a:t>Now, Imagine Today:</a:t>
            </a:r>
            <a:r>
              <a:rPr lang="en-US" sz="1800">
                <a:latin typeface="Arial" panose="020B0604020202020204" pitchFamily="34" charset="0"/>
                <a:cs typeface="Arial" panose="020B0604020202020204" pitchFamily="34" charset="0"/>
              </a:rPr>
              <a:t> We see AI that's not just answering questions, but </a:t>
            </a:r>
            <a:r>
              <a:rPr lang="en-US" sz="1800" i="1">
                <a:latin typeface="Arial" panose="020B0604020202020204" pitchFamily="34" charset="0"/>
                <a:cs typeface="Arial" panose="020B0604020202020204" pitchFamily="34" charset="0"/>
              </a:rPr>
              <a:t>acting</a:t>
            </a:r>
            <a:r>
              <a:rPr lang="en-US" sz="1800">
                <a:latin typeface="Arial" panose="020B0604020202020204" pitchFamily="34" charset="0"/>
                <a:cs typeface="Arial" panose="020B0604020202020204" pitchFamily="34" charset="0"/>
              </a:rPr>
              <a:t>. AI with persistent goals, that can plan, reason, and use tools autonomously. This isn't just a smarter chatbot. This is </a:t>
            </a:r>
            <a:r>
              <a:rPr lang="en-US" sz="1800" b="1">
                <a:latin typeface="Arial" panose="020B0604020202020204" pitchFamily="34" charset="0"/>
                <a:cs typeface="Arial" panose="020B0604020202020204" pitchFamily="34" charset="0"/>
              </a:rPr>
              <a:t>Agentic AI</a:t>
            </a:r>
            <a:r>
              <a:rPr lang="en-US" sz="1800">
                <a:latin typeface="Arial" panose="020B0604020202020204" pitchFamily="34" charset="0"/>
                <a:cs typeface="Arial" panose="020B0604020202020204" pitchFamily="34" charset="0"/>
              </a:rPr>
              <a:t>.</a:t>
            </a:r>
            <a:br>
              <a:rPr lang="en-US" sz="1800">
                <a:latin typeface="Arial" panose="020B0604020202020204" pitchFamily="34" charset="0"/>
                <a:cs typeface="Arial" panose="020B0604020202020204" pitchFamily="34" charset="0"/>
              </a:rPr>
            </a:br>
            <a:endParaRPr lang="en-US" sz="1800">
              <a:latin typeface="Arial" panose="020B0604020202020204" pitchFamily="34" charset="0"/>
              <a:cs typeface="Arial" panose="020B0604020202020204" pitchFamily="34" charset="0"/>
            </a:endParaRPr>
          </a:p>
          <a:p>
            <a:r>
              <a:rPr lang="en-US" sz="1800" b="1">
                <a:latin typeface="Arial" panose="020B0604020202020204" pitchFamily="34" charset="0"/>
                <a:cs typeface="Arial" panose="020B0604020202020204" pitchFamily="34" charset="0"/>
              </a:rPr>
              <a:t>The Turning Point:</a:t>
            </a:r>
            <a:endParaRPr lang="en-US" sz="1800">
              <a:latin typeface="Arial" panose="020B0604020202020204" pitchFamily="34" charset="0"/>
              <a:cs typeface="Arial" panose="020B0604020202020204" pitchFamily="34" charset="0"/>
            </a:endParaRPr>
          </a:p>
          <a:p>
            <a:pPr lvl="1"/>
            <a:r>
              <a:rPr lang="en-US" sz="1600">
                <a:latin typeface="Arial" panose="020B0604020202020204" pitchFamily="34" charset="0"/>
                <a:cs typeface="Arial" panose="020B0604020202020204" pitchFamily="34" charset="0"/>
              </a:rPr>
              <a:t>Like the printing press, Agentic AI isn't an upgrade; it's a </a:t>
            </a:r>
            <a:r>
              <a:rPr lang="en-US" sz="1600" i="1">
                <a:latin typeface="Arial" panose="020B0604020202020204" pitchFamily="34" charset="0"/>
                <a:cs typeface="Arial" panose="020B0604020202020204" pitchFamily="34" charset="0"/>
              </a:rPr>
              <a:t>fundamental shift</a:t>
            </a:r>
            <a:r>
              <a:rPr lang="en-US" sz="1600">
                <a:latin typeface="Arial" panose="020B0604020202020204" pitchFamily="34" charset="0"/>
                <a:cs typeface="Arial" panose="020B0604020202020204" pitchFamily="34" charset="0"/>
              </a:rPr>
              <a:t>.</a:t>
            </a:r>
          </a:p>
          <a:p>
            <a:pPr lvl="1"/>
            <a:r>
              <a:rPr lang="en-US" sz="1600">
                <a:latin typeface="Arial" panose="020B0604020202020204" pitchFamily="34" charset="0"/>
                <a:cs typeface="Arial" panose="020B0604020202020204" pitchFamily="34" charset="0"/>
              </a:rPr>
              <a:t>Picture this: It's poised to revolutionize </a:t>
            </a:r>
            <a:r>
              <a:rPr lang="en-US" sz="1600" i="1">
                <a:latin typeface="Arial" panose="020B0604020202020204" pitchFamily="34" charset="0"/>
                <a:cs typeface="Arial" panose="020B0604020202020204" pitchFamily="34" charset="0"/>
              </a:rPr>
              <a:t>everything</a:t>
            </a:r>
            <a:r>
              <a:rPr lang="en-US" sz="1600">
                <a:latin typeface="Arial" panose="020B0604020202020204" pitchFamily="34" charset="0"/>
                <a:cs typeface="Arial" panose="020B0604020202020204" pitchFamily="34" charset="0"/>
              </a:rPr>
              <a:t>, especially how software is built and what it can </a:t>
            </a:r>
            <a:r>
              <a:rPr lang="en-US" sz="1600" i="1">
                <a:latin typeface="Arial" panose="020B0604020202020204" pitchFamily="34" charset="0"/>
                <a:cs typeface="Arial" panose="020B0604020202020204" pitchFamily="34" charset="0"/>
              </a:rPr>
              <a:t>do</a:t>
            </a:r>
            <a:r>
              <a:rPr lang="en-US" sz="1600">
                <a:latin typeface="Arial" panose="020B0604020202020204" pitchFamily="34" charset="0"/>
                <a:cs typeface="Arial" panose="020B0604020202020204" pitchFamily="34" charset="0"/>
              </a:rPr>
              <a:t>.</a:t>
            </a:r>
          </a:p>
          <a:p>
            <a:pPr lvl="1"/>
            <a:r>
              <a:rPr lang="en-US" sz="1600">
                <a:latin typeface="Arial" panose="020B0604020202020204" pitchFamily="34" charset="0"/>
                <a:cs typeface="Arial" panose="020B0604020202020204" pitchFamily="34" charset="0"/>
              </a:rPr>
              <a:t>We're not just watching innovation; we're living through a transformation as profound as Gutenberg's.</a:t>
            </a:r>
          </a:p>
        </p:txBody>
      </p:sp>
      <p:pic>
        <p:nvPicPr>
          <p:cNvPr id="1026" name="Picture 2" descr="Biography of Johannes Gutenberg, German Inventor">
            <a:extLst>
              <a:ext uri="{FF2B5EF4-FFF2-40B4-BE49-F238E27FC236}">
                <a16:creationId xmlns:a16="http://schemas.microsoft.com/office/drawing/2014/main" id="{CC723D75-2277-F533-7EB8-0D69A089F63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409720" y="1046283"/>
            <a:ext cx="3160955" cy="45854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4458263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show="0">
  <p:cSld>
    <p:bg>
      <p:bgPr>
        <a:solidFill>
          <a:srgbClr val="91CFA9"/>
        </a:solidFill>
        <a:effectLst/>
      </p:bgPr>
    </p:bg>
    <p:spTree>
      <p:nvGrpSpPr>
        <p:cNvPr id="1" name="">
          <a:extLst>
            <a:ext uri="{FF2B5EF4-FFF2-40B4-BE49-F238E27FC236}">
              <a16:creationId xmlns:a16="http://schemas.microsoft.com/office/drawing/2014/main" id="{4DD9A0BA-3982-3BD1-55CD-E4F5AE88CFBB}"/>
            </a:ext>
          </a:extLst>
        </p:cNvPr>
        <p:cNvGrpSpPr/>
        <p:nvPr/>
      </p:nvGrpSpPr>
      <p:grpSpPr>
        <a:xfrm>
          <a:off x="0" y="0"/>
          <a:ext cx="0" cy="0"/>
          <a:chOff x="0" y="0"/>
          <a:chExt cx="0" cy="0"/>
        </a:xfrm>
      </p:grpSpPr>
      <p:sp>
        <p:nvSpPr>
          <p:cNvPr id="8" name="Cloud 7">
            <a:extLst>
              <a:ext uri="{FF2B5EF4-FFF2-40B4-BE49-F238E27FC236}">
                <a16:creationId xmlns:a16="http://schemas.microsoft.com/office/drawing/2014/main" id="{6FE5CAF9-1BE1-D5BC-3CA8-B9FC5AA3A0F5}"/>
              </a:ext>
            </a:extLst>
          </p:cNvPr>
          <p:cNvSpPr/>
          <p:nvPr/>
        </p:nvSpPr>
        <p:spPr>
          <a:xfrm rot="16556660">
            <a:off x="-650926" y="997959"/>
            <a:ext cx="7241931" cy="6309386"/>
          </a:xfrm>
          <a:prstGeom prst="cloud">
            <a:avLst/>
          </a:prstGeom>
          <a:solidFill>
            <a:schemeClr val="accent6">
              <a:lumMod val="60000"/>
              <a:lumOff val="40000"/>
              <a:alpha val="43702"/>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 name="Title 3">
            <a:extLst>
              <a:ext uri="{FF2B5EF4-FFF2-40B4-BE49-F238E27FC236}">
                <a16:creationId xmlns:a16="http://schemas.microsoft.com/office/drawing/2014/main" id="{D050ABAB-E139-A541-7BF3-406884CAEA46}"/>
              </a:ext>
            </a:extLst>
          </p:cNvPr>
          <p:cNvSpPr>
            <a:spLocks noGrp="1"/>
          </p:cNvSpPr>
          <p:nvPr>
            <p:ph type="title"/>
          </p:nvPr>
        </p:nvSpPr>
        <p:spPr>
          <a:xfrm>
            <a:off x="381000" y="224449"/>
            <a:ext cx="11430000" cy="990600"/>
          </a:xfrm>
        </p:spPr>
        <p:txBody>
          <a:bodyPr>
            <a:normAutofit/>
          </a:bodyPr>
          <a:lstStyle/>
          <a:p>
            <a:r>
              <a:rPr lang="en-US"/>
              <a:t>The Dream and Mirage of Autonomy</a:t>
            </a:r>
          </a:p>
        </p:txBody>
      </p:sp>
      <p:sp>
        <p:nvSpPr>
          <p:cNvPr id="3" name="Content Placeholder 2">
            <a:extLst>
              <a:ext uri="{FF2B5EF4-FFF2-40B4-BE49-F238E27FC236}">
                <a16:creationId xmlns:a16="http://schemas.microsoft.com/office/drawing/2014/main" id="{97F665BF-B416-B324-D6FC-F4BC04B93A31}"/>
              </a:ext>
            </a:extLst>
          </p:cNvPr>
          <p:cNvSpPr>
            <a:spLocks noGrp="1"/>
          </p:cNvSpPr>
          <p:nvPr>
            <p:ph sz="quarter" idx="10"/>
          </p:nvPr>
        </p:nvSpPr>
        <p:spPr>
          <a:xfrm>
            <a:off x="381001" y="1371601"/>
            <a:ext cx="4630614" cy="4940300"/>
          </a:xfrm>
        </p:spPr>
        <p:txBody>
          <a:bodyPr/>
          <a:lstStyle/>
          <a:p>
            <a:pPr marL="0" indent="0">
              <a:buNone/>
            </a:pPr>
            <a:r>
              <a:rPr lang="en-US"/>
              <a:t>The Dream</a:t>
            </a:r>
          </a:p>
          <a:p>
            <a:pPr lvl="1"/>
            <a:r>
              <a:rPr lang="en-US"/>
              <a:t>AI agents are reshaping the way we live and work; AI will amplify human capabilities in ways we are only beginning to comprehend</a:t>
            </a:r>
          </a:p>
          <a:p>
            <a:pPr lvl="1"/>
            <a:r>
              <a:rPr lang="en-US"/>
              <a:t>“Agents are bringing the biggest revolution in computing since we went from typing commands to tapping on icons”</a:t>
            </a:r>
          </a:p>
          <a:p>
            <a:pPr lvl="1"/>
            <a:r>
              <a:rPr lang="en-US"/>
              <a:t>“AI Agents will become the primary way we interact with computers in the future”</a:t>
            </a:r>
          </a:p>
          <a:p>
            <a:pPr lvl="1"/>
            <a:r>
              <a:rPr lang="en-US"/>
              <a:t>“The age of agentic AI is here.”</a:t>
            </a:r>
          </a:p>
        </p:txBody>
      </p:sp>
      <p:sp>
        <p:nvSpPr>
          <p:cNvPr id="7" name="Content Placeholder 2">
            <a:extLst>
              <a:ext uri="{FF2B5EF4-FFF2-40B4-BE49-F238E27FC236}">
                <a16:creationId xmlns:a16="http://schemas.microsoft.com/office/drawing/2014/main" id="{4BA3D94B-6A67-9C2B-9208-2C5D37A695F7}"/>
              </a:ext>
            </a:extLst>
          </p:cNvPr>
          <p:cNvSpPr txBox="1">
            <a:spLocks/>
          </p:cNvSpPr>
          <p:nvPr/>
        </p:nvSpPr>
        <p:spPr>
          <a:xfrm>
            <a:off x="6096000" y="1371601"/>
            <a:ext cx="4630614" cy="4940300"/>
          </a:xfrm>
        </p:spPr>
        <p:txBody>
          <a:bodyPr/>
          <a:lstStyle>
            <a:lvl1pPr marL="342895" indent="-342895" algn="l" defTabSz="457192" rtl="0" eaLnBrk="1" latinLnBrk="0" hangingPunct="1">
              <a:spcBef>
                <a:spcPct val="20000"/>
              </a:spcBef>
              <a:buFont typeface="Arial"/>
              <a:buChar char="•"/>
              <a:defRPr sz="2400" b="0" i="0" kern="1200">
                <a:solidFill>
                  <a:schemeClr val="tx1"/>
                </a:solidFill>
                <a:latin typeface="Trebuchet MS"/>
                <a:ea typeface="+mn-ea"/>
                <a:cs typeface="Arial"/>
              </a:defRPr>
            </a:lvl1pPr>
            <a:lvl2pPr marL="742937" indent="-285745" algn="l" defTabSz="457192" rtl="0" eaLnBrk="1" latinLnBrk="0" hangingPunct="1">
              <a:spcBef>
                <a:spcPct val="20000"/>
              </a:spcBef>
              <a:buFont typeface="Arial"/>
              <a:buChar char="–"/>
              <a:defRPr sz="2000" b="0" i="0" kern="1200">
                <a:solidFill>
                  <a:schemeClr val="tx1"/>
                </a:solidFill>
                <a:latin typeface="Trebuchet MS"/>
                <a:ea typeface="+mn-ea"/>
                <a:cs typeface="Arial"/>
              </a:defRPr>
            </a:lvl2pPr>
            <a:lvl3pPr marL="1142980" indent="-228596" algn="l" defTabSz="457192" rtl="0" eaLnBrk="1" latinLnBrk="0" hangingPunct="1">
              <a:spcBef>
                <a:spcPct val="20000"/>
              </a:spcBef>
              <a:buFont typeface="Arial"/>
              <a:buChar char="•"/>
              <a:defRPr sz="1800" b="0" i="0" kern="1200">
                <a:solidFill>
                  <a:schemeClr val="tx1"/>
                </a:solidFill>
                <a:latin typeface="Trebuchet MS"/>
                <a:ea typeface="+mn-ea"/>
                <a:cs typeface="Arial"/>
              </a:defRPr>
            </a:lvl3pPr>
            <a:lvl4pPr marL="1600172" indent="-228596" algn="l" defTabSz="457192" rtl="0" eaLnBrk="1" latinLnBrk="0" hangingPunct="1">
              <a:spcBef>
                <a:spcPct val="20000"/>
              </a:spcBef>
              <a:buFont typeface="Arial"/>
              <a:buChar char="–"/>
              <a:defRPr sz="1600" b="0" i="0" kern="1200">
                <a:solidFill>
                  <a:schemeClr val="tx1"/>
                </a:solidFill>
                <a:latin typeface="Trebuchet MS"/>
                <a:ea typeface="+mn-ea"/>
                <a:cs typeface="Arial"/>
              </a:defRPr>
            </a:lvl4pPr>
            <a:lvl5pPr marL="2057364" indent="-228596" algn="l" defTabSz="457192" rtl="0" eaLnBrk="1" latinLnBrk="0" hangingPunct="1">
              <a:spcBef>
                <a:spcPct val="20000"/>
              </a:spcBef>
              <a:buFont typeface="Arial"/>
              <a:buChar char="»"/>
              <a:defRPr sz="1400" b="0" i="0" kern="1200">
                <a:solidFill>
                  <a:schemeClr val="tx1"/>
                </a:solidFill>
                <a:latin typeface="Trebuchet MS"/>
                <a:ea typeface="+mn-ea"/>
                <a:cs typeface="Arial"/>
              </a:defRPr>
            </a:lvl5pPr>
            <a:lvl6pPr marL="2514556" indent="-228596" algn="l" defTabSz="457192" rtl="0" eaLnBrk="1" latinLnBrk="0" hangingPunct="1">
              <a:spcBef>
                <a:spcPct val="20000"/>
              </a:spcBef>
              <a:buFont typeface="Arial"/>
              <a:buChar char="•"/>
              <a:defRPr sz="2000" kern="1200">
                <a:solidFill>
                  <a:schemeClr val="tx1"/>
                </a:solidFill>
                <a:latin typeface="+mn-lt"/>
                <a:ea typeface="+mn-ea"/>
                <a:cs typeface="+mn-cs"/>
              </a:defRPr>
            </a:lvl6pPr>
            <a:lvl7pPr marL="2971748" indent="-228596" algn="l" defTabSz="457192" rtl="0" eaLnBrk="1" latinLnBrk="0" hangingPunct="1">
              <a:spcBef>
                <a:spcPct val="20000"/>
              </a:spcBef>
              <a:buFont typeface="Arial"/>
              <a:buChar char="•"/>
              <a:defRPr sz="2000" kern="1200">
                <a:solidFill>
                  <a:schemeClr val="tx1"/>
                </a:solidFill>
                <a:latin typeface="+mn-lt"/>
                <a:ea typeface="+mn-ea"/>
                <a:cs typeface="+mn-cs"/>
              </a:defRPr>
            </a:lvl7pPr>
            <a:lvl8pPr marL="3428940" indent="-228596" algn="l" defTabSz="457192" rtl="0" eaLnBrk="1" latinLnBrk="0" hangingPunct="1">
              <a:spcBef>
                <a:spcPct val="20000"/>
              </a:spcBef>
              <a:buFont typeface="Arial"/>
              <a:buChar char="•"/>
              <a:defRPr sz="2000" kern="1200">
                <a:solidFill>
                  <a:schemeClr val="tx1"/>
                </a:solidFill>
                <a:latin typeface="+mn-lt"/>
                <a:ea typeface="+mn-ea"/>
                <a:cs typeface="+mn-cs"/>
              </a:defRPr>
            </a:lvl8pPr>
            <a:lvl9pPr marL="3886132" indent="-228596" algn="l" defTabSz="457192"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a:buNone/>
            </a:pPr>
            <a:r>
              <a:rPr lang="en-US"/>
              <a:t>The Mirage</a:t>
            </a:r>
          </a:p>
          <a:p>
            <a:pPr lvl="1"/>
            <a:r>
              <a:rPr lang="en-US"/>
              <a:t>Current AI agents are task oriented.</a:t>
            </a:r>
          </a:p>
          <a:p>
            <a:pPr lvl="1"/>
            <a:r>
              <a:rPr lang="en-US"/>
              <a:t>Deployment is harder than development</a:t>
            </a:r>
          </a:p>
          <a:p>
            <a:pPr lvl="1"/>
            <a:r>
              <a:rPr lang="en-US"/>
              <a:t>Strict human oversight remains a must</a:t>
            </a:r>
          </a:p>
          <a:p>
            <a:pPr lvl="1"/>
            <a:r>
              <a:rPr lang="en-US"/>
              <a:t>Technical Expertise is essential even in the era of AI programming. </a:t>
            </a:r>
          </a:p>
          <a:p>
            <a:pPr lvl="1"/>
            <a:r>
              <a:rPr lang="en-US"/>
              <a:t>Domain specific expertise is irreplaceable.</a:t>
            </a:r>
          </a:p>
          <a:p>
            <a:pPr lvl="1"/>
            <a:r>
              <a:rPr lang="en-US"/>
              <a:t>The gap between expectation and reality requires a lot of optimization.</a:t>
            </a:r>
          </a:p>
        </p:txBody>
      </p:sp>
      <p:sp>
        <p:nvSpPr>
          <p:cNvPr id="9" name="4-Point Star 8">
            <a:extLst>
              <a:ext uri="{FF2B5EF4-FFF2-40B4-BE49-F238E27FC236}">
                <a16:creationId xmlns:a16="http://schemas.microsoft.com/office/drawing/2014/main" id="{0936F87C-A93E-A16E-966C-376D3AC5DA9F}"/>
              </a:ext>
            </a:extLst>
          </p:cNvPr>
          <p:cNvSpPr/>
          <p:nvPr/>
        </p:nvSpPr>
        <p:spPr>
          <a:xfrm>
            <a:off x="7189177" y="778120"/>
            <a:ext cx="1222130" cy="1186961"/>
          </a:xfrm>
          <a:prstGeom prst="star4">
            <a:avLst>
              <a:gd name="adj" fmla="val 6574"/>
            </a:avLst>
          </a:prstGeom>
          <a:solidFill>
            <a:srgbClr val="0064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2871391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1B0E3A7B-7340-E71F-C145-72F57BA0C8DC}"/>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2644F53B-A94F-8BAC-127C-204394CF4B34}"/>
              </a:ext>
            </a:extLst>
          </p:cNvPr>
          <p:cNvSpPr>
            <a:spLocks noGrp="1"/>
          </p:cNvSpPr>
          <p:nvPr>
            <p:ph type="title"/>
          </p:nvPr>
        </p:nvSpPr>
        <p:spPr/>
        <p:txBody>
          <a:bodyPr/>
          <a:lstStyle/>
          <a:p>
            <a:r>
              <a:rPr lang="en-US"/>
              <a:t>Why Agents</a:t>
            </a:r>
          </a:p>
        </p:txBody>
      </p:sp>
      <p:sp>
        <p:nvSpPr>
          <p:cNvPr id="7" name="Text Placeholder 6">
            <a:extLst>
              <a:ext uri="{FF2B5EF4-FFF2-40B4-BE49-F238E27FC236}">
                <a16:creationId xmlns:a16="http://schemas.microsoft.com/office/drawing/2014/main" id="{08697796-D290-64D4-8921-0C1747548BB3}"/>
              </a:ext>
            </a:extLst>
          </p:cNvPr>
          <p:cNvSpPr>
            <a:spLocks noGrp="1"/>
          </p:cNvSpPr>
          <p:nvPr>
            <p:ph type="body" sz="quarter" idx="10"/>
          </p:nvPr>
        </p:nvSpPr>
        <p:spPr>
          <a:xfrm>
            <a:off x="384175" y="1231900"/>
            <a:ext cx="11442735" cy="4957763"/>
          </a:xfrm>
        </p:spPr>
        <p:txBody>
          <a:bodyPr/>
          <a:lstStyle/>
          <a:p>
            <a:r>
              <a:rPr lang="en-US"/>
              <a:t>AI Agents and assistants moved quickly into the mainstream of LLM usage. From an outsider, the term agents might seem like a fad.</a:t>
            </a:r>
          </a:p>
          <a:p>
            <a:pPr lvl="1"/>
            <a:r>
              <a:rPr lang="en-US"/>
              <a:t>During the last few years, prompt engineering has played a significant role in performance and LLM adoption. Users found that various techniques and patterns worked to get the desirable answer consistency.</a:t>
            </a:r>
            <a:br>
              <a:rPr lang="en-US"/>
            </a:br>
            <a:endParaRPr lang="en-US"/>
          </a:p>
          <a:p>
            <a:r>
              <a:rPr lang="en-US"/>
              <a:t>Prompt engineering required iteration, reflection, evaluation and sometimes more iteration. As LLMs got larger, their capabilities along this criteria greatly improved.</a:t>
            </a:r>
            <a:br>
              <a:rPr lang="en-US"/>
            </a:br>
            <a:endParaRPr lang="en-US"/>
          </a:p>
          <a:p>
            <a:r>
              <a:rPr lang="en-US"/>
              <a:t>Moreover, LLM agents are capable at following instruction such as using tools to retrieve context it requires for an answer.</a:t>
            </a:r>
          </a:p>
        </p:txBody>
      </p:sp>
    </p:spTree>
    <p:extLst>
      <p:ext uri="{BB962C8B-B14F-4D97-AF65-F5344CB8AC3E}">
        <p14:creationId xmlns:p14="http://schemas.microsoft.com/office/powerpoint/2010/main" val="188430153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15C32310-0FBD-EF8C-B454-A7EDF8D7CC0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F1BF2FE-6F54-7BB4-3E80-189D99512288}"/>
              </a:ext>
            </a:extLst>
          </p:cNvPr>
          <p:cNvSpPr>
            <a:spLocks noGrp="1"/>
          </p:cNvSpPr>
          <p:nvPr>
            <p:ph type="title"/>
          </p:nvPr>
        </p:nvSpPr>
        <p:spPr/>
        <p:txBody>
          <a:bodyPr/>
          <a:lstStyle/>
          <a:p>
            <a:r>
              <a:rPr lang="en-US"/>
              <a:t>Profile and Persona</a:t>
            </a:r>
          </a:p>
        </p:txBody>
      </p:sp>
      <p:sp>
        <p:nvSpPr>
          <p:cNvPr id="3" name="Text Placeholder 2">
            <a:extLst>
              <a:ext uri="{FF2B5EF4-FFF2-40B4-BE49-F238E27FC236}">
                <a16:creationId xmlns:a16="http://schemas.microsoft.com/office/drawing/2014/main" id="{3DEFD8F5-E0F3-CDA1-0469-4EFF49AB5BB8}"/>
              </a:ext>
            </a:extLst>
          </p:cNvPr>
          <p:cNvSpPr>
            <a:spLocks noGrp="1"/>
          </p:cNvSpPr>
          <p:nvPr>
            <p:ph type="body" sz="quarter" idx="10"/>
          </p:nvPr>
        </p:nvSpPr>
        <p:spPr>
          <a:xfrm>
            <a:off x="384175" y="1231900"/>
            <a:ext cx="4774421" cy="4957763"/>
          </a:xfrm>
        </p:spPr>
        <p:txBody>
          <a:bodyPr/>
          <a:lstStyle/>
          <a:p>
            <a:r>
              <a:rPr lang="en-US"/>
              <a:t>We will explore how to create effective and specific agent profiles and personas through techniques like rubrics and grounding</a:t>
            </a:r>
            <a:br>
              <a:rPr lang="en-US"/>
            </a:br>
            <a:endParaRPr lang="en-US"/>
          </a:p>
          <a:p>
            <a:r>
              <a:rPr lang="en-US"/>
              <a:t>We will break down the aspects of human-formulated vs AI-formulated profiles such as incrementally building profiles with evolutionary algorithms</a:t>
            </a:r>
          </a:p>
        </p:txBody>
      </p:sp>
      <p:pic>
        <p:nvPicPr>
          <p:cNvPr id="6" name="Graphic 5" descr="Employee badge with solid fill">
            <a:extLst>
              <a:ext uri="{FF2B5EF4-FFF2-40B4-BE49-F238E27FC236}">
                <a16:creationId xmlns:a16="http://schemas.microsoft.com/office/drawing/2014/main" id="{B333FE88-A151-EB5B-8CC7-1B91C4E003D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096663" y="691551"/>
            <a:ext cx="2737449" cy="2737449"/>
          </a:xfrm>
          <a:prstGeom prst="rect">
            <a:avLst/>
          </a:prstGeom>
        </p:spPr>
      </p:pic>
      <p:sp>
        <p:nvSpPr>
          <p:cNvPr id="7" name="TextBox 6">
            <a:extLst>
              <a:ext uri="{FF2B5EF4-FFF2-40B4-BE49-F238E27FC236}">
                <a16:creationId xmlns:a16="http://schemas.microsoft.com/office/drawing/2014/main" id="{6EF7B002-4844-710D-D5CD-1F1A623922DB}"/>
              </a:ext>
            </a:extLst>
          </p:cNvPr>
          <p:cNvSpPr txBox="1"/>
          <p:nvPr/>
        </p:nvSpPr>
        <p:spPr>
          <a:xfrm>
            <a:off x="6305909" y="3640347"/>
            <a:ext cx="4288353" cy="2308324"/>
          </a:xfrm>
          <a:prstGeom prst="rect">
            <a:avLst/>
          </a:prstGeom>
          <a:noFill/>
        </p:spPr>
        <p:txBody>
          <a:bodyPr wrap="none" rtlCol="0">
            <a:spAutoFit/>
          </a:bodyPr>
          <a:lstStyle/>
          <a:p>
            <a:r>
              <a:rPr lang="en-US" u="sng"/>
              <a:t>Profile Outline:</a:t>
            </a:r>
          </a:p>
          <a:p>
            <a:pPr lvl="1"/>
            <a:r>
              <a:rPr lang="en-US"/>
              <a:t>Profile – role e.g. software engineer</a:t>
            </a:r>
          </a:p>
          <a:p>
            <a:pPr lvl="1"/>
            <a:r>
              <a:rPr lang="en-US"/>
              <a:t>Skills – e.g. expert using fast </a:t>
            </a:r>
            <a:r>
              <a:rPr lang="en-US" err="1"/>
              <a:t>api</a:t>
            </a:r>
            <a:br>
              <a:rPr lang="en-US"/>
            </a:br>
            <a:endParaRPr lang="en-US"/>
          </a:p>
          <a:p>
            <a:r>
              <a:rPr lang="en-US" u="sng"/>
              <a:t>Profile Generation for Agent:</a:t>
            </a:r>
          </a:p>
          <a:p>
            <a:pPr lvl="1"/>
            <a:r>
              <a:rPr lang="en-US"/>
              <a:t>LLM generated via prompting</a:t>
            </a:r>
          </a:p>
          <a:p>
            <a:pPr lvl="1"/>
            <a:r>
              <a:rPr lang="en-US"/>
              <a:t>Data generated</a:t>
            </a:r>
          </a:p>
          <a:p>
            <a:pPr lvl="1"/>
            <a:r>
              <a:rPr lang="en-US"/>
              <a:t>Handcrafted by humans</a:t>
            </a:r>
          </a:p>
        </p:txBody>
      </p:sp>
    </p:spTree>
    <p:extLst>
      <p:ext uri="{BB962C8B-B14F-4D97-AF65-F5344CB8AC3E}">
        <p14:creationId xmlns:p14="http://schemas.microsoft.com/office/powerpoint/2010/main" val="166642267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D878A47D-01A5-C83A-094E-443BAED1334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A2E2C65-53BB-B484-DA9F-F754F9DC8031}"/>
              </a:ext>
            </a:extLst>
          </p:cNvPr>
          <p:cNvSpPr>
            <a:spLocks noGrp="1"/>
          </p:cNvSpPr>
          <p:nvPr>
            <p:ph type="title"/>
          </p:nvPr>
        </p:nvSpPr>
        <p:spPr>
          <a:xfrm>
            <a:off x="381000" y="224449"/>
            <a:ext cx="11430000" cy="990600"/>
          </a:xfrm>
        </p:spPr>
        <p:txBody>
          <a:bodyPr>
            <a:normAutofit/>
          </a:bodyPr>
          <a:lstStyle/>
          <a:p>
            <a:r>
              <a:rPr lang="en-US" sz="2800" b="0">
                <a:solidFill>
                  <a:srgbClr val="000000"/>
                </a:solidFill>
                <a:latin typeface="Graphik" panose="020B0503030202060203" pitchFamily="34" charset="77"/>
              </a:rPr>
              <a:t>Action and Tool Capabilities</a:t>
            </a:r>
          </a:p>
        </p:txBody>
      </p:sp>
      <p:graphicFrame>
        <p:nvGraphicFramePr>
          <p:cNvPr id="5" name="Text Placeholder 2">
            <a:extLst>
              <a:ext uri="{FF2B5EF4-FFF2-40B4-BE49-F238E27FC236}">
                <a16:creationId xmlns:a16="http://schemas.microsoft.com/office/drawing/2014/main" id="{53C45841-0C4C-B0F7-B61F-6344EA835B38}"/>
              </a:ext>
            </a:extLst>
          </p:cNvPr>
          <p:cNvGraphicFramePr/>
          <p:nvPr>
            <p:extLst>
              <p:ext uri="{D42A27DB-BD31-4B8C-83A1-F6EECF244321}">
                <p14:modId xmlns:p14="http://schemas.microsoft.com/office/powerpoint/2010/main" val="1770058447"/>
              </p:ext>
            </p:extLst>
          </p:nvPr>
        </p:nvGraphicFramePr>
        <p:xfrm>
          <a:off x="381001" y="1371601"/>
          <a:ext cx="11430000" cy="49403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76837352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0F7166BA-D14B-3E5C-E95D-B1E48C6C295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E1239A8-D099-3132-5008-C722C26523BA}"/>
              </a:ext>
            </a:extLst>
          </p:cNvPr>
          <p:cNvSpPr>
            <a:spLocks noGrp="1"/>
          </p:cNvSpPr>
          <p:nvPr>
            <p:ph type="title"/>
          </p:nvPr>
        </p:nvSpPr>
        <p:spPr/>
        <p:txBody>
          <a:bodyPr/>
          <a:lstStyle/>
          <a:p>
            <a:r>
              <a:rPr lang="en-US"/>
              <a:t>Knowledge and Memory</a:t>
            </a:r>
          </a:p>
        </p:txBody>
      </p:sp>
      <p:sp>
        <p:nvSpPr>
          <p:cNvPr id="3" name="Text Placeholder 2">
            <a:extLst>
              <a:ext uri="{FF2B5EF4-FFF2-40B4-BE49-F238E27FC236}">
                <a16:creationId xmlns:a16="http://schemas.microsoft.com/office/drawing/2014/main" id="{199ECA0A-F143-49FE-A08C-D6D604909158}"/>
              </a:ext>
            </a:extLst>
          </p:cNvPr>
          <p:cNvSpPr>
            <a:spLocks noGrp="1"/>
          </p:cNvSpPr>
          <p:nvPr>
            <p:ph type="body" sz="quarter" idx="10"/>
          </p:nvPr>
        </p:nvSpPr>
        <p:spPr/>
        <p:txBody>
          <a:bodyPr/>
          <a:lstStyle/>
          <a:p>
            <a:r>
              <a:rPr lang="en-US"/>
              <a:t>Agent’s must be able to retain information beyond their immediate chat history! Conversations with other agents, instructions for APIs, and domain knowledge is vital!</a:t>
            </a:r>
            <a:br>
              <a:rPr lang="en-US"/>
            </a:br>
            <a:endParaRPr lang="en-US"/>
          </a:p>
          <a:p>
            <a:r>
              <a:rPr lang="en-US"/>
              <a:t>Knowledge and memory are often separate structures but can be unified through language.</a:t>
            </a:r>
            <a:br>
              <a:rPr lang="en-US"/>
            </a:br>
            <a:endParaRPr lang="en-US"/>
          </a:p>
          <a:p>
            <a:r>
              <a:rPr lang="en-US"/>
              <a:t>Knowledge can take many forms e.g., embeddings from a domain corpus</a:t>
            </a:r>
            <a:br>
              <a:rPr lang="en-US"/>
            </a:br>
            <a:endParaRPr lang="en-US"/>
          </a:p>
          <a:p>
            <a:r>
              <a:rPr lang="en-US"/>
              <a:t>Memory can be a retrieval or search from a database.</a:t>
            </a:r>
          </a:p>
        </p:txBody>
      </p:sp>
    </p:spTree>
    <p:extLst>
      <p:ext uri="{BB962C8B-B14F-4D97-AF65-F5344CB8AC3E}">
        <p14:creationId xmlns:p14="http://schemas.microsoft.com/office/powerpoint/2010/main" val="315034860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CFF2DD13-566E-87DD-2E70-A104D5D4FE0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E2A3E24-CEE2-8805-164B-FD9FB3636A3A}"/>
              </a:ext>
            </a:extLst>
          </p:cNvPr>
          <p:cNvSpPr>
            <a:spLocks noGrp="1"/>
          </p:cNvSpPr>
          <p:nvPr>
            <p:ph type="title"/>
          </p:nvPr>
        </p:nvSpPr>
        <p:spPr/>
        <p:txBody>
          <a:bodyPr/>
          <a:lstStyle/>
          <a:p>
            <a:r>
              <a:rPr lang="en-US"/>
              <a:t>Reasoning and Evaluation</a:t>
            </a:r>
          </a:p>
        </p:txBody>
      </p:sp>
      <p:sp>
        <p:nvSpPr>
          <p:cNvPr id="3" name="Text Placeholder 2">
            <a:extLst>
              <a:ext uri="{FF2B5EF4-FFF2-40B4-BE49-F238E27FC236}">
                <a16:creationId xmlns:a16="http://schemas.microsoft.com/office/drawing/2014/main" id="{B7F0950B-B5E5-0258-3B30-6C0DB860C4D6}"/>
              </a:ext>
            </a:extLst>
          </p:cNvPr>
          <p:cNvSpPr>
            <a:spLocks noGrp="1"/>
          </p:cNvSpPr>
          <p:nvPr>
            <p:ph type="body" sz="quarter" idx="10"/>
          </p:nvPr>
        </p:nvSpPr>
        <p:spPr/>
        <p:txBody>
          <a:bodyPr/>
          <a:lstStyle/>
          <a:p>
            <a:r>
              <a:rPr lang="en-US"/>
              <a:t>We will cover how agents reason including prompting schemes: zero-shot prompting, one/few shot prompting, chain-of-thought, tree-of-thought, etc.</a:t>
            </a:r>
            <a:br>
              <a:rPr lang="en-US"/>
            </a:br>
            <a:endParaRPr lang="en-US"/>
          </a:p>
          <a:p>
            <a:r>
              <a:rPr lang="en-US"/>
              <a:t>Reasoning provides the agent with the ability to determine if the sequence of reasoning steps align with the planned approach. </a:t>
            </a:r>
          </a:p>
          <a:p>
            <a:pPr lvl="1"/>
            <a:r>
              <a:rPr lang="en-US"/>
              <a:t>And if the answer is in line with this approach!</a:t>
            </a:r>
            <a:br>
              <a:rPr lang="en-US"/>
            </a:br>
            <a:br>
              <a:rPr lang="en-US"/>
            </a:br>
            <a:endParaRPr lang="en-US"/>
          </a:p>
          <a:p>
            <a:r>
              <a:rPr lang="en-US"/>
              <a:t>Agents can leverage ensembles (LLM-as-a-judge) and self consistency for evaluation.</a:t>
            </a:r>
          </a:p>
        </p:txBody>
      </p:sp>
    </p:spTree>
    <p:extLst>
      <p:ext uri="{BB962C8B-B14F-4D97-AF65-F5344CB8AC3E}">
        <p14:creationId xmlns:p14="http://schemas.microsoft.com/office/powerpoint/2010/main" val="148749472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34D10AB9-FF10-CDFC-0A49-89800EFB555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A89BDB6-E7AE-3F38-F2CD-1F02A04159A5}"/>
              </a:ext>
            </a:extLst>
          </p:cNvPr>
          <p:cNvSpPr>
            <a:spLocks noGrp="1"/>
          </p:cNvSpPr>
          <p:nvPr>
            <p:ph type="title"/>
          </p:nvPr>
        </p:nvSpPr>
        <p:spPr/>
        <p:txBody>
          <a:bodyPr/>
          <a:lstStyle/>
          <a:p>
            <a:r>
              <a:rPr lang="en-US"/>
              <a:t>Planning and Feedback</a:t>
            </a:r>
          </a:p>
        </p:txBody>
      </p:sp>
      <p:sp>
        <p:nvSpPr>
          <p:cNvPr id="3" name="Text Placeholder 2">
            <a:extLst>
              <a:ext uri="{FF2B5EF4-FFF2-40B4-BE49-F238E27FC236}">
                <a16:creationId xmlns:a16="http://schemas.microsoft.com/office/drawing/2014/main" id="{EA38FDF3-3C44-0898-528E-CAB258671FCD}"/>
              </a:ext>
            </a:extLst>
          </p:cNvPr>
          <p:cNvSpPr>
            <a:spLocks noGrp="1"/>
          </p:cNvSpPr>
          <p:nvPr>
            <p:ph type="body" sz="quarter" idx="10"/>
          </p:nvPr>
        </p:nvSpPr>
        <p:spPr/>
        <p:txBody>
          <a:bodyPr/>
          <a:lstStyle/>
          <a:p>
            <a:r>
              <a:rPr lang="en-US"/>
              <a:t>Planning/Feedback are crucial for autonomous agents achieving high level objectives.</a:t>
            </a:r>
          </a:p>
          <a:p>
            <a:pPr lvl="1"/>
            <a:r>
              <a:rPr lang="en-US"/>
              <a:t>Planning with feedback: the agent experiments by planning according to the environment, memory, history, and more and facilitates a course of actions along side the human provided feedback.</a:t>
            </a:r>
            <a:br>
              <a:rPr lang="en-US"/>
            </a:br>
            <a:endParaRPr lang="en-US"/>
          </a:p>
          <a:p>
            <a:pPr lvl="1"/>
            <a:r>
              <a:rPr lang="en-US"/>
              <a:t>Planning without feedback means that the autonomous agents are making decisions independently. Feedback can include the outcome of their predictions.</a:t>
            </a:r>
            <a:br>
              <a:rPr lang="en-US"/>
            </a:br>
            <a:br>
              <a:rPr lang="en-US"/>
            </a:br>
            <a:endParaRPr lang="en-US"/>
          </a:p>
          <a:p>
            <a:pPr lvl="1"/>
            <a:r>
              <a:rPr lang="en-US"/>
              <a:t>Agents can employ single-path reasoning e.g. chain-of-thought or multi-path reasoning like tree-of-thought</a:t>
            </a:r>
          </a:p>
          <a:p>
            <a:pPr lvl="1"/>
            <a:endParaRPr lang="en-US"/>
          </a:p>
        </p:txBody>
      </p:sp>
    </p:spTree>
    <p:extLst>
      <p:ext uri="{BB962C8B-B14F-4D97-AF65-F5344CB8AC3E}">
        <p14:creationId xmlns:p14="http://schemas.microsoft.com/office/powerpoint/2010/main" val="50869780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264D2A4-6078-4C1C-92A6-A9DA907A99EC}"/>
              </a:ext>
            </a:extLst>
          </p:cNvPr>
          <p:cNvSpPr>
            <a:spLocks noGrp="1"/>
          </p:cNvSpPr>
          <p:nvPr>
            <p:ph type="title"/>
          </p:nvPr>
        </p:nvSpPr>
        <p:spPr/>
        <p:txBody>
          <a:bodyPr/>
          <a:lstStyle/>
          <a:p>
            <a:r>
              <a:rPr lang="en-US"/>
              <a:t>AI Agents Explained</a:t>
            </a:r>
          </a:p>
        </p:txBody>
      </p:sp>
      <p:grpSp>
        <p:nvGrpSpPr>
          <p:cNvPr id="43" name="Group 42">
            <a:extLst>
              <a:ext uri="{FF2B5EF4-FFF2-40B4-BE49-F238E27FC236}">
                <a16:creationId xmlns:a16="http://schemas.microsoft.com/office/drawing/2014/main" id="{2C9420A4-AF1C-DA36-1C09-FC925013AFFD}"/>
              </a:ext>
            </a:extLst>
          </p:cNvPr>
          <p:cNvGrpSpPr>
            <a:grpSpLocks noChangeAspect="1"/>
          </p:cNvGrpSpPr>
          <p:nvPr/>
        </p:nvGrpSpPr>
        <p:grpSpPr>
          <a:xfrm>
            <a:off x="2890365" y="1500799"/>
            <a:ext cx="6582259" cy="4225964"/>
            <a:chOff x="3269830" y="1958001"/>
            <a:chExt cx="4895849" cy="3143249"/>
          </a:xfrm>
        </p:grpSpPr>
        <p:grpSp>
          <p:nvGrpSpPr>
            <p:cNvPr id="5" name="Group 4">
              <a:extLst>
                <a:ext uri="{FF2B5EF4-FFF2-40B4-BE49-F238E27FC236}">
                  <a16:creationId xmlns:a16="http://schemas.microsoft.com/office/drawing/2014/main" id="{AC101877-8914-DA7B-1F4A-FD743AA242C8}"/>
                </a:ext>
              </a:extLst>
            </p:cNvPr>
            <p:cNvGrpSpPr/>
            <p:nvPr/>
          </p:nvGrpSpPr>
          <p:grpSpPr>
            <a:xfrm>
              <a:off x="4161026" y="1958001"/>
              <a:ext cx="2137752" cy="457200"/>
              <a:chOff x="1291247" y="1371599"/>
              <a:chExt cx="2137752" cy="457200"/>
            </a:xfrm>
          </p:grpSpPr>
          <p:sp>
            <p:nvSpPr>
              <p:cNvPr id="6" name="Rounded Rectangle 1">
                <a:extLst>
                  <a:ext uri="{FF2B5EF4-FFF2-40B4-BE49-F238E27FC236}">
                    <a16:creationId xmlns:a16="http://schemas.microsoft.com/office/drawing/2014/main" id="{0600F3FE-4A0A-AF91-9691-0B28B3A6BEC5}"/>
                  </a:ext>
                </a:extLst>
              </p:cNvPr>
              <p:cNvSpPr/>
              <p:nvPr/>
            </p:nvSpPr>
            <p:spPr>
              <a:xfrm>
                <a:off x="1291247" y="1371599"/>
                <a:ext cx="2137752" cy="457200"/>
              </a:xfrm>
              <a:custGeom>
                <a:avLst/>
                <a:gdLst/>
                <a:ahLst/>
                <a:cxnLst/>
                <a:rect l="0" t="0" r="0" b="0"/>
                <a:pathLst>
                  <a:path w="2137752" h="457200">
                    <a:moveTo>
                      <a:pt x="80352" y="114300"/>
                    </a:moveTo>
                    <a:cubicBezTo>
                      <a:pt x="80352" y="51174"/>
                      <a:pt x="131526" y="0"/>
                      <a:pt x="194652" y="0"/>
                    </a:cubicBezTo>
                    <a:lnTo>
                      <a:pt x="194652" y="114300"/>
                    </a:lnTo>
                    <a:lnTo>
                      <a:pt x="80352" y="114300"/>
                    </a:lnTo>
                    <a:close/>
                    <a:moveTo>
                      <a:pt x="2023452" y="114300"/>
                    </a:moveTo>
                    <a:lnTo>
                      <a:pt x="2023452" y="0"/>
                    </a:lnTo>
                    <a:lnTo>
                      <a:pt x="194652" y="0"/>
                    </a:lnTo>
                    <a:lnTo>
                      <a:pt x="194653" y="114300"/>
                    </a:lnTo>
                    <a:lnTo>
                      <a:pt x="2023452" y="114300"/>
                    </a:lnTo>
                    <a:close/>
                    <a:moveTo>
                      <a:pt x="2023452" y="114300"/>
                    </a:moveTo>
                    <a:lnTo>
                      <a:pt x="2023452" y="0"/>
                    </a:lnTo>
                    <a:cubicBezTo>
                      <a:pt x="2086578" y="0"/>
                      <a:pt x="2137752" y="51174"/>
                      <a:pt x="2137752" y="114300"/>
                    </a:cubicBezTo>
                    <a:lnTo>
                      <a:pt x="2023452" y="114300"/>
                    </a:lnTo>
                    <a:close/>
                    <a:moveTo>
                      <a:pt x="2137752" y="228600"/>
                    </a:moveTo>
                    <a:lnTo>
                      <a:pt x="2137752" y="114300"/>
                    </a:lnTo>
                    <a:lnTo>
                      <a:pt x="80352" y="114300"/>
                    </a:lnTo>
                    <a:lnTo>
                      <a:pt x="80352" y="228600"/>
                    </a:lnTo>
                    <a:lnTo>
                      <a:pt x="2137752" y="228600"/>
                    </a:lnTo>
                    <a:close/>
                    <a:moveTo>
                      <a:pt x="2023452" y="228600"/>
                    </a:moveTo>
                    <a:lnTo>
                      <a:pt x="2023452" y="457200"/>
                    </a:lnTo>
                    <a:lnTo>
                      <a:pt x="194652" y="457200"/>
                    </a:lnTo>
                    <a:lnTo>
                      <a:pt x="194652" y="228600"/>
                    </a:lnTo>
                    <a:lnTo>
                      <a:pt x="2023452" y="228600"/>
                    </a:lnTo>
                    <a:close/>
                    <a:moveTo>
                      <a:pt x="2023452" y="457200"/>
                    </a:moveTo>
                    <a:cubicBezTo>
                      <a:pt x="2086578" y="457200"/>
                      <a:pt x="2137752" y="406025"/>
                      <a:pt x="2137752" y="342900"/>
                    </a:cubicBezTo>
                    <a:lnTo>
                      <a:pt x="2137752" y="228600"/>
                    </a:lnTo>
                    <a:lnTo>
                      <a:pt x="2023452" y="228600"/>
                    </a:lnTo>
                    <a:lnTo>
                      <a:pt x="2023452" y="342900"/>
                    </a:lnTo>
                    <a:lnTo>
                      <a:pt x="2023452" y="457200"/>
                    </a:lnTo>
                    <a:close/>
                    <a:moveTo>
                      <a:pt x="194656" y="457200"/>
                    </a:moveTo>
                    <a:cubicBezTo>
                      <a:pt x="132744" y="457200"/>
                      <a:pt x="80356" y="404812"/>
                      <a:pt x="80356" y="342900"/>
                    </a:cubicBezTo>
                    <a:lnTo>
                      <a:pt x="12332" y="302085"/>
                    </a:lnTo>
                    <a:cubicBezTo>
                      <a:pt x="0" y="294686"/>
                      <a:pt x="0" y="276813"/>
                      <a:pt x="12332" y="269414"/>
                    </a:cubicBezTo>
                    <a:lnTo>
                      <a:pt x="80356" y="228600"/>
                    </a:lnTo>
                    <a:lnTo>
                      <a:pt x="194656" y="228600"/>
                    </a:lnTo>
                    <a:lnTo>
                      <a:pt x="194656" y="457200"/>
                    </a:lnTo>
                    <a:close/>
                  </a:path>
                </a:pathLst>
              </a:custGeom>
              <a:solidFill>
                <a:srgbClr val="2093FF"/>
              </a:solidFill>
              <a:ln>
                <a:noFill/>
              </a:ln>
            </p:spPr>
            <p:txBody>
              <a:bodyPr rtlCol="0" anchor="ctr"/>
              <a:lstStyle/>
              <a:p>
                <a:pPr algn="ctr"/>
                <a:endParaRPr/>
              </a:p>
            </p:txBody>
          </p:sp>
          <p:sp>
            <p:nvSpPr>
              <p:cNvPr id="7" name="Rounded Rectangle 2">
                <a:extLst>
                  <a:ext uri="{FF2B5EF4-FFF2-40B4-BE49-F238E27FC236}">
                    <a16:creationId xmlns:a16="http://schemas.microsoft.com/office/drawing/2014/main" id="{A5650A11-892D-D9A8-F76F-93DB03393D97}"/>
                  </a:ext>
                </a:extLst>
              </p:cNvPr>
              <p:cNvSpPr/>
              <p:nvPr/>
            </p:nvSpPr>
            <p:spPr>
              <a:xfrm>
                <a:off x="1291247" y="1371599"/>
                <a:ext cx="2137752" cy="457200"/>
              </a:xfrm>
              <a:custGeom>
                <a:avLst/>
                <a:gdLst/>
                <a:ahLst/>
                <a:cxnLst/>
                <a:rect l="0" t="0" r="0" b="0"/>
                <a:pathLst>
                  <a:path w="2137752" h="457200">
                    <a:moveTo>
                      <a:pt x="80352" y="114300"/>
                    </a:moveTo>
                    <a:cubicBezTo>
                      <a:pt x="80352" y="51174"/>
                      <a:pt x="131526" y="0"/>
                      <a:pt x="194652" y="0"/>
                    </a:cubicBezTo>
                    <a:moveTo>
                      <a:pt x="2023452" y="0"/>
                    </a:moveTo>
                    <a:lnTo>
                      <a:pt x="194652" y="0"/>
                    </a:lnTo>
                    <a:moveTo>
                      <a:pt x="2137752" y="114300"/>
                    </a:moveTo>
                    <a:cubicBezTo>
                      <a:pt x="2137752" y="51174"/>
                      <a:pt x="2086578" y="0"/>
                      <a:pt x="2023452" y="0"/>
                    </a:cubicBezTo>
                    <a:moveTo>
                      <a:pt x="2137752" y="342900"/>
                    </a:moveTo>
                    <a:lnTo>
                      <a:pt x="2137752" y="114300"/>
                    </a:lnTo>
                    <a:moveTo>
                      <a:pt x="2023452" y="457200"/>
                    </a:moveTo>
                    <a:cubicBezTo>
                      <a:pt x="2086578" y="457200"/>
                      <a:pt x="2137752" y="406025"/>
                      <a:pt x="2137752" y="342900"/>
                    </a:cubicBezTo>
                    <a:moveTo>
                      <a:pt x="2023452" y="457200"/>
                    </a:moveTo>
                    <a:lnTo>
                      <a:pt x="194652" y="457200"/>
                    </a:lnTo>
                    <a:moveTo>
                      <a:pt x="194656" y="457200"/>
                    </a:moveTo>
                    <a:cubicBezTo>
                      <a:pt x="131530" y="457200"/>
                      <a:pt x="80356" y="406025"/>
                      <a:pt x="80356" y="342900"/>
                    </a:cubicBezTo>
                    <a:lnTo>
                      <a:pt x="12332" y="302085"/>
                    </a:lnTo>
                    <a:cubicBezTo>
                      <a:pt x="0" y="294686"/>
                      <a:pt x="0" y="276813"/>
                      <a:pt x="12332" y="269414"/>
                    </a:cubicBezTo>
                    <a:lnTo>
                      <a:pt x="80356" y="228600"/>
                    </a:lnTo>
                    <a:moveTo>
                      <a:pt x="80352" y="228600"/>
                    </a:moveTo>
                    <a:lnTo>
                      <a:pt x="80352" y="114300"/>
                    </a:lnTo>
                  </a:path>
                </a:pathLst>
              </a:custGeom>
              <a:noFill/>
              <a:ln w="7143">
                <a:solidFill>
                  <a:srgbClr val="FFFFFF"/>
                </a:solidFill>
              </a:ln>
            </p:spPr>
            <p:txBody>
              <a:bodyPr rtlCol="0" anchor="ctr"/>
              <a:lstStyle/>
              <a:p>
                <a:pPr algn="ctr"/>
                <a:endParaRPr/>
              </a:p>
            </p:txBody>
          </p:sp>
        </p:grpSp>
        <p:grpSp>
          <p:nvGrpSpPr>
            <p:cNvPr id="8" name="Group 7">
              <a:extLst>
                <a:ext uri="{FF2B5EF4-FFF2-40B4-BE49-F238E27FC236}">
                  <a16:creationId xmlns:a16="http://schemas.microsoft.com/office/drawing/2014/main" id="{C3D57BB7-1029-88BC-AC84-2D357758D347}"/>
                </a:ext>
              </a:extLst>
            </p:cNvPr>
            <p:cNvGrpSpPr/>
            <p:nvPr/>
          </p:nvGrpSpPr>
          <p:grpSpPr>
            <a:xfrm>
              <a:off x="4355678" y="2510451"/>
              <a:ext cx="2937857" cy="2286000"/>
              <a:chOff x="1485899" y="1924049"/>
              <a:chExt cx="2937857" cy="2286000"/>
            </a:xfrm>
          </p:grpSpPr>
          <p:sp>
            <p:nvSpPr>
              <p:cNvPr id="9" name="Rounded Rectangle 4">
                <a:extLst>
                  <a:ext uri="{FF2B5EF4-FFF2-40B4-BE49-F238E27FC236}">
                    <a16:creationId xmlns:a16="http://schemas.microsoft.com/office/drawing/2014/main" id="{F4AD5C1E-AE8C-3358-EE84-7512AAD4E318}"/>
                  </a:ext>
                </a:extLst>
              </p:cNvPr>
              <p:cNvSpPr/>
              <p:nvPr/>
            </p:nvSpPr>
            <p:spPr>
              <a:xfrm>
                <a:off x="1485899" y="1924050"/>
                <a:ext cx="2937856" cy="1889484"/>
              </a:xfrm>
              <a:custGeom>
                <a:avLst/>
                <a:gdLst/>
                <a:ahLst/>
                <a:cxnLst/>
                <a:rect l="0" t="0" r="0" b="0"/>
                <a:pathLst>
                  <a:path w="2937856" h="2286000">
                    <a:moveTo>
                      <a:pt x="0" y="114300"/>
                    </a:moveTo>
                    <a:cubicBezTo>
                      <a:pt x="0" y="51174"/>
                      <a:pt x="51174" y="0"/>
                      <a:pt x="114300" y="0"/>
                    </a:cubicBezTo>
                    <a:lnTo>
                      <a:pt x="114300" y="114300"/>
                    </a:lnTo>
                    <a:lnTo>
                      <a:pt x="0" y="114300"/>
                    </a:lnTo>
                    <a:close/>
                    <a:moveTo>
                      <a:pt x="2743200" y="114300"/>
                    </a:moveTo>
                    <a:lnTo>
                      <a:pt x="2743200" y="0"/>
                    </a:lnTo>
                    <a:lnTo>
                      <a:pt x="114300" y="0"/>
                    </a:lnTo>
                    <a:lnTo>
                      <a:pt x="114300" y="114300"/>
                    </a:lnTo>
                    <a:lnTo>
                      <a:pt x="2743200" y="114300"/>
                    </a:lnTo>
                    <a:close/>
                    <a:moveTo>
                      <a:pt x="2743200" y="114300"/>
                    </a:moveTo>
                    <a:lnTo>
                      <a:pt x="2743200" y="0"/>
                    </a:lnTo>
                    <a:cubicBezTo>
                      <a:pt x="2806325" y="0"/>
                      <a:pt x="2857500" y="51174"/>
                      <a:pt x="2857500" y="114300"/>
                    </a:cubicBezTo>
                    <a:lnTo>
                      <a:pt x="2743200" y="114300"/>
                    </a:lnTo>
                    <a:close/>
                    <a:moveTo>
                      <a:pt x="2857500" y="2057400"/>
                    </a:moveTo>
                    <a:lnTo>
                      <a:pt x="2857500" y="114300"/>
                    </a:lnTo>
                    <a:lnTo>
                      <a:pt x="0" y="114300"/>
                    </a:lnTo>
                    <a:lnTo>
                      <a:pt x="0" y="2057400"/>
                    </a:lnTo>
                    <a:lnTo>
                      <a:pt x="2857500" y="2057400"/>
                    </a:lnTo>
                    <a:close/>
                    <a:moveTo>
                      <a:pt x="2743200" y="2057400"/>
                    </a:moveTo>
                    <a:lnTo>
                      <a:pt x="2743200" y="2286000"/>
                    </a:lnTo>
                    <a:lnTo>
                      <a:pt x="114300" y="2286000"/>
                    </a:lnTo>
                    <a:lnTo>
                      <a:pt x="114300" y="2057400"/>
                    </a:lnTo>
                    <a:lnTo>
                      <a:pt x="2743200" y="2057400"/>
                    </a:lnTo>
                    <a:close/>
                    <a:moveTo>
                      <a:pt x="114300" y="2286000"/>
                    </a:moveTo>
                    <a:cubicBezTo>
                      <a:pt x="51174" y="2286000"/>
                      <a:pt x="0" y="2234825"/>
                      <a:pt x="0" y="2171700"/>
                    </a:cubicBezTo>
                    <a:lnTo>
                      <a:pt x="0" y="2057400"/>
                    </a:lnTo>
                    <a:lnTo>
                      <a:pt x="114300" y="2057400"/>
                    </a:lnTo>
                    <a:lnTo>
                      <a:pt x="114300" y="2286000"/>
                    </a:lnTo>
                    <a:close/>
                    <a:moveTo>
                      <a:pt x="2743199" y="2286000"/>
                    </a:moveTo>
                    <a:cubicBezTo>
                      <a:pt x="2809874" y="2286000"/>
                      <a:pt x="2857499" y="2238375"/>
                      <a:pt x="2857499" y="2171700"/>
                    </a:cubicBezTo>
                    <a:lnTo>
                      <a:pt x="2925524" y="2130885"/>
                    </a:lnTo>
                    <a:cubicBezTo>
                      <a:pt x="2937856" y="2123486"/>
                      <a:pt x="2937856" y="2105613"/>
                      <a:pt x="2925524" y="2098214"/>
                    </a:cubicBezTo>
                    <a:lnTo>
                      <a:pt x="2857499" y="2057400"/>
                    </a:lnTo>
                    <a:lnTo>
                      <a:pt x="2743199" y="2057400"/>
                    </a:lnTo>
                    <a:lnTo>
                      <a:pt x="2743199" y="2286000"/>
                    </a:lnTo>
                    <a:close/>
                  </a:path>
                </a:pathLst>
              </a:custGeom>
              <a:solidFill>
                <a:srgbClr val="8AC6FF"/>
              </a:solidFill>
              <a:ln>
                <a:noFill/>
              </a:ln>
            </p:spPr>
            <p:txBody>
              <a:bodyPr rtlCol="0" anchor="ctr"/>
              <a:lstStyle/>
              <a:p>
                <a:pPr algn="ctr"/>
                <a:endParaRPr/>
              </a:p>
            </p:txBody>
          </p:sp>
          <p:sp>
            <p:nvSpPr>
              <p:cNvPr id="10" name="Rounded Rectangle 5">
                <a:extLst>
                  <a:ext uri="{FF2B5EF4-FFF2-40B4-BE49-F238E27FC236}">
                    <a16:creationId xmlns:a16="http://schemas.microsoft.com/office/drawing/2014/main" id="{BB7997FD-4581-E6C3-D0C6-95BFB6E95979}"/>
                  </a:ext>
                </a:extLst>
              </p:cNvPr>
              <p:cNvSpPr/>
              <p:nvPr/>
            </p:nvSpPr>
            <p:spPr>
              <a:xfrm>
                <a:off x="1485900" y="1924049"/>
                <a:ext cx="2937856" cy="2286000"/>
              </a:xfrm>
              <a:custGeom>
                <a:avLst/>
                <a:gdLst/>
                <a:ahLst/>
                <a:cxnLst/>
                <a:rect l="0" t="0" r="0" b="0"/>
                <a:pathLst>
                  <a:path w="2937856" h="2286000">
                    <a:moveTo>
                      <a:pt x="0" y="114300"/>
                    </a:moveTo>
                    <a:cubicBezTo>
                      <a:pt x="0" y="51174"/>
                      <a:pt x="51174" y="0"/>
                      <a:pt x="114300" y="0"/>
                    </a:cubicBezTo>
                    <a:moveTo>
                      <a:pt x="2743200" y="0"/>
                    </a:moveTo>
                    <a:lnTo>
                      <a:pt x="114300" y="0"/>
                    </a:lnTo>
                    <a:moveTo>
                      <a:pt x="2857500" y="114300"/>
                    </a:moveTo>
                    <a:cubicBezTo>
                      <a:pt x="2857500" y="51174"/>
                      <a:pt x="2806325" y="0"/>
                      <a:pt x="2743200" y="0"/>
                    </a:cubicBezTo>
                    <a:moveTo>
                      <a:pt x="2857500" y="2057400"/>
                    </a:moveTo>
                    <a:lnTo>
                      <a:pt x="2857500" y="114300"/>
                    </a:lnTo>
                    <a:moveTo>
                      <a:pt x="2743199" y="2286000"/>
                    </a:moveTo>
                    <a:cubicBezTo>
                      <a:pt x="2806325" y="2286000"/>
                      <a:pt x="2857499" y="2234825"/>
                      <a:pt x="2857499" y="2171700"/>
                    </a:cubicBezTo>
                    <a:lnTo>
                      <a:pt x="2925524" y="2130885"/>
                    </a:lnTo>
                    <a:cubicBezTo>
                      <a:pt x="2937856" y="2123486"/>
                      <a:pt x="2937856" y="2105613"/>
                      <a:pt x="2925524" y="2098214"/>
                    </a:cubicBezTo>
                    <a:lnTo>
                      <a:pt x="2857499" y="2057400"/>
                    </a:lnTo>
                    <a:moveTo>
                      <a:pt x="2743200" y="2286000"/>
                    </a:moveTo>
                    <a:lnTo>
                      <a:pt x="114300" y="2286000"/>
                    </a:lnTo>
                    <a:moveTo>
                      <a:pt x="114300" y="2286000"/>
                    </a:moveTo>
                    <a:cubicBezTo>
                      <a:pt x="51174" y="2286000"/>
                      <a:pt x="0" y="2234825"/>
                      <a:pt x="0" y="2171700"/>
                    </a:cubicBezTo>
                    <a:moveTo>
                      <a:pt x="0" y="2171683"/>
                    </a:moveTo>
                    <a:lnTo>
                      <a:pt x="0" y="114300"/>
                    </a:lnTo>
                  </a:path>
                </a:pathLst>
              </a:custGeom>
              <a:noFill/>
              <a:ln w="7143">
                <a:solidFill>
                  <a:srgbClr val="FFFFFF"/>
                </a:solidFill>
              </a:ln>
            </p:spPr>
            <p:txBody>
              <a:bodyPr rtlCol="0" anchor="ctr"/>
              <a:lstStyle/>
              <a:p>
                <a:pPr algn="ctr"/>
                <a:endParaRPr/>
              </a:p>
            </p:txBody>
          </p:sp>
        </p:grpSp>
        <p:grpSp>
          <p:nvGrpSpPr>
            <p:cNvPr id="11" name="Group 10">
              <a:extLst>
                <a:ext uri="{FF2B5EF4-FFF2-40B4-BE49-F238E27FC236}">
                  <a16:creationId xmlns:a16="http://schemas.microsoft.com/office/drawing/2014/main" id="{F51CD62E-4EEA-C2B7-4CDA-4FDB4432B073}"/>
                </a:ext>
              </a:extLst>
            </p:cNvPr>
            <p:cNvGrpSpPr/>
            <p:nvPr/>
          </p:nvGrpSpPr>
          <p:grpSpPr>
            <a:xfrm>
              <a:off x="3269830" y="3845281"/>
              <a:ext cx="711341" cy="1255959"/>
              <a:chOff x="400051" y="3258879"/>
              <a:chExt cx="711341" cy="1255959"/>
            </a:xfrm>
          </p:grpSpPr>
          <p:sp>
            <p:nvSpPr>
              <p:cNvPr id="12" name="Rounded Rectangle 7">
                <a:extLst>
                  <a:ext uri="{FF2B5EF4-FFF2-40B4-BE49-F238E27FC236}">
                    <a16:creationId xmlns:a16="http://schemas.microsoft.com/office/drawing/2014/main" id="{0A748680-A165-E7F6-886D-F9C8560F9627}"/>
                  </a:ext>
                </a:extLst>
              </p:cNvPr>
              <p:cNvSpPr/>
              <p:nvPr/>
            </p:nvSpPr>
            <p:spPr>
              <a:xfrm>
                <a:off x="400051" y="3954177"/>
                <a:ext cx="666553" cy="560661"/>
              </a:xfrm>
              <a:custGeom>
                <a:avLst/>
                <a:gdLst/>
                <a:ahLst/>
                <a:cxnLst/>
                <a:rect l="0" t="0" r="0" b="0"/>
                <a:pathLst>
                  <a:path w="666553" h="560661">
                    <a:moveTo>
                      <a:pt x="0" y="334773"/>
                    </a:moveTo>
                    <a:cubicBezTo>
                      <a:pt x="0" y="169279"/>
                      <a:pt x="114579" y="31320"/>
                      <a:pt x="267148" y="0"/>
                    </a:cubicBezTo>
                    <a:cubicBezTo>
                      <a:pt x="267148" y="0"/>
                      <a:pt x="233123" y="62373"/>
                      <a:pt x="262825" y="123008"/>
                    </a:cubicBezTo>
                    <a:cubicBezTo>
                      <a:pt x="269232" y="136088"/>
                      <a:pt x="288930" y="133521"/>
                      <a:pt x="296505" y="121097"/>
                    </a:cubicBezTo>
                    <a:cubicBezTo>
                      <a:pt x="304579" y="107858"/>
                      <a:pt x="313449" y="94475"/>
                      <a:pt x="317275" y="87718"/>
                    </a:cubicBezTo>
                    <a:lnTo>
                      <a:pt x="322748" y="78425"/>
                    </a:lnTo>
                    <a:cubicBezTo>
                      <a:pt x="331177" y="64646"/>
                      <a:pt x="338129" y="55538"/>
                      <a:pt x="338129" y="55538"/>
                    </a:cubicBezTo>
                    <a:cubicBezTo>
                      <a:pt x="338129" y="55538"/>
                      <a:pt x="348783" y="98262"/>
                      <a:pt x="360247" y="118583"/>
                    </a:cubicBezTo>
                    <a:cubicBezTo>
                      <a:pt x="360247" y="118583"/>
                      <a:pt x="360247" y="256061"/>
                      <a:pt x="332465" y="434679"/>
                    </a:cubicBezTo>
                    <a:cubicBezTo>
                      <a:pt x="360247" y="485577"/>
                      <a:pt x="398786" y="510176"/>
                      <a:pt x="398786" y="510176"/>
                    </a:cubicBezTo>
                    <a:cubicBezTo>
                      <a:pt x="398786" y="510176"/>
                      <a:pt x="436237" y="478597"/>
                      <a:pt x="455945" y="434679"/>
                    </a:cubicBezTo>
                    <a:cubicBezTo>
                      <a:pt x="436237" y="240131"/>
                      <a:pt x="404261" y="118583"/>
                      <a:pt x="404261" y="118583"/>
                    </a:cubicBezTo>
                    <a:cubicBezTo>
                      <a:pt x="418095" y="83976"/>
                      <a:pt x="414012" y="55519"/>
                      <a:pt x="414012" y="55519"/>
                    </a:cubicBezTo>
                    <a:cubicBezTo>
                      <a:pt x="414012" y="55519"/>
                      <a:pt x="441745" y="79257"/>
                      <a:pt x="457140" y="114894"/>
                    </a:cubicBezTo>
                    <a:cubicBezTo>
                      <a:pt x="460790" y="123342"/>
                      <a:pt x="472614" y="123898"/>
                      <a:pt x="473714" y="114743"/>
                    </a:cubicBezTo>
                    <a:cubicBezTo>
                      <a:pt x="479385" y="67568"/>
                      <a:pt x="456515" y="17478"/>
                      <a:pt x="456515" y="17478"/>
                    </a:cubicBezTo>
                    <a:cubicBezTo>
                      <a:pt x="579570" y="67681"/>
                      <a:pt x="666553" y="190823"/>
                      <a:pt x="666553" y="334774"/>
                    </a:cubicBezTo>
                    <a:lnTo>
                      <a:pt x="666553" y="560661"/>
                    </a:lnTo>
                    <a:lnTo>
                      <a:pt x="0" y="560661"/>
                    </a:lnTo>
                    <a:lnTo>
                      <a:pt x="0" y="334773"/>
                    </a:lnTo>
                    <a:close/>
                    <a:moveTo>
                      <a:pt x="322748" y="78425"/>
                    </a:moveTo>
                    <a:cubicBezTo>
                      <a:pt x="320971" y="81331"/>
                      <a:pt x="319130" y="84441"/>
                      <a:pt x="317275" y="87718"/>
                    </a:cubicBezTo>
                    <a:lnTo>
                      <a:pt x="322748" y="78425"/>
                    </a:lnTo>
                    <a:close/>
                  </a:path>
                </a:pathLst>
              </a:custGeom>
              <a:solidFill>
                <a:srgbClr val="2093FF"/>
              </a:solidFill>
              <a:ln>
                <a:noFill/>
              </a:ln>
            </p:spPr>
            <p:txBody>
              <a:bodyPr rtlCol="0" anchor="ctr"/>
              <a:lstStyle/>
              <a:p>
                <a:pPr algn="ctr"/>
                <a:endParaRPr/>
              </a:p>
            </p:txBody>
          </p:sp>
          <p:sp>
            <p:nvSpPr>
              <p:cNvPr id="13" name="Rounded Rectangle 8">
                <a:extLst>
                  <a:ext uri="{FF2B5EF4-FFF2-40B4-BE49-F238E27FC236}">
                    <a16:creationId xmlns:a16="http://schemas.microsoft.com/office/drawing/2014/main" id="{B7E688F9-5AF6-A62C-BF4F-0E62938DB601}"/>
                  </a:ext>
                </a:extLst>
              </p:cNvPr>
              <p:cNvSpPr/>
              <p:nvPr/>
            </p:nvSpPr>
            <p:spPr>
              <a:xfrm>
                <a:off x="633177" y="3930439"/>
                <a:ext cx="246262" cy="159830"/>
              </a:xfrm>
              <a:custGeom>
                <a:avLst/>
                <a:gdLst/>
                <a:ahLst/>
                <a:cxnLst/>
                <a:rect l="0" t="0" r="0" b="0"/>
                <a:pathLst>
                  <a:path w="246262" h="159830">
                    <a:moveTo>
                      <a:pt x="34024" y="23742"/>
                    </a:moveTo>
                    <a:lnTo>
                      <a:pt x="71270" y="0"/>
                    </a:lnTo>
                    <a:lnTo>
                      <a:pt x="105022" y="79262"/>
                    </a:lnTo>
                    <a:cubicBezTo>
                      <a:pt x="105022" y="79262"/>
                      <a:pt x="98054" y="88388"/>
                      <a:pt x="89624" y="102168"/>
                    </a:cubicBezTo>
                    <a:cubicBezTo>
                      <a:pt x="87848" y="105073"/>
                      <a:pt x="86006" y="108183"/>
                      <a:pt x="84151" y="111460"/>
                    </a:cubicBezTo>
                    <a:cubicBezTo>
                      <a:pt x="80326" y="118217"/>
                      <a:pt x="71455" y="131600"/>
                      <a:pt x="63382" y="144840"/>
                    </a:cubicBezTo>
                    <a:cubicBezTo>
                      <a:pt x="55806" y="157263"/>
                      <a:pt x="36109" y="159830"/>
                      <a:pt x="29701" y="146750"/>
                    </a:cubicBezTo>
                    <a:cubicBezTo>
                      <a:pt x="0" y="86115"/>
                      <a:pt x="34024" y="23742"/>
                      <a:pt x="34024" y="23742"/>
                    </a:cubicBezTo>
                    <a:close/>
                    <a:moveTo>
                      <a:pt x="223391" y="41220"/>
                    </a:moveTo>
                    <a:lnTo>
                      <a:pt x="202913" y="14893"/>
                    </a:lnTo>
                    <a:lnTo>
                      <a:pt x="180889" y="79262"/>
                    </a:lnTo>
                    <a:cubicBezTo>
                      <a:pt x="180889" y="79262"/>
                      <a:pt x="208621" y="102999"/>
                      <a:pt x="224017" y="138636"/>
                    </a:cubicBezTo>
                    <a:cubicBezTo>
                      <a:pt x="227666" y="147084"/>
                      <a:pt x="239490" y="147640"/>
                      <a:pt x="240591" y="138485"/>
                    </a:cubicBezTo>
                    <a:cubicBezTo>
                      <a:pt x="246262" y="91310"/>
                      <a:pt x="223391" y="41220"/>
                      <a:pt x="223391" y="41220"/>
                    </a:cubicBezTo>
                    <a:close/>
                    <a:moveTo>
                      <a:pt x="89624" y="102168"/>
                    </a:moveTo>
                    <a:lnTo>
                      <a:pt x="84151" y="111460"/>
                    </a:lnTo>
                    <a:lnTo>
                      <a:pt x="89624" y="102168"/>
                    </a:lnTo>
                    <a:close/>
                  </a:path>
                </a:pathLst>
              </a:custGeom>
              <a:solidFill>
                <a:srgbClr val="2093FF"/>
              </a:solidFill>
              <a:ln>
                <a:noFill/>
              </a:ln>
            </p:spPr>
            <p:txBody>
              <a:bodyPr rtlCol="0" anchor="ctr"/>
              <a:lstStyle/>
              <a:p>
                <a:pPr algn="ctr"/>
                <a:endParaRPr/>
              </a:p>
            </p:txBody>
          </p:sp>
          <p:sp>
            <p:nvSpPr>
              <p:cNvPr id="14" name="Rounded Rectangle 9">
                <a:extLst>
                  <a:ext uri="{FF2B5EF4-FFF2-40B4-BE49-F238E27FC236}">
                    <a16:creationId xmlns:a16="http://schemas.microsoft.com/office/drawing/2014/main" id="{B8F20BA8-9C3A-3044-28A4-FF040575D665}"/>
                  </a:ext>
                </a:extLst>
              </p:cNvPr>
              <p:cNvSpPr/>
              <p:nvPr/>
            </p:nvSpPr>
            <p:spPr>
              <a:xfrm>
                <a:off x="510903" y="3258879"/>
                <a:ext cx="600489" cy="414252"/>
              </a:xfrm>
              <a:custGeom>
                <a:avLst/>
                <a:gdLst/>
                <a:ahLst/>
                <a:cxnLst/>
                <a:rect l="0" t="0" r="0" b="0"/>
                <a:pathLst>
                  <a:path w="600489" h="414252">
                    <a:moveTo>
                      <a:pt x="477201" y="388665"/>
                    </a:moveTo>
                    <a:lnTo>
                      <a:pt x="477201" y="280688"/>
                    </a:lnTo>
                    <a:cubicBezTo>
                      <a:pt x="477201" y="280688"/>
                      <a:pt x="360265" y="303518"/>
                      <a:pt x="277517" y="280688"/>
                    </a:cubicBezTo>
                    <a:cubicBezTo>
                      <a:pt x="194770" y="257856"/>
                      <a:pt x="149211" y="191247"/>
                      <a:pt x="149211" y="191247"/>
                    </a:cubicBezTo>
                    <a:cubicBezTo>
                      <a:pt x="149211" y="220761"/>
                      <a:pt x="145370" y="322966"/>
                      <a:pt x="93078" y="384423"/>
                    </a:cubicBezTo>
                    <a:cubicBezTo>
                      <a:pt x="85964" y="381875"/>
                      <a:pt x="80130" y="380296"/>
                      <a:pt x="67820" y="385420"/>
                    </a:cubicBezTo>
                    <a:cubicBezTo>
                      <a:pt x="55511" y="390545"/>
                      <a:pt x="47131" y="402552"/>
                      <a:pt x="44213" y="414252"/>
                    </a:cubicBezTo>
                    <a:cubicBezTo>
                      <a:pt x="44213" y="414252"/>
                      <a:pt x="0" y="261783"/>
                      <a:pt x="23427" y="206323"/>
                    </a:cubicBezTo>
                    <a:cubicBezTo>
                      <a:pt x="56206" y="128730"/>
                      <a:pt x="106774" y="107881"/>
                      <a:pt x="106774" y="107881"/>
                    </a:cubicBezTo>
                    <a:cubicBezTo>
                      <a:pt x="129925" y="18762"/>
                      <a:pt x="264784" y="0"/>
                      <a:pt x="338290" y="32833"/>
                    </a:cubicBezTo>
                    <a:cubicBezTo>
                      <a:pt x="411797" y="65667"/>
                      <a:pt x="446755" y="119303"/>
                      <a:pt x="502319" y="58327"/>
                    </a:cubicBezTo>
                    <a:cubicBezTo>
                      <a:pt x="600489" y="207111"/>
                      <a:pt x="546611" y="360209"/>
                      <a:pt x="477201" y="388665"/>
                    </a:cubicBezTo>
                    <a:close/>
                  </a:path>
                </a:pathLst>
              </a:custGeom>
              <a:solidFill>
                <a:srgbClr val="2093FF"/>
              </a:solidFill>
              <a:ln>
                <a:noFill/>
              </a:ln>
            </p:spPr>
            <p:txBody>
              <a:bodyPr rtlCol="0" anchor="ctr"/>
              <a:lstStyle/>
              <a:p>
                <a:pPr algn="ctr"/>
                <a:endParaRPr/>
              </a:p>
            </p:txBody>
          </p:sp>
          <p:sp>
            <p:nvSpPr>
              <p:cNvPr id="15" name="Rounded Rectangle 10">
                <a:extLst>
                  <a:ext uri="{FF2B5EF4-FFF2-40B4-BE49-F238E27FC236}">
                    <a16:creationId xmlns:a16="http://schemas.microsoft.com/office/drawing/2014/main" id="{AA7837C3-EA41-C64C-203B-12BB30EF841A}"/>
                  </a:ext>
                </a:extLst>
              </p:cNvPr>
              <p:cNvSpPr/>
              <p:nvPr/>
            </p:nvSpPr>
            <p:spPr>
              <a:xfrm>
                <a:off x="732513" y="4003588"/>
                <a:ext cx="123479" cy="460762"/>
              </a:xfrm>
              <a:custGeom>
                <a:avLst/>
                <a:gdLst/>
                <a:ahLst/>
                <a:cxnLst/>
                <a:rect l="0" t="0" r="0" b="0"/>
                <a:pathLst>
                  <a:path w="123479" h="460762">
                    <a:moveTo>
                      <a:pt x="27782" y="69169"/>
                    </a:moveTo>
                    <a:cubicBezTo>
                      <a:pt x="27782" y="69169"/>
                      <a:pt x="27782" y="206647"/>
                      <a:pt x="0" y="385265"/>
                    </a:cubicBezTo>
                    <a:cubicBezTo>
                      <a:pt x="27782" y="436164"/>
                      <a:pt x="66320" y="460762"/>
                      <a:pt x="66320" y="460762"/>
                    </a:cubicBezTo>
                    <a:cubicBezTo>
                      <a:pt x="66320" y="460762"/>
                      <a:pt x="103771" y="429184"/>
                      <a:pt x="123479" y="385265"/>
                    </a:cubicBezTo>
                    <a:cubicBezTo>
                      <a:pt x="103771" y="190718"/>
                      <a:pt x="71795" y="69169"/>
                      <a:pt x="71795" y="69169"/>
                    </a:cubicBezTo>
                    <a:cubicBezTo>
                      <a:pt x="85629" y="34562"/>
                      <a:pt x="81530" y="6007"/>
                      <a:pt x="81530" y="6007"/>
                    </a:cubicBezTo>
                    <a:cubicBezTo>
                      <a:pt x="81530" y="6007"/>
                      <a:pt x="68259" y="0"/>
                      <a:pt x="45904" y="0"/>
                    </a:cubicBezTo>
                    <a:cubicBezTo>
                      <a:pt x="23811" y="0"/>
                      <a:pt x="5664" y="6124"/>
                      <a:pt x="5664" y="6124"/>
                    </a:cubicBezTo>
                    <a:cubicBezTo>
                      <a:pt x="5664" y="6124"/>
                      <a:pt x="16317" y="48849"/>
                      <a:pt x="27782" y="69169"/>
                    </a:cubicBezTo>
                    <a:close/>
                  </a:path>
                </a:pathLst>
              </a:custGeom>
              <a:solidFill>
                <a:srgbClr val="2093FF"/>
              </a:solidFill>
              <a:ln>
                <a:noFill/>
              </a:ln>
            </p:spPr>
            <p:txBody>
              <a:bodyPr rtlCol="0" anchor="ctr"/>
              <a:lstStyle/>
              <a:p>
                <a:pPr algn="ctr"/>
                <a:endParaRPr/>
              </a:p>
            </p:txBody>
          </p:sp>
          <p:sp>
            <p:nvSpPr>
              <p:cNvPr id="16" name="Rounded Rectangle 11">
                <a:extLst>
                  <a:ext uri="{FF2B5EF4-FFF2-40B4-BE49-F238E27FC236}">
                    <a16:creationId xmlns:a16="http://schemas.microsoft.com/office/drawing/2014/main" id="{D5B8CFA0-04B8-3B7C-5CC4-8585444ABC11}"/>
                  </a:ext>
                </a:extLst>
              </p:cNvPr>
              <p:cNvSpPr/>
              <p:nvPr/>
            </p:nvSpPr>
            <p:spPr>
              <a:xfrm>
                <a:off x="400051" y="3954177"/>
                <a:ext cx="666553" cy="560661"/>
              </a:xfrm>
              <a:custGeom>
                <a:avLst/>
                <a:gdLst/>
                <a:ahLst/>
                <a:cxnLst/>
                <a:rect l="0" t="0" r="0" b="0"/>
                <a:pathLst>
                  <a:path w="666553" h="560661">
                    <a:moveTo>
                      <a:pt x="0" y="334773"/>
                    </a:moveTo>
                    <a:cubicBezTo>
                      <a:pt x="0" y="169279"/>
                      <a:pt x="114579" y="31320"/>
                      <a:pt x="267148" y="0"/>
                    </a:cubicBezTo>
                    <a:cubicBezTo>
                      <a:pt x="267148" y="0"/>
                      <a:pt x="233123" y="62373"/>
                      <a:pt x="262825" y="123008"/>
                    </a:cubicBezTo>
                    <a:cubicBezTo>
                      <a:pt x="269232" y="136088"/>
                      <a:pt x="288930" y="133521"/>
                      <a:pt x="296505" y="121097"/>
                    </a:cubicBezTo>
                    <a:cubicBezTo>
                      <a:pt x="304579" y="107858"/>
                      <a:pt x="313449" y="94475"/>
                      <a:pt x="317275" y="87718"/>
                    </a:cubicBezTo>
                    <a:lnTo>
                      <a:pt x="322748" y="78425"/>
                    </a:lnTo>
                    <a:cubicBezTo>
                      <a:pt x="331177" y="64646"/>
                      <a:pt x="338129" y="55538"/>
                      <a:pt x="338129" y="55538"/>
                    </a:cubicBezTo>
                    <a:cubicBezTo>
                      <a:pt x="338129" y="55538"/>
                      <a:pt x="348783" y="98262"/>
                      <a:pt x="360247" y="118583"/>
                    </a:cubicBezTo>
                    <a:cubicBezTo>
                      <a:pt x="360247" y="118583"/>
                      <a:pt x="360247" y="256061"/>
                      <a:pt x="332465" y="434679"/>
                    </a:cubicBezTo>
                    <a:cubicBezTo>
                      <a:pt x="360247" y="485577"/>
                      <a:pt x="398786" y="510176"/>
                      <a:pt x="398786" y="510176"/>
                    </a:cubicBezTo>
                    <a:cubicBezTo>
                      <a:pt x="398786" y="510176"/>
                      <a:pt x="436237" y="478597"/>
                      <a:pt x="455945" y="434679"/>
                    </a:cubicBezTo>
                    <a:cubicBezTo>
                      <a:pt x="436237" y="240131"/>
                      <a:pt x="404261" y="118583"/>
                      <a:pt x="404261" y="118583"/>
                    </a:cubicBezTo>
                    <a:cubicBezTo>
                      <a:pt x="418095" y="83976"/>
                      <a:pt x="414012" y="55519"/>
                      <a:pt x="414012" y="55519"/>
                    </a:cubicBezTo>
                    <a:cubicBezTo>
                      <a:pt x="414012" y="55519"/>
                      <a:pt x="441745" y="79257"/>
                      <a:pt x="457140" y="114894"/>
                    </a:cubicBezTo>
                    <a:cubicBezTo>
                      <a:pt x="460790" y="123342"/>
                      <a:pt x="472614" y="123898"/>
                      <a:pt x="473714" y="114743"/>
                    </a:cubicBezTo>
                    <a:cubicBezTo>
                      <a:pt x="479385" y="67568"/>
                      <a:pt x="456515" y="17478"/>
                      <a:pt x="456515" y="17478"/>
                    </a:cubicBezTo>
                    <a:cubicBezTo>
                      <a:pt x="579570" y="67681"/>
                      <a:pt x="666553" y="190823"/>
                      <a:pt x="666553" y="334774"/>
                    </a:cubicBezTo>
                    <a:lnTo>
                      <a:pt x="666553" y="560661"/>
                    </a:lnTo>
                    <a:lnTo>
                      <a:pt x="0" y="560661"/>
                    </a:lnTo>
                    <a:lnTo>
                      <a:pt x="0" y="334773"/>
                    </a:lnTo>
                    <a:close/>
                    <a:moveTo>
                      <a:pt x="322748" y="78425"/>
                    </a:moveTo>
                    <a:cubicBezTo>
                      <a:pt x="320971" y="81331"/>
                      <a:pt x="319130" y="84441"/>
                      <a:pt x="317275" y="87718"/>
                    </a:cubicBezTo>
                    <a:lnTo>
                      <a:pt x="322748" y="78425"/>
                    </a:lnTo>
                    <a:close/>
                    <a:moveTo>
                      <a:pt x="129647" y="560651"/>
                    </a:moveTo>
                    <a:lnTo>
                      <a:pt x="129647" y="241696"/>
                    </a:lnTo>
                    <a:moveTo>
                      <a:pt x="555639" y="560651"/>
                    </a:moveTo>
                    <a:lnTo>
                      <a:pt x="555639" y="241696"/>
                    </a:lnTo>
                    <a:moveTo>
                      <a:pt x="398784" y="560651"/>
                    </a:moveTo>
                    <a:lnTo>
                      <a:pt x="398784" y="510165"/>
                    </a:lnTo>
                  </a:path>
                </a:pathLst>
              </a:custGeom>
              <a:noFill/>
              <a:ln w="7143">
                <a:solidFill>
                  <a:srgbClr val="2093FF"/>
                </a:solidFill>
              </a:ln>
            </p:spPr>
            <p:txBody>
              <a:bodyPr rtlCol="0" anchor="ctr"/>
              <a:lstStyle/>
              <a:p>
                <a:pPr algn="ctr"/>
                <a:endParaRPr/>
              </a:p>
            </p:txBody>
          </p:sp>
          <p:sp>
            <p:nvSpPr>
              <p:cNvPr id="17" name="Rounded Rectangle 12">
                <a:extLst>
                  <a:ext uri="{FF2B5EF4-FFF2-40B4-BE49-F238E27FC236}">
                    <a16:creationId xmlns:a16="http://schemas.microsoft.com/office/drawing/2014/main" id="{F6C2EE15-D2C3-4790-1E83-8157F81F84D7}"/>
                  </a:ext>
                </a:extLst>
              </p:cNvPr>
              <p:cNvSpPr/>
              <p:nvPr/>
            </p:nvSpPr>
            <p:spPr>
              <a:xfrm>
                <a:off x="633177" y="3930439"/>
                <a:ext cx="246262" cy="159830"/>
              </a:xfrm>
              <a:custGeom>
                <a:avLst/>
                <a:gdLst/>
                <a:ahLst/>
                <a:cxnLst/>
                <a:rect l="0" t="0" r="0" b="0"/>
                <a:pathLst>
                  <a:path w="246262" h="159830">
                    <a:moveTo>
                      <a:pt x="34024" y="23742"/>
                    </a:moveTo>
                    <a:lnTo>
                      <a:pt x="71270" y="0"/>
                    </a:lnTo>
                    <a:lnTo>
                      <a:pt x="105022" y="79262"/>
                    </a:lnTo>
                    <a:cubicBezTo>
                      <a:pt x="105022" y="79262"/>
                      <a:pt x="98054" y="88388"/>
                      <a:pt x="89624" y="102168"/>
                    </a:cubicBezTo>
                    <a:cubicBezTo>
                      <a:pt x="87848" y="105073"/>
                      <a:pt x="86006" y="108183"/>
                      <a:pt x="84151" y="111460"/>
                    </a:cubicBezTo>
                    <a:cubicBezTo>
                      <a:pt x="80326" y="118217"/>
                      <a:pt x="71455" y="131600"/>
                      <a:pt x="63382" y="144840"/>
                    </a:cubicBezTo>
                    <a:cubicBezTo>
                      <a:pt x="55806" y="157263"/>
                      <a:pt x="36109" y="159830"/>
                      <a:pt x="29701" y="146750"/>
                    </a:cubicBezTo>
                    <a:cubicBezTo>
                      <a:pt x="0" y="86115"/>
                      <a:pt x="34024" y="23742"/>
                      <a:pt x="34024" y="23742"/>
                    </a:cubicBezTo>
                    <a:close/>
                    <a:moveTo>
                      <a:pt x="223391" y="41220"/>
                    </a:moveTo>
                    <a:lnTo>
                      <a:pt x="202913" y="14893"/>
                    </a:lnTo>
                    <a:lnTo>
                      <a:pt x="180889" y="79262"/>
                    </a:lnTo>
                    <a:cubicBezTo>
                      <a:pt x="180889" y="79262"/>
                      <a:pt x="208621" y="102999"/>
                      <a:pt x="224017" y="138636"/>
                    </a:cubicBezTo>
                    <a:cubicBezTo>
                      <a:pt x="227666" y="147084"/>
                      <a:pt x="239490" y="147640"/>
                      <a:pt x="240591" y="138485"/>
                    </a:cubicBezTo>
                    <a:cubicBezTo>
                      <a:pt x="246262" y="91310"/>
                      <a:pt x="223391" y="41220"/>
                      <a:pt x="223391" y="41220"/>
                    </a:cubicBezTo>
                    <a:close/>
                    <a:moveTo>
                      <a:pt x="89624" y="102168"/>
                    </a:moveTo>
                    <a:lnTo>
                      <a:pt x="84151" y="111460"/>
                    </a:lnTo>
                    <a:lnTo>
                      <a:pt x="89624" y="102168"/>
                    </a:lnTo>
                    <a:close/>
                  </a:path>
                </a:pathLst>
              </a:custGeom>
              <a:noFill/>
              <a:ln w="7143">
                <a:solidFill>
                  <a:srgbClr val="2093FF"/>
                </a:solidFill>
              </a:ln>
            </p:spPr>
            <p:txBody>
              <a:bodyPr rtlCol="0" anchor="ctr"/>
              <a:lstStyle/>
              <a:p>
                <a:pPr algn="ctr"/>
                <a:endParaRPr/>
              </a:p>
            </p:txBody>
          </p:sp>
          <p:sp>
            <p:nvSpPr>
              <p:cNvPr id="18" name="Rounded Rectangle 13">
                <a:extLst>
                  <a:ext uri="{FF2B5EF4-FFF2-40B4-BE49-F238E27FC236}">
                    <a16:creationId xmlns:a16="http://schemas.microsoft.com/office/drawing/2014/main" id="{F06B6396-AC8A-1014-2C35-8771C9EE8307}"/>
                  </a:ext>
                </a:extLst>
              </p:cNvPr>
              <p:cNvSpPr/>
              <p:nvPr/>
            </p:nvSpPr>
            <p:spPr>
              <a:xfrm>
                <a:off x="510903" y="3258879"/>
                <a:ext cx="600489" cy="414252"/>
              </a:xfrm>
              <a:custGeom>
                <a:avLst/>
                <a:gdLst/>
                <a:ahLst/>
                <a:cxnLst/>
                <a:rect l="0" t="0" r="0" b="0"/>
                <a:pathLst>
                  <a:path w="600489" h="414252">
                    <a:moveTo>
                      <a:pt x="477201" y="388665"/>
                    </a:moveTo>
                    <a:lnTo>
                      <a:pt x="477201" y="280688"/>
                    </a:lnTo>
                    <a:cubicBezTo>
                      <a:pt x="477201" y="280688"/>
                      <a:pt x="360265" y="303518"/>
                      <a:pt x="277517" y="280688"/>
                    </a:cubicBezTo>
                    <a:cubicBezTo>
                      <a:pt x="194770" y="257856"/>
                      <a:pt x="149211" y="191247"/>
                      <a:pt x="149211" y="191247"/>
                    </a:cubicBezTo>
                    <a:cubicBezTo>
                      <a:pt x="149211" y="220761"/>
                      <a:pt x="145370" y="322966"/>
                      <a:pt x="93078" y="384423"/>
                    </a:cubicBezTo>
                    <a:cubicBezTo>
                      <a:pt x="85964" y="381875"/>
                      <a:pt x="80130" y="380296"/>
                      <a:pt x="67820" y="385420"/>
                    </a:cubicBezTo>
                    <a:cubicBezTo>
                      <a:pt x="55511" y="390545"/>
                      <a:pt x="47131" y="402552"/>
                      <a:pt x="44213" y="414252"/>
                    </a:cubicBezTo>
                    <a:cubicBezTo>
                      <a:pt x="44213" y="414252"/>
                      <a:pt x="0" y="261783"/>
                      <a:pt x="23427" y="206323"/>
                    </a:cubicBezTo>
                    <a:cubicBezTo>
                      <a:pt x="56206" y="128730"/>
                      <a:pt x="106774" y="107881"/>
                      <a:pt x="106774" y="107881"/>
                    </a:cubicBezTo>
                    <a:cubicBezTo>
                      <a:pt x="129925" y="18762"/>
                      <a:pt x="264784" y="0"/>
                      <a:pt x="338290" y="32833"/>
                    </a:cubicBezTo>
                    <a:cubicBezTo>
                      <a:pt x="411797" y="65667"/>
                      <a:pt x="446755" y="119303"/>
                      <a:pt x="502319" y="58327"/>
                    </a:cubicBezTo>
                    <a:cubicBezTo>
                      <a:pt x="600489" y="207111"/>
                      <a:pt x="546611" y="360209"/>
                      <a:pt x="477201" y="388665"/>
                    </a:cubicBezTo>
                    <a:close/>
                  </a:path>
                </a:pathLst>
              </a:custGeom>
              <a:noFill/>
              <a:ln w="7143">
                <a:solidFill>
                  <a:srgbClr val="2093FF"/>
                </a:solidFill>
              </a:ln>
            </p:spPr>
            <p:txBody>
              <a:bodyPr rtlCol="0" anchor="ctr"/>
              <a:lstStyle/>
              <a:p>
                <a:pPr algn="ctr"/>
                <a:endParaRPr/>
              </a:p>
            </p:txBody>
          </p:sp>
          <p:sp>
            <p:nvSpPr>
              <p:cNvPr id="19" name="Rounded Rectangle 14">
                <a:extLst>
                  <a:ext uri="{FF2B5EF4-FFF2-40B4-BE49-F238E27FC236}">
                    <a16:creationId xmlns:a16="http://schemas.microsoft.com/office/drawing/2014/main" id="{3897D718-1CE2-A90B-FB8C-E459E25A9898}"/>
                  </a:ext>
                </a:extLst>
              </p:cNvPr>
              <p:cNvSpPr/>
              <p:nvPr/>
            </p:nvSpPr>
            <p:spPr>
              <a:xfrm>
                <a:off x="732513" y="4003588"/>
                <a:ext cx="123479" cy="460762"/>
              </a:xfrm>
              <a:custGeom>
                <a:avLst/>
                <a:gdLst/>
                <a:ahLst/>
                <a:cxnLst/>
                <a:rect l="0" t="0" r="0" b="0"/>
                <a:pathLst>
                  <a:path w="123479" h="460762">
                    <a:moveTo>
                      <a:pt x="27782" y="69169"/>
                    </a:moveTo>
                    <a:cubicBezTo>
                      <a:pt x="27782" y="69169"/>
                      <a:pt x="27782" y="206647"/>
                      <a:pt x="0" y="385265"/>
                    </a:cubicBezTo>
                    <a:cubicBezTo>
                      <a:pt x="27782" y="436164"/>
                      <a:pt x="66320" y="460762"/>
                      <a:pt x="66320" y="460762"/>
                    </a:cubicBezTo>
                    <a:cubicBezTo>
                      <a:pt x="66320" y="460762"/>
                      <a:pt x="103771" y="429184"/>
                      <a:pt x="123479" y="385265"/>
                    </a:cubicBezTo>
                    <a:cubicBezTo>
                      <a:pt x="103771" y="190718"/>
                      <a:pt x="71795" y="69169"/>
                      <a:pt x="71795" y="69169"/>
                    </a:cubicBezTo>
                    <a:cubicBezTo>
                      <a:pt x="85629" y="34562"/>
                      <a:pt x="81530" y="6007"/>
                      <a:pt x="81530" y="6007"/>
                    </a:cubicBezTo>
                    <a:cubicBezTo>
                      <a:pt x="81530" y="6007"/>
                      <a:pt x="68259" y="0"/>
                      <a:pt x="45904" y="0"/>
                    </a:cubicBezTo>
                    <a:cubicBezTo>
                      <a:pt x="23811" y="0"/>
                      <a:pt x="5664" y="6124"/>
                      <a:pt x="5664" y="6124"/>
                    </a:cubicBezTo>
                    <a:cubicBezTo>
                      <a:pt x="5664" y="6124"/>
                      <a:pt x="16317" y="48849"/>
                      <a:pt x="27782" y="69169"/>
                    </a:cubicBezTo>
                    <a:close/>
                    <a:moveTo>
                      <a:pt x="71798" y="69167"/>
                    </a:moveTo>
                    <a:cubicBezTo>
                      <a:pt x="71798" y="69167"/>
                      <a:pt x="65275" y="69167"/>
                      <a:pt x="55167" y="69167"/>
                    </a:cubicBezTo>
                    <a:cubicBezTo>
                      <a:pt x="45060" y="69167"/>
                      <a:pt x="27784" y="69167"/>
                      <a:pt x="27784" y="69167"/>
                    </a:cubicBezTo>
                  </a:path>
                </a:pathLst>
              </a:custGeom>
              <a:noFill/>
              <a:ln w="7143">
                <a:solidFill>
                  <a:srgbClr val="2093FF"/>
                </a:solidFill>
              </a:ln>
            </p:spPr>
            <p:txBody>
              <a:bodyPr rtlCol="0" anchor="ctr"/>
              <a:lstStyle/>
              <a:p>
                <a:pPr algn="ctr"/>
                <a:endParaRPr/>
              </a:p>
            </p:txBody>
          </p:sp>
        </p:grpSp>
        <p:grpSp>
          <p:nvGrpSpPr>
            <p:cNvPr id="20" name="Group 19">
              <a:extLst>
                <a:ext uri="{FF2B5EF4-FFF2-40B4-BE49-F238E27FC236}">
                  <a16:creationId xmlns:a16="http://schemas.microsoft.com/office/drawing/2014/main" id="{9117E4D3-7D38-DFD4-FC9F-E668E7F03C76}"/>
                </a:ext>
              </a:extLst>
            </p:cNvPr>
            <p:cNvGrpSpPr/>
            <p:nvPr/>
          </p:nvGrpSpPr>
          <p:grpSpPr>
            <a:xfrm>
              <a:off x="3423717" y="4037577"/>
              <a:ext cx="436682" cy="558598"/>
              <a:chOff x="553938" y="3451175"/>
              <a:chExt cx="436682" cy="558598"/>
            </a:xfrm>
          </p:grpSpPr>
          <p:sp>
            <p:nvSpPr>
              <p:cNvPr id="21" name="Rounded Rectangle 16">
                <a:extLst>
                  <a:ext uri="{FF2B5EF4-FFF2-40B4-BE49-F238E27FC236}">
                    <a16:creationId xmlns:a16="http://schemas.microsoft.com/office/drawing/2014/main" id="{0FFFFD20-4A0B-EA5F-66AD-C4D2E99D06F4}"/>
                  </a:ext>
                </a:extLst>
              </p:cNvPr>
              <p:cNvSpPr/>
              <p:nvPr/>
            </p:nvSpPr>
            <p:spPr>
              <a:xfrm>
                <a:off x="704310" y="3868973"/>
                <a:ext cx="131879" cy="140800"/>
              </a:xfrm>
              <a:custGeom>
                <a:avLst/>
                <a:gdLst/>
                <a:ahLst/>
                <a:cxnLst/>
                <a:rect l="0" t="0" r="0" b="0"/>
                <a:pathLst>
                  <a:path w="131879" h="140800">
                    <a:moveTo>
                      <a:pt x="131810" y="26438"/>
                    </a:moveTo>
                    <a:lnTo>
                      <a:pt x="131810" y="76416"/>
                    </a:lnTo>
                    <a:lnTo>
                      <a:pt x="109726" y="140800"/>
                    </a:lnTo>
                    <a:cubicBezTo>
                      <a:pt x="109726" y="140800"/>
                      <a:pt x="97553" y="134736"/>
                      <a:pt x="74093" y="134736"/>
                    </a:cubicBezTo>
                    <a:cubicBezTo>
                      <a:pt x="50632" y="134736"/>
                      <a:pt x="33875" y="140800"/>
                      <a:pt x="33875" y="140800"/>
                    </a:cubicBezTo>
                    <a:lnTo>
                      <a:pt x="33" y="61501"/>
                    </a:lnTo>
                    <a:lnTo>
                      <a:pt x="33" y="0"/>
                    </a:lnTo>
                    <a:lnTo>
                      <a:pt x="0" y="0"/>
                    </a:lnTo>
                    <a:cubicBezTo>
                      <a:pt x="14084" y="7288"/>
                      <a:pt x="44125" y="17246"/>
                      <a:pt x="63323" y="18012"/>
                    </a:cubicBezTo>
                    <a:cubicBezTo>
                      <a:pt x="82520" y="18778"/>
                      <a:pt x="114281" y="18012"/>
                      <a:pt x="131879" y="11884"/>
                    </a:cubicBezTo>
                    <a:lnTo>
                      <a:pt x="131810" y="26438"/>
                    </a:lnTo>
                    <a:close/>
                  </a:path>
                </a:pathLst>
              </a:custGeom>
              <a:solidFill>
                <a:srgbClr val="666666"/>
              </a:solidFill>
              <a:ln>
                <a:noFill/>
              </a:ln>
            </p:spPr>
            <p:txBody>
              <a:bodyPr rtlCol="0" anchor="ctr"/>
              <a:lstStyle/>
              <a:p>
                <a:pPr algn="ctr"/>
                <a:endParaRPr/>
              </a:p>
            </p:txBody>
          </p:sp>
          <p:sp>
            <p:nvSpPr>
              <p:cNvPr id="22" name="Rounded Rectangle 17">
                <a:extLst>
                  <a:ext uri="{FF2B5EF4-FFF2-40B4-BE49-F238E27FC236}">
                    <a16:creationId xmlns:a16="http://schemas.microsoft.com/office/drawing/2014/main" id="{CCECA24F-3E60-F9A9-BBE5-7C380FA484E0}"/>
                  </a:ext>
                </a:extLst>
              </p:cNvPr>
              <p:cNvSpPr/>
              <p:nvPr/>
            </p:nvSpPr>
            <p:spPr>
              <a:xfrm>
                <a:off x="553938" y="3451175"/>
                <a:ext cx="436682" cy="436265"/>
              </a:xfrm>
              <a:custGeom>
                <a:avLst/>
                <a:gdLst/>
                <a:ahLst/>
                <a:cxnLst/>
                <a:rect l="0" t="0" r="0" b="0"/>
                <a:pathLst>
                  <a:path w="436682" h="436265">
                    <a:moveTo>
                      <a:pt x="32250" y="190436"/>
                    </a:moveTo>
                    <a:cubicBezTo>
                      <a:pt x="13769" y="194977"/>
                      <a:pt x="0" y="211915"/>
                      <a:pt x="0" y="232259"/>
                    </a:cubicBezTo>
                    <a:cubicBezTo>
                      <a:pt x="0" y="254211"/>
                      <a:pt x="16079" y="272378"/>
                      <a:pt x="36871" y="274933"/>
                    </a:cubicBezTo>
                    <a:cubicBezTo>
                      <a:pt x="56462" y="366906"/>
                      <a:pt x="136767" y="436265"/>
                      <a:pt x="232227" y="436265"/>
                    </a:cubicBezTo>
                    <a:cubicBezTo>
                      <a:pt x="327687" y="436265"/>
                      <a:pt x="407991" y="366811"/>
                      <a:pt x="427582" y="274933"/>
                    </a:cubicBezTo>
                    <a:cubicBezTo>
                      <a:pt x="436682" y="232259"/>
                      <a:pt x="434166" y="215763"/>
                      <a:pt x="434166" y="193167"/>
                    </a:cubicBezTo>
                    <a:cubicBezTo>
                      <a:pt x="434166" y="112572"/>
                      <a:pt x="434166" y="117949"/>
                      <a:pt x="434166" y="88435"/>
                    </a:cubicBezTo>
                    <a:cubicBezTo>
                      <a:pt x="434166" y="88435"/>
                      <a:pt x="313778" y="112572"/>
                      <a:pt x="235062" y="89119"/>
                    </a:cubicBezTo>
                    <a:cubicBezTo>
                      <a:pt x="156346" y="65667"/>
                      <a:pt x="105412" y="0"/>
                      <a:pt x="105412" y="0"/>
                    </a:cubicBezTo>
                    <a:cubicBezTo>
                      <a:pt x="105412" y="0"/>
                      <a:pt x="110043" y="121953"/>
                      <a:pt x="49848" y="192310"/>
                    </a:cubicBezTo>
                    <a:cubicBezTo>
                      <a:pt x="46711" y="190499"/>
                      <a:pt x="53694" y="186064"/>
                      <a:pt x="32324" y="190499"/>
                    </a:cubicBezTo>
                    <a:lnTo>
                      <a:pt x="32250" y="190436"/>
                    </a:lnTo>
                    <a:close/>
                  </a:path>
                </a:pathLst>
              </a:custGeom>
              <a:solidFill>
                <a:srgbClr val="666666"/>
              </a:solidFill>
              <a:ln>
                <a:noFill/>
              </a:ln>
            </p:spPr>
            <p:txBody>
              <a:bodyPr rtlCol="0" anchor="ctr"/>
              <a:lstStyle/>
              <a:p>
                <a:pPr algn="ctr"/>
                <a:endParaRPr/>
              </a:p>
            </p:txBody>
          </p:sp>
          <p:sp>
            <p:nvSpPr>
              <p:cNvPr id="23" name="Rounded Rectangle 18">
                <a:extLst>
                  <a:ext uri="{FF2B5EF4-FFF2-40B4-BE49-F238E27FC236}">
                    <a16:creationId xmlns:a16="http://schemas.microsoft.com/office/drawing/2014/main" id="{05592E78-EAED-C8A2-6C00-1EDFBC02859C}"/>
                  </a:ext>
                </a:extLst>
              </p:cNvPr>
              <p:cNvSpPr/>
              <p:nvPr/>
            </p:nvSpPr>
            <p:spPr>
              <a:xfrm>
                <a:off x="773617" y="3767807"/>
                <a:ext cx="102076" cy="45763"/>
              </a:xfrm>
              <a:custGeom>
                <a:avLst/>
                <a:gdLst/>
                <a:ahLst/>
                <a:cxnLst/>
                <a:rect l="0" t="0" r="0" b="0"/>
                <a:pathLst>
                  <a:path w="102076" h="45763">
                    <a:moveTo>
                      <a:pt x="102076" y="0"/>
                    </a:moveTo>
                    <a:cubicBezTo>
                      <a:pt x="87148" y="45763"/>
                      <a:pt x="14857" y="45544"/>
                      <a:pt x="0" y="0"/>
                    </a:cubicBezTo>
                    <a:lnTo>
                      <a:pt x="102076" y="0"/>
                    </a:lnTo>
                    <a:close/>
                  </a:path>
                </a:pathLst>
              </a:custGeom>
              <a:solidFill>
                <a:srgbClr val="666666"/>
              </a:solidFill>
              <a:ln>
                <a:noFill/>
              </a:ln>
            </p:spPr>
            <p:txBody>
              <a:bodyPr rtlCol="0" anchor="ctr"/>
              <a:lstStyle/>
              <a:p>
                <a:pPr algn="ctr"/>
                <a:endParaRPr/>
              </a:p>
            </p:txBody>
          </p:sp>
          <p:sp>
            <p:nvSpPr>
              <p:cNvPr id="24" name="Rounded Rectangle 19">
                <a:extLst>
                  <a:ext uri="{FF2B5EF4-FFF2-40B4-BE49-F238E27FC236}">
                    <a16:creationId xmlns:a16="http://schemas.microsoft.com/office/drawing/2014/main" id="{1EA9C0D7-BA9A-8E5B-01C8-73E3C7DBC84F}"/>
                  </a:ext>
                </a:extLst>
              </p:cNvPr>
              <p:cNvSpPr/>
              <p:nvPr/>
            </p:nvSpPr>
            <p:spPr>
              <a:xfrm>
                <a:off x="704310" y="3868973"/>
                <a:ext cx="131879" cy="140800"/>
              </a:xfrm>
              <a:custGeom>
                <a:avLst/>
                <a:gdLst/>
                <a:ahLst/>
                <a:cxnLst/>
                <a:rect l="0" t="0" r="0" b="0"/>
                <a:pathLst>
                  <a:path w="131879" h="140800">
                    <a:moveTo>
                      <a:pt x="131810" y="26438"/>
                    </a:moveTo>
                    <a:lnTo>
                      <a:pt x="131810" y="76416"/>
                    </a:lnTo>
                    <a:lnTo>
                      <a:pt x="109726" y="140800"/>
                    </a:lnTo>
                    <a:cubicBezTo>
                      <a:pt x="109726" y="140800"/>
                      <a:pt x="97553" y="134736"/>
                      <a:pt x="74093" y="134736"/>
                    </a:cubicBezTo>
                    <a:cubicBezTo>
                      <a:pt x="50632" y="134736"/>
                      <a:pt x="33875" y="140800"/>
                      <a:pt x="33875" y="140800"/>
                    </a:cubicBezTo>
                    <a:lnTo>
                      <a:pt x="33" y="61501"/>
                    </a:lnTo>
                    <a:lnTo>
                      <a:pt x="33" y="0"/>
                    </a:lnTo>
                    <a:lnTo>
                      <a:pt x="0" y="0"/>
                    </a:lnTo>
                    <a:cubicBezTo>
                      <a:pt x="14084" y="7288"/>
                      <a:pt x="44125" y="17246"/>
                      <a:pt x="63323" y="18012"/>
                    </a:cubicBezTo>
                    <a:cubicBezTo>
                      <a:pt x="82520" y="18778"/>
                      <a:pt x="114281" y="18012"/>
                      <a:pt x="131879" y="11884"/>
                    </a:cubicBezTo>
                    <a:lnTo>
                      <a:pt x="131810" y="26438"/>
                    </a:lnTo>
                    <a:close/>
                  </a:path>
                </a:pathLst>
              </a:custGeom>
              <a:noFill/>
              <a:ln w="7143">
                <a:solidFill>
                  <a:srgbClr val="FFFFFF"/>
                </a:solidFill>
              </a:ln>
            </p:spPr>
            <p:txBody>
              <a:bodyPr rtlCol="0" anchor="ctr"/>
              <a:lstStyle/>
              <a:p>
                <a:pPr algn="ctr"/>
                <a:endParaRPr/>
              </a:p>
            </p:txBody>
          </p:sp>
          <p:sp>
            <p:nvSpPr>
              <p:cNvPr id="25" name="Rounded Rectangle 20">
                <a:extLst>
                  <a:ext uri="{FF2B5EF4-FFF2-40B4-BE49-F238E27FC236}">
                    <a16:creationId xmlns:a16="http://schemas.microsoft.com/office/drawing/2014/main" id="{D5DB268E-EE4E-AECC-F230-904381014A87}"/>
                  </a:ext>
                </a:extLst>
              </p:cNvPr>
              <p:cNvSpPr/>
              <p:nvPr/>
            </p:nvSpPr>
            <p:spPr>
              <a:xfrm>
                <a:off x="553938" y="3451175"/>
                <a:ext cx="436682" cy="436265"/>
              </a:xfrm>
              <a:custGeom>
                <a:avLst/>
                <a:gdLst/>
                <a:ahLst/>
                <a:cxnLst/>
                <a:rect l="0" t="0" r="0" b="0"/>
                <a:pathLst>
                  <a:path w="436682" h="436265">
                    <a:moveTo>
                      <a:pt x="32250" y="190436"/>
                    </a:moveTo>
                    <a:cubicBezTo>
                      <a:pt x="13769" y="194977"/>
                      <a:pt x="0" y="211915"/>
                      <a:pt x="0" y="232259"/>
                    </a:cubicBezTo>
                    <a:cubicBezTo>
                      <a:pt x="0" y="254211"/>
                      <a:pt x="16079" y="272378"/>
                      <a:pt x="36871" y="274933"/>
                    </a:cubicBezTo>
                    <a:cubicBezTo>
                      <a:pt x="56462" y="366906"/>
                      <a:pt x="136767" y="436265"/>
                      <a:pt x="232227" y="436265"/>
                    </a:cubicBezTo>
                    <a:cubicBezTo>
                      <a:pt x="327687" y="436265"/>
                      <a:pt x="407991" y="366811"/>
                      <a:pt x="427582" y="274933"/>
                    </a:cubicBezTo>
                    <a:cubicBezTo>
                      <a:pt x="436682" y="232259"/>
                      <a:pt x="434166" y="215763"/>
                      <a:pt x="434166" y="193167"/>
                    </a:cubicBezTo>
                    <a:cubicBezTo>
                      <a:pt x="434166" y="112572"/>
                      <a:pt x="434166" y="117949"/>
                      <a:pt x="434166" y="88435"/>
                    </a:cubicBezTo>
                    <a:cubicBezTo>
                      <a:pt x="434166" y="88435"/>
                      <a:pt x="313778" y="112572"/>
                      <a:pt x="235062" y="89119"/>
                    </a:cubicBezTo>
                    <a:cubicBezTo>
                      <a:pt x="156346" y="65667"/>
                      <a:pt x="105412" y="0"/>
                      <a:pt x="105412" y="0"/>
                    </a:cubicBezTo>
                    <a:cubicBezTo>
                      <a:pt x="105412" y="0"/>
                      <a:pt x="110043" y="121953"/>
                      <a:pt x="49848" y="192310"/>
                    </a:cubicBezTo>
                    <a:cubicBezTo>
                      <a:pt x="46711" y="190499"/>
                      <a:pt x="53694" y="186064"/>
                      <a:pt x="32324" y="190499"/>
                    </a:cubicBezTo>
                    <a:lnTo>
                      <a:pt x="32250" y="190436"/>
                    </a:lnTo>
                    <a:close/>
                  </a:path>
                </a:pathLst>
              </a:custGeom>
              <a:noFill/>
              <a:ln w="7143">
                <a:solidFill>
                  <a:srgbClr val="FFFFFF"/>
                </a:solidFill>
              </a:ln>
            </p:spPr>
            <p:txBody>
              <a:bodyPr rtlCol="0" anchor="ctr"/>
              <a:lstStyle/>
              <a:p>
                <a:pPr algn="ctr"/>
                <a:endParaRPr/>
              </a:p>
            </p:txBody>
          </p:sp>
          <p:sp>
            <p:nvSpPr>
              <p:cNvPr id="26" name="Rounded Rectangle 21">
                <a:extLst>
                  <a:ext uri="{FF2B5EF4-FFF2-40B4-BE49-F238E27FC236}">
                    <a16:creationId xmlns:a16="http://schemas.microsoft.com/office/drawing/2014/main" id="{471C104A-8E3E-A8E7-5F6F-4AD1AC73D998}"/>
                  </a:ext>
                </a:extLst>
              </p:cNvPr>
              <p:cNvSpPr/>
              <p:nvPr/>
            </p:nvSpPr>
            <p:spPr>
              <a:xfrm>
                <a:off x="722979" y="3572695"/>
                <a:ext cx="221188" cy="240875"/>
              </a:xfrm>
              <a:custGeom>
                <a:avLst/>
                <a:gdLst/>
                <a:ahLst/>
                <a:cxnLst/>
                <a:rect l="0" t="0" r="0" b="0"/>
                <a:pathLst>
                  <a:path w="221188" h="240875">
                    <a:moveTo>
                      <a:pt x="152715" y="195112"/>
                    </a:moveTo>
                    <a:cubicBezTo>
                      <a:pt x="137786" y="240875"/>
                      <a:pt x="65495" y="240656"/>
                      <a:pt x="50638" y="195112"/>
                    </a:cubicBezTo>
                    <a:close/>
                    <a:moveTo>
                      <a:pt x="52753" y="71259"/>
                    </a:moveTo>
                    <a:cubicBezTo>
                      <a:pt x="52753" y="81621"/>
                      <a:pt x="44460" y="90021"/>
                      <a:pt x="34231" y="90021"/>
                    </a:cubicBezTo>
                    <a:cubicBezTo>
                      <a:pt x="24003" y="90021"/>
                      <a:pt x="15710" y="81621"/>
                      <a:pt x="15710" y="71259"/>
                    </a:cubicBezTo>
                    <a:cubicBezTo>
                      <a:pt x="15710" y="60897"/>
                      <a:pt x="24003" y="52497"/>
                      <a:pt x="34231" y="52497"/>
                    </a:cubicBezTo>
                    <a:cubicBezTo>
                      <a:pt x="44460" y="52497"/>
                      <a:pt x="52753" y="60897"/>
                      <a:pt x="52753" y="71259"/>
                    </a:cubicBezTo>
                    <a:close/>
                    <a:moveTo>
                      <a:pt x="203041" y="71259"/>
                    </a:moveTo>
                    <a:cubicBezTo>
                      <a:pt x="203041" y="81621"/>
                      <a:pt x="194749" y="90021"/>
                      <a:pt x="184520" y="90021"/>
                    </a:cubicBezTo>
                    <a:cubicBezTo>
                      <a:pt x="174291" y="90021"/>
                      <a:pt x="165999" y="81621"/>
                      <a:pt x="165999" y="71259"/>
                    </a:cubicBezTo>
                    <a:cubicBezTo>
                      <a:pt x="165999" y="60897"/>
                      <a:pt x="174291" y="52497"/>
                      <a:pt x="184520" y="52497"/>
                    </a:cubicBezTo>
                    <a:cubicBezTo>
                      <a:pt x="194749" y="52497"/>
                      <a:pt x="203041" y="60897"/>
                      <a:pt x="203041" y="71259"/>
                    </a:cubicBezTo>
                    <a:close/>
                    <a:moveTo>
                      <a:pt x="43496" y="71254"/>
                    </a:moveTo>
                    <a:cubicBezTo>
                      <a:pt x="43496" y="66073"/>
                      <a:pt x="39350" y="61873"/>
                      <a:pt x="34236" y="61873"/>
                    </a:cubicBezTo>
                    <a:cubicBezTo>
                      <a:pt x="29121" y="61873"/>
                      <a:pt x="24975" y="66073"/>
                      <a:pt x="24975" y="71254"/>
                    </a:cubicBezTo>
                    <a:cubicBezTo>
                      <a:pt x="24975" y="76435"/>
                      <a:pt x="29121" y="80636"/>
                      <a:pt x="34236" y="80636"/>
                    </a:cubicBezTo>
                    <a:cubicBezTo>
                      <a:pt x="39350" y="80636"/>
                      <a:pt x="43496" y="76435"/>
                      <a:pt x="43496" y="71254"/>
                    </a:cubicBezTo>
                    <a:close/>
                    <a:moveTo>
                      <a:pt x="193784" y="71254"/>
                    </a:moveTo>
                    <a:cubicBezTo>
                      <a:pt x="193784" y="66073"/>
                      <a:pt x="189638" y="61873"/>
                      <a:pt x="184524" y="61873"/>
                    </a:cubicBezTo>
                    <a:cubicBezTo>
                      <a:pt x="179409" y="61873"/>
                      <a:pt x="175263" y="66073"/>
                      <a:pt x="175263" y="71254"/>
                    </a:cubicBezTo>
                    <a:cubicBezTo>
                      <a:pt x="175263" y="76435"/>
                      <a:pt x="179409" y="80636"/>
                      <a:pt x="184524" y="80636"/>
                    </a:cubicBezTo>
                    <a:cubicBezTo>
                      <a:pt x="189638" y="80636"/>
                      <a:pt x="193784" y="76435"/>
                      <a:pt x="193784" y="71254"/>
                    </a:cubicBezTo>
                    <a:close/>
                    <a:moveTo>
                      <a:pt x="50640" y="5677"/>
                    </a:moveTo>
                    <a:cubicBezTo>
                      <a:pt x="50640" y="5677"/>
                      <a:pt x="19036" y="0"/>
                      <a:pt x="0" y="24034"/>
                    </a:cubicBezTo>
                    <a:moveTo>
                      <a:pt x="170547" y="5677"/>
                    </a:moveTo>
                    <a:cubicBezTo>
                      <a:pt x="170547" y="5677"/>
                      <a:pt x="202151" y="0"/>
                      <a:pt x="221188" y="24034"/>
                    </a:cubicBezTo>
                  </a:path>
                </a:pathLst>
              </a:custGeom>
              <a:noFill/>
              <a:ln w="7143">
                <a:solidFill>
                  <a:srgbClr val="FFFFFF"/>
                </a:solidFill>
              </a:ln>
            </p:spPr>
            <p:txBody>
              <a:bodyPr rtlCol="0" anchor="ctr"/>
              <a:lstStyle/>
              <a:p>
                <a:pPr algn="ctr"/>
                <a:endParaRPr/>
              </a:p>
            </p:txBody>
          </p:sp>
        </p:grpSp>
        <p:grpSp>
          <p:nvGrpSpPr>
            <p:cNvPr id="27" name="Group 26">
              <a:extLst>
                <a:ext uri="{FF2B5EF4-FFF2-40B4-BE49-F238E27FC236}">
                  <a16:creationId xmlns:a16="http://schemas.microsoft.com/office/drawing/2014/main" id="{AE5CCC7D-83FA-801C-5F43-01AFB2CE28D8}"/>
                </a:ext>
              </a:extLst>
            </p:cNvPr>
            <p:cNvGrpSpPr/>
            <p:nvPr/>
          </p:nvGrpSpPr>
          <p:grpSpPr>
            <a:xfrm>
              <a:off x="7498929" y="3862960"/>
              <a:ext cx="666750" cy="1238290"/>
              <a:chOff x="4629150" y="3276558"/>
              <a:chExt cx="666750" cy="1238290"/>
            </a:xfrm>
          </p:grpSpPr>
          <p:sp>
            <p:nvSpPr>
              <p:cNvPr id="28" name="Rounded Rectangle 23">
                <a:extLst>
                  <a:ext uri="{FF2B5EF4-FFF2-40B4-BE49-F238E27FC236}">
                    <a16:creationId xmlns:a16="http://schemas.microsoft.com/office/drawing/2014/main" id="{2E33B16E-C71F-4B33-AE4F-6B8AF3054EEF}"/>
                  </a:ext>
                </a:extLst>
              </p:cNvPr>
              <p:cNvSpPr/>
              <p:nvPr/>
            </p:nvSpPr>
            <p:spPr>
              <a:xfrm>
                <a:off x="4636299" y="3276558"/>
                <a:ext cx="593806" cy="657108"/>
              </a:xfrm>
              <a:custGeom>
                <a:avLst/>
                <a:gdLst/>
                <a:ahLst/>
                <a:cxnLst/>
                <a:rect l="0" t="0" r="0" b="0"/>
                <a:pathLst>
                  <a:path w="593806" h="657108">
                    <a:moveTo>
                      <a:pt x="505673" y="406833"/>
                    </a:moveTo>
                    <a:cubicBezTo>
                      <a:pt x="505673" y="386490"/>
                      <a:pt x="491900" y="369552"/>
                      <a:pt x="473413" y="365010"/>
                    </a:cubicBezTo>
                    <a:lnTo>
                      <a:pt x="473339" y="365074"/>
                    </a:lnTo>
                    <a:cubicBezTo>
                      <a:pt x="451963" y="360638"/>
                      <a:pt x="458948" y="365074"/>
                      <a:pt x="455810" y="366884"/>
                    </a:cubicBezTo>
                    <a:cubicBezTo>
                      <a:pt x="395598" y="296527"/>
                      <a:pt x="400230" y="174575"/>
                      <a:pt x="400230" y="174575"/>
                    </a:cubicBezTo>
                    <a:cubicBezTo>
                      <a:pt x="400230" y="174575"/>
                      <a:pt x="349280" y="240241"/>
                      <a:pt x="270542" y="263693"/>
                    </a:cubicBezTo>
                    <a:cubicBezTo>
                      <a:pt x="191803" y="287146"/>
                      <a:pt x="71378" y="263010"/>
                      <a:pt x="71378" y="263010"/>
                    </a:cubicBezTo>
                    <a:lnTo>
                      <a:pt x="71378" y="367743"/>
                    </a:lnTo>
                    <a:cubicBezTo>
                      <a:pt x="71378" y="390337"/>
                      <a:pt x="68862" y="406833"/>
                      <a:pt x="77964" y="449508"/>
                    </a:cubicBezTo>
                    <a:cubicBezTo>
                      <a:pt x="94000" y="524689"/>
                      <a:pt x="150180" y="584721"/>
                      <a:pt x="222575" y="604105"/>
                    </a:cubicBezTo>
                    <a:lnTo>
                      <a:pt x="222575" y="657108"/>
                    </a:lnTo>
                    <a:cubicBezTo>
                      <a:pt x="222575" y="657108"/>
                      <a:pt x="122058" y="655788"/>
                      <a:pt x="47174" y="637792"/>
                    </a:cubicBezTo>
                    <a:cubicBezTo>
                      <a:pt x="22387" y="631835"/>
                      <a:pt x="8465" y="607401"/>
                      <a:pt x="13441" y="582399"/>
                    </a:cubicBezTo>
                    <a:cubicBezTo>
                      <a:pt x="27325" y="512634"/>
                      <a:pt x="49420" y="419956"/>
                      <a:pt x="23110" y="244248"/>
                    </a:cubicBezTo>
                    <a:cubicBezTo>
                      <a:pt x="0" y="89901"/>
                      <a:pt x="131702" y="0"/>
                      <a:pt x="262151" y="41"/>
                    </a:cubicBezTo>
                    <a:cubicBezTo>
                      <a:pt x="336349" y="65"/>
                      <a:pt x="410142" y="29316"/>
                      <a:pt x="454813" y="92039"/>
                    </a:cubicBezTo>
                    <a:cubicBezTo>
                      <a:pt x="535616" y="78266"/>
                      <a:pt x="567775" y="192547"/>
                      <a:pt x="578352" y="285657"/>
                    </a:cubicBezTo>
                    <a:cubicBezTo>
                      <a:pt x="589952" y="387792"/>
                      <a:pt x="593806" y="493052"/>
                      <a:pt x="567715" y="598439"/>
                    </a:cubicBezTo>
                    <a:cubicBezTo>
                      <a:pt x="563563" y="615212"/>
                      <a:pt x="551331" y="628883"/>
                      <a:pt x="534742" y="633711"/>
                    </a:cubicBezTo>
                    <a:cubicBezTo>
                      <a:pt x="482039" y="649047"/>
                      <a:pt x="413356" y="654838"/>
                      <a:pt x="376175" y="656526"/>
                    </a:cubicBezTo>
                    <a:lnTo>
                      <a:pt x="355209" y="634583"/>
                    </a:lnTo>
                    <a:lnTo>
                      <a:pt x="355209" y="592363"/>
                    </a:lnTo>
                    <a:cubicBezTo>
                      <a:pt x="411964" y="565907"/>
                      <a:pt x="455209" y="513252"/>
                      <a:pt x="468790" y="449508"/>
                    </a:cubicBezTo>
                    <a:cubicBezTo>
                      <a:pt x="489589" y="446953"/>
                      <a:pt x="505673" y="428785"/>
                      <a:pt x="505673" y="406833"/>
                    </a:cubicBezTo>
                    <a:close/>
                  </a:path>
                </a:pathLst>
              </a:custGeom>
              <a:solidFill>
                <a:srgbClr val="8AC6FF"/>
              </a:solidFill>
              <a:ln>
                <a:noFill/>
              </a:ln>
            </p:spPr>
            <p:txBody>
              <a:bodyPr rtlCol="0" anchor="ctr"/>
              <a:lstStyle/>
              <a:p>
                <a:pPr algn="ctr"/>
                <a:endParaRPr/>
              </a:p>
            </p:txBody>
          </p:sp>
          <p:sp>
            <p:nvSpPr>
              <p:cNvPr id="29" name="Rounded Rectangle 24">
                <a:extLst>
                  <a:ext uri="{FF2B5EF4-FFF2-40B4-BE49-F238E27FC236}">
                    <a16:creationId xmlns:a16="http://schemas.microsoft.com/office/drawing/2014/main" id="{28361955-79E5-4E78-3432-05E4A00797B4}"/>
                  </a:ext>
                </a:extLst>
              </p:cNvPr>
              <p:cNvSpPr/>
              <p:nvPr/>
            </p:nvSpPr>
            <p:spPr>
              <a:xfrm>
                <a:off x="4629150" y="3955219"/>
                <a:ext cx="666750" cy="559609"/>
              </a:xfrm>
              <a:custGeom>
                <a:avLst/>
                <a:gdLst/>
                <a:ahLst/>
                <a:cxnLst/>
                <a:rect l="0" t="0" r="0" b="0"/>
                <a:pathLst>
                  <a:path w="666750" h="559609">
                    <a:moveTo>
                      <a:pt x="264969" y="110968"/>
                    </a:moveTo>
                    <a:lnTo>
                      <a:pt x="362185" y="151987"/>
                    </a:lnTo>
                    <a:cubicBezTo>
                      <a:pt x="372322" y="156265"/>
                      <a:pt x="383802" y="150713"/>
                      <a:pt x="386404" y="139908"/>
                    </a:cubicBezTo>
                    <a:cubicBezTo>
                      <a:pt x="390023" y="124878"/>
                      <a:pt x="394667" y="102943"/>
                      <a:pt x="397487" y="79485"/>
                    </a:cubicBezTo>
                    <a:cubicBezTo>
                      <a:pt x="402632" y="36706"/>
                      <a:pt x="404449" y="0"/>
                      <a:pt x="404449" y="0"/>
                    </a:cubicBezTo>
                    <a:cubicBezTo>
                      <a:pt x="554596" y="33248"/>
                      <a:pt x="666750" y="170013"/>
                      <a:pt x="666750" y="333722"/>
                    </a:cubicBezTo>
                    <a:lnTo>
                      <a:pt x="666750" y="559609"/>
                    </a:lnTo>
                    <a:lnTo>
                      <a:pt x="537062" y="559609"/>
                    </a:lnTo>
                    <a:lnTo>
                      <a:pt x="140622" y="559609"/>
                    </a:lnTo>
                    <a:lnTo>
                      <a:pt x="0" y="559609"/>
                    </a:lnTo>
                    <a:lnTo>
                      <a:pt x="0" y="333722"/>
                    </a:lnTo>
                    <a:cubicBezTo>
                      <a:pt x="0" y="193858"/>
                      <a:pt x="82139" y="73637"/>
                      <a:pt x="199707" y="20877"/>
                    </a:cubicBezTo>
                    <a:lnTo>
                      <a:pt x="169769" y="113893"/>
                    </a:lnTo>
                    <a:cubicBezTo>
                      <a:pt x="164979" y="128774"/>
                      <a:pt x="179228" y="142702"/>
                      <a:pt x="193744" y="137329"/>
                    </a:cubicBezTo>
                    <a:lnTo>
                      <a:pt x="264969" y="110968"/>
                    </a:lnTo>
                    <a:close/>
                    <a:moveTo>
                      <a:pt x="537062" y="559609"/>
                    </a:moveTo>
                    <a:lnTo>
                      <a:pt x="0" y="559609"/>
                    </a:lnTo>
                    <a:lnTo>
                      <a:pt x="537062" y="559609"/>
                    </a:lnTo>
                    <a:close/>
                  </a:path>
                </a:pathLst>
              </a:custGeom>
              <a:solidFill>
                <a:srgbClr val="8AC6FF"/>
              </a:solidFill>
              <a:ln>
                <a:noFill/>
              </a:ln>
            </p:spPr>
            <p:txBody>
              <a:bodyPr rtlCol="0" anchor="ctr"/>
              <a:lstStyle/>
              <a:p>
                <a:pPr algn="ctr"/>
                <a:endParaRPr/>
              </a:p>
            </p:txBody>
          </p:sp>
          <p:sp>
            <p:nvSpPr>
              <p:cNvPr id="30" name="Rounded Rectangle 25">
                <a:extLst>
                  <a:ext uri="{FF2B5EF4-FFF2-40B4-BE49-F238E27FC236}">
                    <a16:creationId xmlns:a16="http://schemas.microsoft.com/office/drawing/2014/main" id="{D79782FA-272E-E148-8333-C740C596E121}"/>
                  </a:ext>
                </a:extLst>
              </p:cNvPr>
              <p:cNvSpPr/>
              <p:nvPr/>
            </p:nvSpPr>
            <p:spPr>
              <a:xfrm>
                <a:off x="4794132" y="3910979"/>
                <a:ext cx="239468" cy="200518"/>
              </a:xfrm>
              <a:custGeom>
                <a:avLst/>
                <a:gdLst/>
                <a:ahLst/>
                <a:cxnLst/>
                <a:rect l="0" t="0" r="0" b="0"/>
                <a:pathLst>
                  <a:path w="239468" h="200518">
                    <a:moveTo>
                      <a:pt x="239468" y="44253"/>
                    </a:moveTo>
                    <a:lnTo>
                      <a:pt x="197285" y="0"/>
                    </a:lnTo>
                    <a:lnTo>
                      <a:pt x="197285" y="43486"/>
                    </a:lnTo>
                    <a:lnTo>
                      <a:pt x="99988" y="155221"/>
                    </a:lnTo>
                    <a:lnTo>
                      <a:pt x="197204" y="196240"/>
                    </a:lnTo>
                    <a:cubicBezTo>
                      <a:pt x="207342" y="200518"/>
                      <a:pt x="218821" y="194966"/>
                      <a:pt x="221423" y="184162"/>
                    </a:cubicBezTo>
                    <a:cubicBezTo>
                      <a:pt x="225043" y="169131"/>
                      <a:pt x="229687" y="147195"/>
                      <a:pt x="232508" y="123738"/>
                    </a:cubicBezTo>
                    <a:cubicBezTo>
                      <a:pt x="237651" y="80958"/>
                      <a:pt x="239468" y="44253"/>
                      <a:pt x="239468" y="44253"/>
                    </a:cubicBezTo>
                    <a:close/>
                    <a:moveTo>
                      <a:pt x="28763" y="181582"/>
                    </a:moveTo>
                    <a:lnTo>
                      <a:pt x="99988" y="155221"/>
                    </a:lnTo>
                    <a:lnTo>
                      <a:pt x="64744" y="83161"/>
                    </a:lnTo>
                    <a:lnTo>
                      <a:pt x="64744" y="25212"/>
                    </a:lnTo>
                    <a:cubicBezTo>
                      <a:pt x="64744" y="25212"/>
                      <a:pt x="37094" y="64068"/>
                      <a:pt x="34727" y="65130"/>
                    </a:cubicBezTo>
                    <a:lnTo>
                      <a:pt x="4789" y="158146"/>
                    </a:lnTo>
                    <a:cubicBezTo>
                      <a:pt x="0" y="173027"/>
                      <a:pt x="14247" y="186955"/>
                      <a:pt x="28763" y="181582"/>
                    </a:cubicBezTo>
                    <a:close/>
                  </a:path>
                </a:pathLst>
              </a:custGeom>
              <a:solidFill>
                <a:srgbClr val="8AC6FF"/>
              </a:solidFill>
              <a:ln>
                <a:noFill/>
              </a:ln>
            </p:spPr>
            <p:txBody>
              <a:bodyPr rtlCol="0" anchor="ctr"/>
              <a:lstStyle/>
              <a:p>
                <a:pPr algn="ctr"/>
                <a:endParaRPr/>
              </a:p>
            </p:txBody>
          </p:sp>
          <p:sp>
            <p:nvSpPr>
              <p:cNvPr id="31" name="Rounded Rectangle 26">
                <a:extLst>
                  <a:ext uri="{FF2B5EF4-FFF2-40B4-BE49-F238E27FC236}">
                    <a16:creationId xmlns:a16="http://schemas.microsoft.com/office/drawing/2014/main" id="{04D93E05-413D-9901-11EC-5ED7867D7496}"/>
                  </a:ext>
                </a:extLst>
              </p:cNvPr>
              <p:cNvSpPr/>
              <p:nvPr/>
            </p:nvSpPr>
            <p:spPr>
              <a:xfrm>
                <a:off x="4636299" y="3276558"/>
                <a:ext cx="593806" cy="657108"/>
              </a:xfrm>
              <a:custGeom>
                <a:avLst/>
                <a:gdLst/>
                <a:ahLst/>
                <a:cxnLst/>
                <a:rect l="0" t="0" r="0" b="0"/>
                <a:pathLst>
                  <a:path w="593806" h="657108">
                    <a:moveTo>
                      <a:pt x="505673" y="406833"/>
                    </a:moveTo>
                    <a:cubicBezTo>
                      <a:pt x="505673" y="386490"/>
                      <a:pt x="491900" y="369552"/>
                      <a:pt x="473413" y="365010"/>
                    </a:cubicBezTo>
                    <a:lnTo>
                      <a:pt x="473339" y="365074"/>
                    </a:lnTo>
                    <a:cubicBezTo>
                      <a:pt x="451963" y="360638"/>
                      <a:pt x="458948" y="365074"/>
                      <a:pt x="455810" y="366884"/>
                    </a:cubicBezTo>
                    <a:cubicBezTo>
                      <a:pt x="395598" y="296527"/>
                      <a:pt x="400230" y="174575"/>
                      <a:pt x="400230" y="174575"/>
                    </a:cubicBezTo>
                    <a:cubicBezTo>
                      <a:pt x="400230" y="174575"/>
                      <a:pt x="349280" y="240241"/>
                      <a:pt x="270542" y="263693"/>
                    </a:cubicBezTo>
                    <a:cubicBezTo>
                      <a:pt x="191803" y="287146"/>
                      <a:pt x="71378" y="263010"/>
                      <a:pt x="71378" y="263010"/>
                    </a:cubicBezTo>
                    <a:lnTo>
                      <a:pt x="71378" y="367743"/>
                    </a:lnTo>
                    <a:cubicBezTo>
                      <a:pt x="71378" y="390337"/>
                      <a:pt x="68862" y="406833"/>
                      <a:pt x="77964" y="449508"/>
                    </a:cubicBezTo>
                    <a:cubicBezTo>
                      <a:pt x="94000" y="524689"/>
                      <a:pt x="150180" y="584721"/>
                      <a:pt x="222575" y="604105"/>
                    </a:cubicBezTo>
                    <a:lnTo>
                      <a:pt x="222575" y="657108"/>
                    </a:lnTo>
                    <a:cubicBezTo>
                      <a:pt x="222575" y="657108"/>
                      <a:pt x="122058" y="655788"/>
                      <a:pt x="47174" y="637792"/>
                    </a:cubicBezTo>
                    <a:cubicBezTo>
                      <a:pt x="22387" y="631835"/>
                      <a:pt x="8465" y="607401"/>
                      <a:pt x="13441" y="582399"/>
                    </a:cubicBezTo>
                    <a:cubicBezTo>
                      <a:pt x="27325" y="512634"/>
                      <a:pt x="49420" y="419956"/>
                      <a:pt x="23110" y="244248"/>
                    </a:cubicBezTo>
                    <a:cubicBezTo>
                      <a:pt x="0" y="89901"/>
                      <a:pt x="131702" y="0"/>
                      <a:pt x="262151" y="41"/>
                    </a:cubicBezTo>
                    <a:cubicBezTo>
                      <a:pt x="336349" y="65"/>
                      <a:pt x="410142" y="29316"/>
                      <a:pt x="454813" y="92039"/>
                    </a:cubicBezTo>
                    <a:cubicBezTo>
                      <a:pt x="535616" y="78266"/>
                      <a:pt x="567775" y="192547"/>
                      <a:pt x="578352" y="285657"/>
                    </a:cubicBezTo>
                    <a:cubicBezTo>
                      <a:pt x="589952" y="387792"/>
                      <a:pt x="593806" y="493052"/>
                      <a:pt x="567715" y="598439"/>
                    </a:cubicBezTo>
                    <a:cubicBezTo>
                      <a:pt x="563563" y="615212"/>
                      <a:pt x="551331" y="628883"/>
                      <a:pt x="534742" y="633711"/>
                    </a:cubicBezTo>
                    <a:cubicBezTo>
                      <a:pt x="482039" y="649047"/>
                      <a:pt x="413356" y="654838"/>
                      <a:pt x="376175" y="656526"/>
                    </a:cubicBezTo>
                    <a:lnTo>
                      <a:pt x="355209" y="634583"/>
                    </a:lnTo>
                    <a:lnTo>
                      <a:pt x="355209" y="592363"/>
                    </a:lnTo>
                    <a:cubicBezTo>
                      <a:pt x="411964" y="565907"/>
                      <a:pt x="455209" y="513252"/>
                      <a:pt x="468790" y="449508"/>
                    </a:cubicBezTo>
                    <a:cubicBezTo>
                      <a:pt x="489589" y="446953"/>
                      <a:pt x="505673" y="428785"/>
                      <a:pt x="505673" y="406833"/>
                    </a:cubicBezTo>
                    <a:close/>
                  </a:path>
                </a:pathLst>
              </a:custGeom>
              <a:noFill/>
              <a:ln w="7143">
                <a:solidFill>
                  <a:srgbClr val="8AC6FF"/>
                </a:solidFill>
              </a:ln>
            </p:spPr>
            <p:txBody>
              <a:bodyPr rtlCol="0" anchor="ctr"/>
              <a:lstStyle/>
              <a:p>
                <a:pPr algn="ctr"/>
                <a:endParaRPr/>
              </a:p>
            </p:txBody>
          </p:sp>
          <p:sp>
            <p:nvSpPr>
              <p:cNvPr id="32" name="Rounded Rectangle 27">
                <a:extLst>
                  <a:ext uri="{FF2B5EF4-FFF2-40B4-BE49-F238E27FC236}">
                    <a16:creationId xmlns:a16="http://schemas.microsoft.com/office/drawing/2014/main" id="{2D3157F1-ABCA-BA8A-F2BD-F1EBEC2FE39B}"/>
                  </a:ext>
                </a:extLst>
              </p:cNvPr>
              <p:cNvSpPr/>
              <p:nvPr/>
            </p:nvSpPr>
            <p:spPr>
              <a:xfrm>
                <a:off x="4629150" y="3955219"/>
                <a:ext cx="666750" cy="559609"/>
              </a:xfrm>
              <a:custGeom>
                <a:avLst/>
                <a:gdLst/>
                <a:ahLst/>
                <a:cxnLst/>
                <a:rect l="0" t="0" r="0" b="0"/>
                <a:pathLst>
                  <a:path w="666750" h="559609">
                    <a:moveTo>
                      <a:pt x="264969" y="110968"/>
                    </a:moveTo>
                    <a:lnTo>
                      <a:pt x="362185" y="151987"/>
                    </a:lnTo>
                    <a:cubicBezTo>
                      <a:pt x="372322" y="156265"/>
                      <a:pt x="383802" y="150713"/>
                      <a:pt x="386404" y="139908"/>
                    </a:cubicBezTo>
                    <a:cubicBezTo>
                      <a:pt x="390023" y="124878"/>
                      <a:pt x="394667" y="102943"/>
                      <a:pt x="397487" y="79485"/>
                    </a:cubicBezTo>
                    <a:cubicBezTo>
                      <a:pt x="402632" y="36706"/>
                      <a:pt x="404449" y="0"/>
                      <a:pt x="404449" y="0"/>
                    </a:cubicBezTo>
                    <a:cubicBezTo>
                      <a:pt x="554596" y="33248"/>
                      <a:pt x="666750" y="170013"/>
                      <a:pt x="666750" y="333722"/>
                    </a:cubicBezTo>
                    <a:lnTo>
                      <a:pt x="666750" y="559609"/>
                    </a:lnTo>
                    <a:lnTo>
                      <a:pt x="537062" y="559609"/>
                    </a:lnTo>
                    <a:lnTo>
                      <a:pt x="140622" y="559609"/>
                    </a:lnTo>
                    <a:lnTo>
                      <a:pt x="0" y="559609"/>
                    </a:lnTo>
                    <a:lnTo>
                      <a:pt x="0" y="333722"/>
                    </a:lnTo>
                    <a:cubicBezTo>
                      <a:pt x="0" y="193858"/>
                      <a:pt x="82139" y="73637"/>
                      <a:pt x="199707" y="20877"/>
                    </a:cubicBezTo>
                    <a:lnTo>
                      <a:pt x="169769" y="113893"/>
                    </a:lnTo>
                    <a:cubicBezTo>
                      <a:pt x="164979" y="128774"/>
                      <a:pt x="179228" y="142702"/>
                      <a:pt x="193744" y="137329"/>
                    </a:cubicBezTo>
                    <a:lnTo>
                      <a:pt x="264969" y="110968"/>
                    </a:lnTo>
                    <a:close/>
                    <a:moveTo>
                      <a:pt x="537062" y="559609"/>
                    </a:moveTo>
                    <a:lnTo>
                      <a:pt x="0" y="559609"/>
                    </a:lnTo>
                    <a:lnTo>
                      <a:pt x="537062" y="559609"/>
                    </a:lnTo>
                    <a:close/>
                  </a:path>
                </a:pathLst>
              </a:custGeom>
              <a:noFill/>
              <a:ln w="7143">
                <a:solidFill>
                  <a:srgbClr val="8AC6FF"/>
                </a:solidFill>
              </a:ln>
            </p:spPr>
            <p:txBody>
              <a:bodyPr rtlCol="0" anchor="ctr"/>
              <a:lstStyle/>
              <a:p>
                <a:pPr algn="ctr"/>
                <a:endParaRPr/>
              </a:p>
            </p:txBody>
          </p:sp>
          <p:sp>
            <p:nvSpPr>
              <p:cNvPr id="33" name="Rounded Rectangle 28">
                <a:extLst>
                  <a:ext uri="{FF2B5EF4-FFF2-40B4-BE49-F238E27FC236}">
                    <a16:creationId xmlns:a16="http://schemas.microsoft.com/office/drawing/2014/main" id="{B1AC4093-E844-57D6-68B0-99703D30509C}"/>
                  </a:ext>
                </a:extLst>
              </p:cNvPr>
              <p:cNvSpPr/>
              <p:nvPr/>
            </p:nvSpPr>
            <p:spPr>
              <a:xfrm>
                <a:off x="4716285" y="3910979"/>
                <a:ext cx="449930" cy="603869"/>
              </a:xfrm>
              <a:custGeom>
                <a:avLst/>
                <a:gdLst/>
                <a:ahLst/>
                <a:cxnLst/>
                <a:rect l="0" t="0" r="0" b="0"/>
                <a:pathLst>
                  <a:path w="449930" h="603869">
                    <a:moveTo>
                      <a:pt x="317315" y="44253"/>
                    </a:moveTo>
                    <a:lnTo>
                      <a:pt x="275132" y="0"/>
                    </a:lnTo>
                    <a:lnTo>
                      <a:pt x="275132" y="43486"/>
                    </a:lnTo>
                    <a:lnTo>
                      <a:pt x="177835" y="155221"/>
                    </a:lnTo>
                    <a:lnTo>
                      <a:pt x="275051" y="196240"/>
                    </a:lnTo>
                    <a:cubicBezTo>
                      <a:pt x="285189" y="200518"/>
                      <a:pt x="296668" y="194966"/>
                      <a:pt x="299270" y="184162"/>
                    </a:cubicBezTo>
                    <a:cubicBezTo>
                      <a:pt x="302890" y="169131"/>
                      <a:pt x="307534" y="147195"/>
                      <a:pt x="310355" y="123738"/>
                    </a:cubicBezTo>
                    <a:cubicBezTo>
                      <a:pt x="315498" y="80958"/>
                      <a:pt x="317315" y="44253"/>
                      <a:pt x="317315" y="44253"/>
                    </a:cubicBezTo>
                    <a:close/>
                    <a:moveTo>
                      <a:pt x="106610" y="181582"/>
                    </a:moveTo>
                    <a:lnTo>
                      <a:pt x="177835" y="155221"/>
                    </a:lnTo>
                    <a:lnTo>
                      <a:pt x="142591" y="83161"/>
                    </a:lnTo>
                    <a:lnTo>
                      <a:pt x="142591" y="25212"/>
                    </a:lnTo>
                    <a:cubicBezTo>
                      <a:pt x="142591" y="25212"/>
                      <a:pt x="114941" y="64068"/>
                      <a:pt x="112574" y="65130"/>
                    </a:cubicBezTo>
                    <a:lnTo>
                      <a:pt x="82636" y="158146"/>
                    </a:lnTo>
                    <a:cubicBezTo>
                      <a:pt x="77847" y="173027"/>
                      <a:pt x="92094" y="186955"/>
                      <a:pt x="106610" y="181582"/>
                    </a:cubicBezTo>
                    <a:close/>
                    <a:moveTo>
                      <a:pt x="177837" y="155227"/>
                    </a:moveTo>
                    <a:lnTo>
                      <a:pt x="132588" y="318951"/>
                    </a:lnTo>
                    <a:cubicBezTo>
                      <a:pt x="103503" y="448297"/>
                      <a:pt x="161303" y="504166"/>
                      <a:pt x="162195" y="601699"/>
                    </a:cubicBezTo>
                    <a:moveTo>
                      <a:pt x="449930" y="603869"/>
                    </a:moveTo>
                    <a:lnTo>
                      <a:pt x="449930" y="284916"/>
                    </a:lnTo>
                    <a:moveTo>
                      <a:pt x="53490" y="603869"/>
                    </a:moveTo>
                    <a:cubicBezTo>
                      <a:pt x="53490" y="603869"/>
                      <a:pt x="49010" y="554512"/>
                      <a:pt x="41712" y="511507"/>
                    </a:cubicBezTo>
                    <a:cubicBezTo>
                      <a:pt x="35358" y="474067"/>
                      <a:pt x="18682" y="464330"/>
                      <a:pt x="8911" y="416103"/>
                    </a:cubicBezTo>
                    <a:cubicBezTo>
                      <a:pt x="0" y="372116"/>
                      <a:pt x="10460" y="322337"/>
                      <a:pt x="41712" y="284916"/>
                    </a:cubicBezTo>
                    <a:moveTo>
                      <a:pt x="193091" y="298979"/>
                    </a:moveTo>
                    <a:lnTo>
                      <a:pt x="304252" y="298979"/>
                    </a:lnTo>
                  </a:path>
                </a:pathLst>
              </a:custGeom>
              <a:noFill/>
              <a:ln w="7143">
                <a:solidFill>
                  <a:srgbClr val="8AC6FF"/>
                </a:solidFill>
              </a:ln>
            </p:spPr>
            <p:txBody>
              <a:bodyPr rtlCol="0" anchor="ctr"/>
              <a:lstStyle/>
              <a:p>
                <a:pPr algn="ctr"/>
                <a:endParaRPr/>
              </a:p>
            </p:txBody>
          </p:sp>
        </p:grpSp>
        <p:grpSp>
          <p:nvGrpSpPr>
            <p:cNvPr id="34" name="Group 33">
              <a:extLst>
                <a:ext uri="{FF2B5EF4-FFF2-40B4-BE49-F238E27FC236}">
                  <a16:creationId xmlns:a16="http://schemas.microsoft.com/office/drawing/2014/main" id="{DEE487A7-AA8A-7FD7-53CF-4BF72FF915E2}"/>
                </a:ext>
              </a:extLst>
            </p:cNvPr>
            <p:cNvGrpSpPr/>
            <p:nvPr/>
          </p:nvGrpSpPr>
          <p:grpSpPr>
            <a:xfrm>
              <a:off x="7574940" y="4037577"/>
              <a:ext cx="436810" cy="614869"/>
              <a:chOff x="4705161" y="3451175"/>
              <a:chExt cx="436810" cy="614869"/>
            </a:xfrm>
          </p:grpSpPr>
          <p:sp>
            <p:nvSpPr>
              <p:cNvPr id="35" name="Rounded Rectangle 30">
                <a:extLst>
                  <a:ext uri="{FF2B5EF4-FFF2-40B4-BE49-F238E27FC236}">
                    <a16:creationId xmlns:a16="http://schemas.microsoft.com/office/drawing/2014/main" id="{938E150C-7303-46F6-8EE7-574CD3410281}"/>
                  </a:ext>
                </a:extLst>
              </p:cNvPr>
              <p:cNvSpPr/>
              <p:nvPr/>
            </p:nvSpPr>
            <p:spPr>
              <a:xfrm>
                <a:off x="4858866" y="3868973"/>
                <a:ext cx="132692" cy="197071"/>
              </a:xfrm>
              <a:custGeom>
                <a:avLst/>
                <a:gdLst/>
                <a:ahLst/>
                <a:cxnLst/>
                <a:rect l="0" t="0" r="0" b="0"/>
                <a:pathLst>
                  <a:path w="132692" h="197071">
                    <a:moveTo>
                      <a:pt x="0" y="11678"/>
                    </a:moveTo>
                    <a:cubicBezTo>
                      <a:pt x="19464" y="17582"/>
                      <a:pt x="45117" y="19490"/>
                      <a:pt x="64850" y="18127"/>
                    </a:cubicBezTo>
                    <a:cubicBezTo>
                      <a:pt x="84583" y="16764"/>
                      <a:pt x="118604" y="7288"/>
                      <a:pt x="132692" y="0"/>
                    </a:cubicBezTo>
                    <a:cubicBezTo>
                      <a:pt x="132692" y="0"/>
                      <a:pt x="132659" y="67278"/>
                      <a:pt x="132659" y="85292"/>
                    </a:cubicBezTo>
                    <a:lnTo>
                      <a:pt x="35151" y="197071"/>
                    </a:lnTo>
                    <a:lnTo>
                      <a:pt x="0" y="125130"/>
                    </a:lnTo>
                    <a:lnTo>
                      <a:pt x="0" y="11678"/>
                    </a:lnTo>
                    <a:close/>
                  </a:path>
                </a:pathLst>
              </a:custGeom>
              <a:solidFill>
                <a:srgbClr val="666666"/>
              </a:solidFill>
              <a:ln>
                <a:noFill/>
              </a:ln>
            </p:spPr>
            <p:txBody>
              <a:bodyPr rtlCol="0" anchor="ctr"/>
              <a:lstStyle/>
              <a:p>
                <a:pPr algn="ctr"/>
                <a:endParaRPr/>
              </a:p>
            </p:txBody>
          </p:sp>
          <p:sp>
            <p:nvSpPr>
              <p:cNvPr id="36" name="Rounded Rectangle 31">
                <a:extLst>
                  <a:ext uri="{FF2B5EF4-FFF2-40B4-BE49-F238E27FC236}">
                    <a16:creationId xmlns:a16="http://schemas.microsoft.com/office/drawing/2014/main" id="{E3F8A080-3732-42C7-F300-BB3A1288DA16}"/>
                  </a:ext>
                </a:extLst>
              </p:cNvPr>
              <p:cNvSpPr/>
              <p:nvPr/>
            </p:nvSpPr>
            <p:spPr>
              <a:xfrm>
                <a:off x="4705161" y="3451175"/>
                <a:ext cx="436810" cy="436264"/>
              </a:xfrm>
              <a:custGeom>
                <a:avLst/>
                <a:gdLst/>
                <a:ahLst/>
                <a:cxnLst/>
                <a:rect l="0" t="0" r="0" b="0"/>
                <a:pathLst>
                  <a:path w="436810" h="436264">
                    <a:moveTo>
                      <a:pt x="404550" y="190436"/>
                    </a:moveTo>
                    <a:cubicBezTo>
                      <a:pt x="423037" y="194977"/>
                      <a:pt x="436810" y="211915"/>
                      <a:pt x="436810" y="232258"/>
                    </a:cubicBezTo>
                    <a:cubicBezTo>
                      <a:pt x="436810" y="254211"/>
                      <a:pt x="420726" y="272378"/>
                      <a:pt x="399929" y="274933"/>
                    </a:cubicBezTo>
                    <a:cubicBezTo>
                      <a:pt x="380332" y="366906"/>
                      <a:pt x="300003" y="436264"/>
                      <a:pt x="204515" y="436264"/>
                    </a:cubicBezTo>
                    <a:cubicBezTo>
                      <a:pt x="109026" y="436264"/>
                      <a:pt x="28698" y="366811"/>
                      <a:pt x="9102" y="274933"/>
                    </a:cubicBezTo>
                    <a:cubicBezTo>
                      <a:pt x="0" y="232258"/>
                      <a:pt x="2516" y="215763"/>
                      <a:pt x="2516" y="193167"/>
                    </a:cubicBezTo>
                    <a:cubicBezTo>
                      <a:pt x="2516" y="112572"/>
                      <a:pt x="2516" y="117949"/>
                      <a:pt x="2516" y="88435"/>
                    </a:cubicBezTo>
                    <a:cubicBezTo>
                      <a:pt x="2516" y="88435"/>
                      <a:pt x="122941" y="112572"/>
                      <a:pt x="201679" y="89119"/>
                    </a:cubicBezTo>
                    <a:cubicBezTo>
                      <a:pt x="280418" y="65667"/>
                      <a:pt x="331367" y="0"/>
                      <a:pt x="331367" y="0"/>
                    </a:cubicBezTo>
                    <a:cubicBezTo>
                      <a:pt x="331367" y="0"/>
                      <a:pt x="326736" y="121953"/>
                      <a:pt x="386948" y="192310"/>
                    </a:cubicBezTo>
                    <a:cubicBezTo>
                      <a:pt x="390085" y="190499"/>
                      <a:pt x="383100" y="186064"/>
                      <a:pt x="404477" y="190499"/>
                    </a:cubicBezTo>
                    <a:lnTo>
                      <a:pt x="404550" y="190436"/>
                    </a:lnTo>
                    <a:close/>
                  </a:path>
                </a:pathLst>
              </a:custGeom>
              <a:solidFill>
                <a:srgbClr val="666666"/>
              </a:solidFill>
              <a:ln>
                <a:noFill/>
              </a:ln>
            </p:spPr>
            <p:txBody>
              <a:bodyPr rtlCol="0" anchor="ctr"/>
              <a:lstStyle/>
              <a:p>
                <a:pPr algn="ctr"/>
                <a:endParaRPr/>
              </a:p>
            </p:txBody>
          </p:sp>
          <p:sp>
            <p:nvSpPr>
              <p:cNvPr id="37" name="Rounded Rectangle 32">
                <a:extLst>
                  <a:ext uri="{FF2B5EF4-FFF2-40B4-BE49-F238E27FC236}">
                    <a16:creationId xmlns:a16="http://schemas.microsoft.com/office/drawing/2014/main" id="{FC973841-E07B-26A4-B806-5CD413E33365}"/>
                  </a:ext>
                </a:extLst>
              </p:cNvPr>
              <p:cNvSpPr/>
              <p:nvPr/>
            </p:nvSpPr>
            <p:spPr>
              <a:xfrm>
                <a:off x="4820282" y="3767770"/>
                <a:ext cx="102107" cy="45763"/>
              </a:xfrm>
              <a:custGeom>
                <a:avLst/>
                <a:gdLst/>
                <a:ahLst/>
                <a:cxnLst/>
                <a:rect l="0" t="0" r="0" b="0"/>
                <a:pathLst>
                  <a:path w="102107" h="45763">
                    <a:moveTo>
                      <a:pt x="102107" y="0"/>
                    </a:moveTo>
                    <a:cubicBezTo>
                      <a:pt x="87173" y="45763"/>
                      <a:pt x="14861" y="45544"/>
                      <a:pt x="0" y="0"/>
                    </a:cubicBezTo>
                    <a:lnTo>
                      <a:pt x="102107" y="0"/>
                    </a:lnTo>
                    <a:close/>
                  </a:path>
                </a:pathLst>
              </a:custGeom>
              <a:solidFill>
                <a:srgbClr val="666666"/>
              </a:solidFill>
              <a:ln>
                <a:noFill/>
              </a:ln>
            </p:spPr>
            <p:txBody>
              <a:bodyPr rtlCol="0" anchor="ctr"/>
              <a:lstStyle/>
              <a:p>
                <a:pPr algn="ctr"/>
                <a:endParaRPr/>
              </a:p>
            </p:txBody>
          </p:sp>
          <p:sp>
            <p:nvSpPr>
              <p:cNvPr id="38" name="Rounded Rectangle 33">
                <a:extLst>
                  <a:ext uri="{FF2B5EF4-FFF2-40B4-BE49-F238E27FC236}">
                    <a16:creationId xmlns:a16="http://schemas.microsoft.com/office/drawing/2014/main" id="{C16DCEF4-E8C0-4351-C582-FD011100D833}"/>
                  </a:ext>
                </a:extLst>
              </p:cNvPr>
              <p:cNvSpPr/>
              <p:nvPr/>
            </p:nvSpPr>
            <p:spPr>
              <a:xfrm>
                <a:off x="4858866" y="3868973"/>
                <a:ext cx="132692" cy="197071"/>
              </a:xfrm>
              <a:custGeom>
                <a:avLst/>
                <a:gdLst/>
                <a:ahLst/>
                <a:cxnLst/>
                <a:rect l="0" t="0" r="0" b="0"/>
                <a:pathLst>
                  <a:path w="132692" h="197071">
                    <a:moveTo>
                      <a:pt x="0" y="11678"/>
                    </a:moveTo>
                    <a:cubicBezTo>
                      <a:pt x="19464" y="17582"/>
                      <a:pt x="45117" y="19490"/>
                      <a:pt x="64850" y="18127"/>
                    </a:cubicBezTo>
                    <a:cubicBezTo>
                      <a:pt x="84583" y="16764"/>
                      <a:pt x="118604" y="7288"/>
                      <a:pt x="132692" y="0"/>
                    </a:cubicBezTo>
                    <a:cubicBezTo>
                      <a:pt x="132692" y="0"/>
                      <a:pt x="132659" y="67278"/>
                      <a:pt x="132659" y="85292"/>
                    </a:cubicBezTo>
                    <a:lnTo>
                      <a:pt x="35151" y="197071"/>
                    </a:lnTo>
                    <a:lnTo>
                      <a:pt x="0" y="125130"/>
                    </a:lnTo>
                    <a:lnTo>
                      <a:pt x="0" y="11678"/>
                    </a:lnTo>
                    <a:close/>
                  </a:path>
                </a:pathLst>
              </a:custGeom>
              <a:noFill/>
              <a:ln w="7143">
                <a:solidFill>
                  <a:srgbClr val="FFFFFF"/>
                </a:solidFill>
              </a:ln>
            </p:spPr>
            <p:txBody>
              <a:bodyPr rtlCol="0" anchor="ctr"/>
              <a:lstStyle/>
              <a:p>
                <a:pPr algn="ctr"/>
                <a:endParaRPr/>
              </a:p>
            </p:txBody>
          </p:sp>
          <p:sp>
            <p:nvSpPr>
              <p:cNvPr id="39" name="Rounded Rectangle 34">
                <a:extLst>
                  <a:ext uri="{FF2B5EF4-FFF2-40B4-BE49-F238E27FC236}">
                    <a16:creationId xmlns:a16="http://schemas.microsoft.com/office/drawing/2014/main" id="{AC648B80-8BFA-493C-1890-FD5C2AD851E6}"/>
                  </a:ext>
                </a:extLst>
              </p:cNvPr>
              <p:cNvSpPr/>
              <p:nvPr/>
            </p:nvSpPr>
            <p:spPr>
              <a:xfrm>
                <a:off x="4705161" y="3451175"/>
                <a:ext cx="436810" cy="436264"/>
              </a:xfrm>
              <a:custGeom>
                <a:avLst/>
                <a:gdLst/>
                <a:ahLst/>
                <a:cxnLst/>
                <a:rect l="0" t="0" r="0" b="0"/>
                <a:pathLst>
                  <a:path w="436810" h="436264">
                    <a:moveTo>
                      <a:pt x="404550" y="190436"/>
                    </a:moveTo>
                    <a:cubicBezTo>
                      <a:pt x="423037" y="194977"/>
                      <a:pt x="436810" y="211915"/>
                      <a:pt x="436810" y="232258"/>
                    </a:cubicBezTo>
                    <a:cubicBezTo>
                      <a:pt x="436810" y="254211"/>
                      <a:pt x="420726" y="272378"/>
                      <a:pt x="399929" y="274933"/>
                    </a:cubicBezTo>
                    <a:cubicBezTo>
                      <a:pt x="380332" y="366906"/>
                      <a:pt x="300003" y="436264"/>
                      <a:pt x="204515" y="436264"/>
                    </a:cubicBezTo>
                    <a:cubicBezTo>
                      <a:pt x="109026" y="436264"/>
                      <a:pt x="28698" y="366811"/>
                      <a:pt x="9102" y="274933"/>
                    </a:cubicBezTo>
                    <a:cubicBezTo>
                      <a:pt x="0" y="232258"/>
                      <a:pt x="2516" y="215763"/>
                      <a:pt x="2516" y="193167"/>
                    </a:cubicBezTo>
                    <a:cubicBezTo>
                      <a:pt x="2516" y="112572"/>
                      <a:pt x="2516" y="117949"/>
                      <a:pt x="2516" y="88435"/>
                    </a:cubicBezTo>
                    <a:cubicBezTo>
                      <a:pt x="2516" y="88435"/>
                      <a:pt x="122941" y="112572"/>
                      <a:pt x="201679" y="89119"/>
                    </a:cubicBezTo>
                    <a:cubicBezTo>
                      <a:pt x="280418" y="65667"/>
                      <a:pt x="331367" y="0"/>
                      <a:pt x="331367" y="0"/>
                    </a:cubicBezTo>
                    <a:cubicBezTo>
                      <a:pt x="331367" y="0"/>
                      <a:pt x="326736" y="121953"/>
                      <a:pt x="386948" y="192310"/>
                    </a:cubicBezTo>
                    <a:cubicBezTo>
                      <a:pt x="390085" y="190499"/>
                      <a:pt x="383100" y="186064"/>
                      <a:pt x="404477" y="190499"/>
                    </a:cubicBezTo>
                    <a:lnTo>
                      <a:pt x="404550" y="190436"/>
                    </a:lnTo>
                    <a:close/>
                  </a:path>
                </a:pathLst>
              </a:custGeom>
              <a:noFill/>
              <a:ln w="7143">
                <a:solidFill>
                  <a:srgbClr val="FFFFFF"/>
                </a:solidFill>
              </a:ln>
            </p:spPr>
            <p:txBody>
              <a:bodyPr rtlCol="0" anchor="ctr"/>
              <a:lstStyle/>
              <a:p>
                <a:pPr algn="ctr"/>
                <a:endParaRPr/>
              </a:p>
            </p:txBody>
          </p:sp>
          <p:sp>
            <p:nvSpPr>
              <p:cNvPr id="40" name="Rounded Rectangle 35">
                <a:extLst>
                  <a:ext uri="{FF2B5EF4-FFF2-40B4-BE49-F238E27FC236}">
                    <a16:creationId xmlns:a16="http://schemas.microsoft.com/office/drawing/2014/main" id="{23621DCE-274B-EED4-3908-519846A8242D}"/>
                  </a:ext>
                </a:extLst>
              </p:cNvPr>
              <p:cNvSpPr/>
              <p:nvPr/>
            </p:nvSpPr>
            <p:spPr>
              <a:xfrm>
                <a:off x="4751626" y="3572695"/>
                <a:ext cx="221250" cy="240838"/>
              </a:xfrm>
              <a:custGeom>
                <a:avLst/>
                <a:gdLst/>
                <a:ahLst/>
                <a:cxnLst/>
                <a:rect l="0" t="0" r="0" b="0"/>
                <a:pathLst>
                  <a:path w="221250" h="240838">
                    <a:moveTo>
                      <a:pt x="170763" y="195074"/>
                    </a:moveTo>
                    <a:cubicBezTo>
                      <a:pt x="155830" y="240838"/>
                      <a:pt x="83518" y="240619"/>
                      <a:pt x="68656" y="195074"/>
                    </a:cubicBezTo>
                    <a:close/>
                    <a:moveTo>
                      <a:pt x="168594" y="71259"/>
                    </a:moveTo>
                    <a:cubicBezTo>
                      <a:pt x="168594" y="81621"/>
                      <a:pt x="176885" y="90021"/>
                      <a:pt x="187114" y="90021"/>
                    </a:cubicBezTo>
                    <a:cubicBezTo>
                      <a:pt x="197342" y="90021"/>
                      <a:pt x="205634" y="81621"/>
                      <a:pt x="205634" y="71259"/>
                    </a:cubicBezTo>
                    <a:cubicBezTo>
                      <a:pt x="205634" y="60897"/>
                      <a:pt x="197342" y="52497"/>
                      <a:pt x="187114" y="52497"/>
                    </a:cubicBezTo>
                    <a:cubicBezTo>
                      <a:pt x="176885" y="52497"/>
                      <a:pt x="168594" y="60897"/>
                      <a:pt x="168594" y="71259"/>
                    </a:cubicBezTo>
                    <a:close/>
                    <a:moveTo>
                      <a:pt x="18315" y="71259"/>
                    </a:moveTo>
                    <a:cubicBezTo>
                      <a:pt x="18315" y="81621"/>
                      <a:pt x="26606" y="90021"/>
                      <a:pt x="36835" y="90021"/>
                    </a:cubicBezTo>
                    <a:cubicBezTo>
                      <a:pt x="47063" y="90021"/>
                      <a:pt x="55355" y="81621"/>
                      <a:pt x="55355" y="71259"/>
                    </a:cubicBezTo>
                    <a:cubicBezTo>
                      <a:pt x="55355" y="60897"/>
                      <a:pt x="47063" y="52497"/>
                      <a:pt x="36835" y="52497"/>
                    </a:cubicBezTo>
                    <a:cubicBezTo>
                      <a:pt x="26606" y="52497"/>
                      <a:pt x="18315" y="60897"/>
                      <a:pt x="18315" y="71259"/>
                    </a:cubicBezTo>
                    <a:close/>
                    <a:moveTo>
                      <a:pt x="177858" y="71254"/>
                    </a:moveTo>
                    <a:cubicBezTo>
                      <a:pt x="177858" y="66073"/>
                      <a:pt x="182005" y="61873"/>
                      <a:pt x="187119" y="61873"/>
                    </a:cubicBezTo>
                    <a:cubicBezTo>
                      <a:pt x="192233" y="61873"/>
                      <a:pt x="196379" y="66073"/>
                      <a:pt x="196379" y="71254"/>
                    </a:cubicBezTo>
                    <a:cubicBezTo>
                      <a:pt x="196379" y="76435"/>
                      <a:pt x="192233" y="80636"/>
                      <a:pt x="187119" y="80636"/>
                    </a:cubicBezTo>
                    <a:cubicBezTo>
                      <a:pt x="182005" y="80636"/>
                      <a:pt x="177858" y="76435"/>
                      <a:pt x="177858" y="71254"/>
                    </a:cubicBezTo>
                    <a:close/>
                    <a:moveTo>
                      <a:pt x="27579" y="71254"/>
                    </a:moveTo>
                    <a:cubicBezTo>
                      <a:pt x="27579" y="66073"/>
                      <a:pt x="31725" y="61873"/>
                      <a:pt x="36839" y="61873"/>
                    </a:cubicBezTo>
                    <a:cubicBezTo>
                      <a:pt x="41953" y="61873"/>
                      <a:pt x="46100" y="66073"/>
                      <a:pt x="46100" y="71254"/>
                    </a:cubicBezTo>
                    <a:cubicBezTo>
                      <a:pt x="46100" y="76435"/>
                      <a:pt x="41953" y="80636"/>
                      <a:pt x="36839" y="80636"/>
                    </a:cubicBezTo>
                    <a:cubicBezTo>
                      <a:pt x="31725" y="80636"/>
                      <a:pt x="27579" y="76435"/>
                      <a:pt x="27579" y="71254"/>
                    </a:cubicBezTo>
                    <a:close/>
                    <a:moveTo>
                      <a:pt x="170594" y="5677"/>
                    </a:moveTo>
                    <a:cubicBezTo>
                      <a:pt x="170594" y="5677"/>
                      <a:pt x="202207" y="0"/>
                      <a:pt x="221250" y="24034"/>
                    </a:cubicBezTo>
                    <a:moveTo>
                      <a:pt x="50655" y="5680"/>
                    </a:moveTo>
                    <a:cubicBezTo>
                      <a:pt x="50655" y="5680"/>
                      <a:pt x="19042" y="2"/>
                      <a:pt x="0" y="24037"/>
                    </a:cubicBezTo>
                  </a:path>
                </a:pathLst>
              </a:custGeom>
              <a:noFill/>
              <a:ln w="7143">
                <a:solidFill>
                  <a:srgbClr val="FFFFFF"/>
                </a:solidFill>
              </a:ln>
            </p:spPr>
            <p:txBody>
              <a:bodyPr rtlCol="0" anchor="ctr"/>
              <a:lstStyle/>
              <a:p>
                <a:pPr algn="ctr"/>
                <a:endParaRPr/>
              </a:p>
            </p:txBody>
          </p:sp>
        </p:grpSp>
        <p:sp>
          <p:nvSpPr>
            <p:cNvPr id="41" name="TextBox 40">
              <a:extLst>
                <a:ext uri="{FF2B5EF4-FFF2-40B4-BE49-F238E27FC236}">
                  <a16:creationId xmlns:a16="http://schemas.microsoft.com/office/drawing/2014/main" id="{C1C4F1DB-E70C-D6C5-3B07-920DCEABF384}"/>
                </a:ext>
              </a:extLst>
            </p:cNvPr>
            <p:cNvSpPr txBox="1"/>
            <p:nvPr/>
          </p:nvSpPr>
          <p:spPr>
            <a:xfrm>
              <a:off x="4468789" y="2090398"/>
              <a:ext cx="1736826" cy="280035"/>
            </a:xfrm>
            <a:prstGeom prst="rect">
              <a:avLst/>
            </a:prstGeom>
            <a:noFill/>
            <a:ln>
              <a:noFill/>
            </a:ln>
          </p:spPr>
          <p:txBody>
            <a:bodyPr wrap="none" lIns="0" tIns="0" rIns="0" bIns="0" anchor="t">
              <a:spAutoFit/>
            </a:bodyPr>
            <a:lstStyle/>
            <a:p>
              <a:pPr algn="l"/>
              <a:r>
                <a:rPr sz="1500" b="0">
                  <a:solidFill>
                    <a:srgbClr val="FFFFFF"/>
                  </a:solidFill>
                  <a:latin typeface="Arial"/>
                </a:rPr>
                <a:t>What are AI Agents?</a:t>
              </a:r>
            </a:p>
          </p:txBody>
        </p:sp>
        <p:sp>
          <p:nvSpPr>
            <p:cNvPr id="42" name="TextBox 41">
              <a:extLst>
                <a:ext uri="{FF2B5EF4-FFF2-40B4-BE49-F238E27FC236}">
                  <a16:creationId xmlns:a16="http://schemas.microsoft.com/office/drawing/2014/main" id="{8250DBF3-9949-F621-73C4-61EEC54D3680}"/>
                </a:ext>
              </a:extLst>
            </p:cNvPr>
            <p:cNvSpPr txBox="1"/>
            <p:nvPr/>
          </p:nvSpPr>
          <p:spPr>
            <a:xfrm>
              <a:off x="4665328" y="2634277"/>
              <a:ext cx="2134438" cy="1545227"/>
            </a:xfrm>
            <a:prstGeom prst="rect">
              <a:avLst/>
            </a:prstGeom>
            <a:noFill/>
            <a:ln>
              <a:noFill/>
            </a:ln>
          </p:spPr>
          <p:txBody>
            <a:bodyPr wrap="square" lIns="0" tIns="0" rIns="0" bIns="0" anchor="t">
              <a:spAutoFit/>
            </a:bodyPr>
            <a:lstStyle/>
            <a:p>
              <a:pPr algn="l"/>
              <a:r>
                <a:rPr sz="1500" b="0">
                  <a:solidFill>
                    <a:srgbClr val="FFFFFF"/>
                  </a:solidFill>
                  <a:latin typeface="Arial"/>
                </a:rPr>
                <a:t>Autonomous software entities</a:t>
              </a:r>
              <a:r>
                <a:rPr lang="en-US" sz="1500" b="0">
                  <a:solidFill>
                    <a:srgbClr val="FFFFFF"/>
                  </a:solidFill>
                  <a:latin typeface="Arial"/>
                </a:rPr>
                <a:t> </a:t>
              </a:r>
              <a:r>
                <a:rPr sz="1500" b="0">
                  <a:solidFill>
                    <a:srgbClr val="FFFFFF"/>
                  </a:solidFill>
                  <a:latin typeface="Arial"/>
                </a:rPr>
                <a:t>that use Large Language</a:t>
              </a:r>
              <a:r>
                <a:rPr lang="en-US" sz="1500" b="0">
                  <a:solidFill>
                    <a:srgbClr val="FFFFFF"/>
                  </a:solidFill>
                  <a:latin typeface="Arial"/>
                </a:rPr>
                <a:t> </a:t>
              </a:r>
              <a:r>
                <a:rPr sz="1500" b="0">
                  <a:solidFill>
                    <a:srgbClr val="FFFFFF"/>
                  </a:solidFill>
                  <a:latin typeface="Arial"/>
                </a:rPr>
                <a:t>Models (LLMs) and other</a:t>
              </a:r>
              <a:r>
                <a:rPr lang="en-US" sz="1500" b="0">
                  <a:solidFill>
                    <a:srgbClr val="FFFFFF"/>
                  </a:solidFill>
                  <a:latin typeface="Arial"/>
                </a:rPr>
                <a:t> </a:t>
              </a:r>
              <a:r>
                <a:rPr sz="1500" b="0">
                  <a:solidFill>
                    <a:srgbClr val="FFFFFF"/>
                  </a:solidFill>
                  <a:latin typeface="Arial"/>
                </a:rPr>
                <a:t>tools to interpret complex</a:t>
              </a:r>
              <a:r>
                <a:rPr lang="en-US" sz="1500" b="0">
                  <a:solidFill>
                    <a:srgbClr val="FFFFFF"/>
                  </a:solidFill>
                  <a:latin typeface="Arial"/>
                </a:rPr>
                <a:t> </a:t>
              </a:r>
              <a:r>
                <a:rPr sz="1500" b="0">
                  <a:solidFill>
                    <a:srgbClr val="FFFFFF"/>
                  </a:solidFill>
                  <a:latin typeface="Arial"/>
                </a:rPr>
                <a:t>user</a:t>
              </a:r>
              <a:r>
                <a:rPr lang="en-US" sz="1500" b="0">
                  <a:solidFill>
                    <a:srgbClr val="FFFFFF"/>
                  </a:solidFill>
                  <a:latin typeface="Arial"/>
                </a:rPr>
                <a:t> </a:t>
              </a:r>
              <a:r>
                <a:rPr sz="1500" b="0">
                  <a:solidFill>
                    <a:srgbClr val="FFFFFF"/>
                  </a:solidFill>
                  <a:latin typeface="Arial"/>
                </a:rPr>
                <a:t>commands, make</a:t>
              </a:r>
              <a:r>
                <a:rPr lang="en-US" sz="1500" b="0">
                  <a:solidFill>
                    <a:srgbClr val="FFFFFF"/>
                  </a:solidFill>
                  <a:latin typeface="Arial"/>
                </a:rPr>
                <a:t> </a:t>
              </a:r>
              <a:r>
                <a:rPr sz="1500" b="0">
                  <a:solidFill>
                    <a:srgbClr val="FFFFFF"/>
                  </a:solidFill>
                  <a:latin typeface="Arial"/>
                </a:rPr>
                <a:t>dynamic decisions, perform</a:t>
              </a:r>
              <a:r>
                <a:rPr lang="en-US" sz="1500" b="0">
                  <a:solidFill>
                    <a:srgbClr val="FFFFFF"/>
                  </a:solidFill>
                  <a:latin typeface="Arial"/>
                </a:rPr>
                <a:t> </a:t>
              </a:r>
              <a:r>
                <a:rPr sz="1500" b="0">
                  <a:solidFill>
                    <a:srgbClr val="FFFFFF"/>
                  </a:solidFill>
                  <a:latin typeface="Arial"/>
                </a:rPr>
                <a:t>multi-step tasks, and learn</a:t>
              </a:r>
              <a:r>
                <a:rPr lang="en-US" sz="1500" b="0">
                  <a:solidFill>
                    <a:srgbClr val="FFFFFF"/>
                  </a:solidFill>
                  <a:latin typeface="Arial"/>
                </a:rPr>
                <a:t> </a:t>
              </a:r>
              <a:r>
                <a:rPr sz="1500" b="0">
                  <a:solidFill>
                    <a:srgbClr val="FFFFFF"/>
                  </a:solidFill>
                  <a:latin typeface="Arial"/>
                </a:rPr>
                <a:t>and adapt over time without</a:t>
              </a:r>
              <a:r>
                <a:rPr lang="en-US" sz="1500" b="0">
                  <a:solidFill>
                    <a:srgbClr val="FFFFFF"/>
                  </a:solidFill>
                  <a:latin typeface="Arial"/>
                </a:rPr>
                <a:t> </a:t>
              </a:r>
              <a:r>
                <a:rPr sz="1500" b="0">
                  <a:solidFill>
                    <a:srgbClr val="FFFFFF"/>
                  </a:solidFill>
                  <a:latin typeface="Arial"/>
                </a:rPr>
                <a:t>constant human supervision.</a:t>
              </a:r>
            </a:p>
          </p:txBody>
        </p:sp>
      </p:grpSp>
    </p:spTree>
    <p:extLst>
      <p:ext uri="{BB962C8B-B14F-4D97-AF65-F5344CB8AC3E}">
        <p14:creationId xmlns:p14="http://schemas.microsoft.com/office/powerpoint/2010/main" val="340668788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4CA93179-2B85-D7E3-AC02-39D356CF63F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879384A-47B3-CB5B-C108-0DA15DB39EA3}"/>
              </a:ext>
            </a:extLst>
          </p:cNvPr>
          <p:cNvSpPr>
            <a:spLocks noGrp="1"/>
          </p:cNvSpPr>
          <p:nvPr>
            <p:ph type="title"/>
          </p:nvPr>
        </p:nvSpPr>
        <p:spPr/>
        <p:txBody>
          <a:bodyPr/>
          <a:lstStyle/>
          <a:p>
            <a:r>
              <a:rPr lang="en-US"/>
              <a:t>Demo: What does Orchestration Look Like?</a:t>
            </a:r>
          </a:p>
        </p:txBody>
      </p:sp>
      <p:sp>
        <p:nvSpPr>
          <p:cNvPr id="3" name="Text Placeholder 2">
            <a:extLst>
              <a:ext uri="{FF2B5EF4-FFF2-40B4-BE49-F238E27FC236}">
                <a16:creationId xmlns:a16="http://schemas.microsoft.com/office/drawing/2014/main" id="{8C340AF5-231F-F207-14B2-D519D0C785AF}"/>
              </a:ext>
            </a:extLst>
          </p:cNvPr>
          <p:cNvSpPr>
            <a:spLocks noGrp="1"/>
          </p:cNvSpPr>
          <p:nvPr>
            <p:ph type="body" sz="quarter" idx="10"/>
          </p:nvPr>
        </p:nvSpPr>
        <p:spPr/>
        <p:txBody>
          <a:bodyPr/>
          <a:lstStyle/>
          <a:p>
            <a:r>
              <a:rPr lang="en-US"/>
              <a:t>We are walking through the persona, actions, tools, memory, planning, and feedback with a prebuilt example.</a:t>
            </a:r>
            <a:br>
              <a:rPr lang="en-US"/>
            </a:br>
            <a:endParaRPr lang="en-US"/>
          </a:p>
          <a:p>
            <a:r>
              <a:rPr lang="en-US"/>
              <a:t>Follow Guide: Configuring Agents</a:t>
            </a:r>
          </a:p>
        </p:txBody>
      </p:sp>
    </p:spTree>
    <p:extLst>
      <p:ext uri="{BB962C8B-B14F-4D97-AF65-F5344CB8AC3E}">
        <p14:creationId xmlns:p14="http://schemas.microsoft.com/office/powerpoint/2010/main" val="62388512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49871030-7097-9ADA-DEBC-35C3DB3DCD7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9C61F83-357B-53BD-D7A5-9F7A7EAEFEB7}"/>
              </a:ext>
            </a:extLst>
          </p:cNvPr>
          <p:cNvSpPr>
            <a:spLocks noGrp="1"/>
          </p:cNvSpPr>
          <p:nvPr>
            <p:ph type="title"/>
          </p:nvPr>
        </p:nvSpPr>
        <p:spPr/>
        <p:txBody>
          <a:bodyPr/>
          <a:lstStyle/>
          <a:p>
            <a:r>
              <a:rPr lang="en-US">
                <a:latin typeface="Graphik-Light"/>
              </a:rPr>
              <a:t>Building Your First Agent on Bedrock</a:t>
            </a:r>
            <a:endParaRPr lang="en-US"/>
          </a:p>
        </p:txBody>
      </p:sp>
      <p:sp>
        <p:nvSpPr>
          <p:cNvPr id="3" name="Text Placeholder 2">
            <a:extLst>
              <a:ext uri="{FF2B5EF4-FFF2-40B4-BE49-F238E27FC236}">
                <a16:creationId xmlns:a16="http://schemas.microsoft.com/office/drawing/2014/main" id="{A813C7C2-5C34-AA26-9636-E56373AAF5CE}"/>
              </a:ext>
            </a:extLst>
          </p:cNvPr>
          <p:cNvSpPr>
            <a:spLocks noGrp="1"/>
          </p:cNvSpPr>
          <p:nvPr>
            <p:ph type="body" sz="quarter" idx="10"/>
          </p:nvPr>
        </p:nvSpPr>
        <p:spPr/>
        <p:txBody>
          <a:bodyPr lIns="91440" tIns="45720" rIns="91440" bIns="45720" anchor="t"/>
          <a:lstStyle/>
          <a:p>
            <a:pPr marL="342265" indent="-342265"/>
            <a:r>
              <a:rPr lang="en-US">
                <a:latin typeface="Graphik"/>
              </a:rPr>
              <a:t>We are walking through getting_started.py</a:t>
            </a:r>
            <a:br>
              <a:rPr lang="en-US">
                <a:latin typeface="Graphik"/>
              </a:rPr>
            </a:br>
            <a:endParaRPr lang="en-US"/>
          </a:p>
          <a:p>
            <a:pPr marL="0" indent="0">
              <a:buNone/>
            </a:pPr>
            <a:endParaRPr lang="en-US"/>
          </a:p>
        </p:txBody>
      </p:sp>
    </p:spTree>
    <p:extLst>
      <p:ext uri="{BB962C8B-B14F-4D97-AF65-F5344CB8AC3E}">
        <p14:creationId xmlns:p14="http://schemas.microsoft.com/office/powerpoint/2010/main" val="404091681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C03AA60D-BA96-D633-8DAE-4F3FE40DD52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53B60A8-446F-1D8F-9D0A-321AEA4F014F}"/>
              </a:ext>
            </a:extLst>
          </p:cNvPr>
          <p:cNvSpPr>
            <a:spLocks noGrp="1"/>
          </p:cNvSpPr>
          <p:nvPr>
            <p:ph type="title"/>
          </p:nvPr>
        </p:nvSpPr>
        <p:spPr>
          <a:xfrm>
            <a:off x="461215" y="1171244"/>
            <a:ext cx="9997440" cy="2380579"/>
          </a:xfrm>
        </p:spPr>
        <p:txBody>
          <a:bodyPr/>
          <a:lstStyle/>
          <a:p>
            <a:r>
              <a:rPr lang="en-US"/>
              <a:t>AI Agents: From Automation To Autonomy</a:t>
            </a:r>
          </a:p>
        </p:txBody>
      </p:sp>
      <p:sp>
        <p:nvSpPr>
          <p:cNvPr id="4" name="Text Placeholder 3">
            <a:extLst>
              <a:ext uri="{FF2B5EF4-FFF2-40B4-BE49-F238E27FC236}">
                <a16:creationId xmlns:a16="http://schemas.microsoft.com/office/drawing/2014/main" id="{49807F71-7445-B4EC-116B-2FC2E6F120BB}"/>
              </a:ext>
            </a:extLst>
          </p:cNvPr>
          <p:cNvSpPr>
            <a:spLocks noGrp="1"/>
          </p:cNvSpPr>
          <p:nvPr>
            <p:ph type="body" idx="1"/>
          </p:nvPr>
        </p:nvSpPr>
        <p:spPr>
          <a:xfrm>
            <a:off x="480721" y="3569057"/>
            <a:ext cx="9997440" cy="2444881"/>
          </a:xfrm>
        </p:spPr>
        <p:txBody>
          <a:bodyPr vert="horz" lIns="91440" tIns="45720" rIns="91440" bIns="45720" rtlCol="0" anchor="t">
            <a:noAutofit/>
          </a:bodyPr>
          <a:lstStyle/>
          <a:p>
            <a:r>
              <a:rPr lang="en-US" sz="2000"/>
              <a:t>A Thinking to Action Paradigm</a:t>
            </a:r>
          </a:p>
        </p:txBody>
      </p:sp>
    </p:spTree>
    <p:extLst>
      <p:ext uri="{BB962C8B-B14F-4D97-AF65-F5344CB8AC3E}">
        <p14:creationId xmlns:p14="http://schemas.microsoft.com/office/powerpoint/2010/main" val="211674838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0EB7CCB9-6BF7-3A8F-C6B1-91499E13FC3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0B19EC2-F01A-F7E1-612E-5FE6F3BE48F0}"/>
              </a:ext>
            </a:extLst>
          </p:cNvPr>
          <p:cNvSpPr>
            <a:spLocks noGrp="1"/>
          </p:cNvSpPr>
          <p:nvPr>
            <p:ph type="title"/>
          </p:nvPr>
        </p:nvSpPr>
        <p:spPr>
          <a:xfrm>
            <a:off x="461215" y="1171244"/>
            <a:ext cx="9997440" cy="2380579"/>
          </a:xfrm>
        </p:spPr>
        <p:txBody>
          <a:bodyPr/>
          <a:lstStyle/>
          <a:p>
            <a:r>
              <a:rPr lang="en-US"/>
              <a:t>Prompting for Agents</a:t>
            </a:r>
          </a:p>
        </p:txBody>
      </p:sp>
      <p:sp>
        <p:nvSpPr>
          <p:cNvPr id="4" name="Text Placeholder 3">
            <a:extLst>
              <a:ext uri="{FF2B5EF4-FFF2-40B4-BE49-F238E27FC236}">
                <a16:creationId xmlns:a16="http://schemas.microsoft.com/office/drawing/2014/main" id="{441C6EFE-E133-6920-1561-50A1824D41A1}"/>
              </a:ext>
            </a:extLst>
          </p:cNvPr>
          <p:cNvSpPr>
            <a:spLocks noGrp="1"/>
          </p:cNvSpPr>
          <p:nvPr>
            <p:ph type="body" idx="1"/>
          </p:nvPr>
        </p:nvSpPr>
        <p:spPr>
          <a:xfrm>
            <a:off x="480721" y="3569057"/>
            <a:ext cx="9997440" cy="2444881"/>
          </a:xfrm>
        </p:spPr>
        <p:txBody>
          <a:bodyPr vert="horz" lIns="91440" tIns="45720" rIns="91440" bIns="45720" rtlCol="0" anchor="t">
            <a:noAutofit/>
          </a:bodyPr>
          <a:lstStyle/>
          <a:p>
            <a:endParaRPr lang="en-US" sz="2000"/>
          </a:p>
        </p:txBody>
      </p:sp>
    </p:spTree>
    <p:extLst>
      <p:ext uri="{BB962C8B-B14F-4D97-AF65-F5344CB8AC3E}">
        <p14:creationId xmlns:p14="http://schemas.microsoft.com/office/powerpoint/2010/main" val="203399644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383FED28-66AA-D546-AA5F-AF6B05B18E3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AC40032-78F6-B795-8DBC-FD6677AA8372}"/>
              </a:ext>
            </a:extLst>
          </p:cNvPr>
          <p:cNvSpPr>
            <a:spLocks noGrp="1"/>
          </p:cNvSpPr>
          <p:nvPr>
            <p:ph type="title"/>
          </p:nvPr>
        </p:nvSpPr>
        <p:spPr>
          <a:xfrm>
            <a:off x="461215" y="1171244"/>
            <a:ext cx="9997440" cy="2380579"/>
          </a:xfrm>
        </p:spPr>
        <p:txBody>
          <a:bodyPr/>
          <a:lstStyle/>
          <a:p>
            <a:r>
              <a:rPr lang="en-US"/>
              <a:t>Intro to Agentic Concepts</a:t>
            </a:r>
          </a:p>
        </p:txBody>
      </p:sp>
      <p:sp>
        <p:nvSpPr>
          <p:cNvPr id="4" name="Text Placeholder 3">
            <a:extLst>
              <a:ext uri="{FF2B5EF4-FFF2-40B4-BE49-F238E27FC236}">
                <a16:creationId xmlns:a16="http://schemas.microsoft.com/office/drawing/2014/main" id="{497B866F-55E9-9F6C-1834-5ACA9BA06F96}"/>
              </a:ext>
            </a:extLst>
          </p:cNvPr>
          <p:cNvSpPr>
            <a:spLocks noGrp="1"/>
          </p:cNvSpPr>
          <p:nvPr>
            <p:ph type="body" idx="1"/>
          </p:nvPr>
        </p:nvSpPr>
        <p:spPr>
          <a:xfrm>
            <a:off x="480721" y="3569057"/>
            <a:ext cx="9997440" cy="2444881"/>
          </a:xfrm>
        </p:spPr>
        <p:txBody>
          <a:bodyPr vert="horz" lIns="91440" tIns="45720" rIns="91440" bIns="45720" rtlCol="0" anchor="t">
            <a:noAutofit/>
          </a:bodyPr>
          <a:lstStyle/>
          <a:p>
            <a:endParaRPr lang="en-US" sz="2000"/>
          </a:p>
        </p:txBody>
      </p:sp>
    </p:spTree>
    <p:extLst>
      <p:ext uri="{BB962C8B-B14F-4D97-AF65-F5344CB8AC3E}">
        <p14:creationId xmlns:p14="http://schemas.microsoft.com/office/powerpoint/2010/main" val="30768415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8EBE5712-35D7-ED71-B188-5BB610BD5D6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AC4E0C1-F69D-9850-9B66-ED6810F07B8B}"/>
              </a:ext>
            </a:extLst>
          </p:cNvPr>
          <p:cNvSpPr>
            <a:spLocks noGrp="1"/>
          </p:cNvSpPr>
          <p:nvPr>
            <p:ph type="title"/>
          </p:nvPr>
        </p:nvSpPr>
        <p:spPr>
          <a:xfrm>
            <a:off x="461215" y="1171244"/>
            <a:ext cx="9997440" cy="2380579"/>
          </a:xfrm>
        </p:spPr>
        <p:txBody>
          <a:bodyPr/>
          <a:lstStyle/>
          <a:p>
            <a:r>
              <a:rPr lang="en-US"/>
              <a:t>Reasoning</a:t>
            </a:r>
          </a:p>
        </p:txBody>
      </p:sp>
      <p:sp>
        <p:nvSpPr>
          <p:cNvPr id="4" name="Text Placeholder 3">
            <a:extLst>
              <a:ext uri="{FF2B5EF4-FFF2-40B4-BE49-F238E27FC236}">
                <a16:creationId xmlns:a16="http://schemas.microsoft.com/office/drawing/2014/main" id="{F3B6AF29-1608-4E3C-029C-D7AB3539F38C}"/>
              </a:ext>
            </a:extLst>
          </p:cNvPr>
          <p:cNvSpPr>
            <a:spLocks noGrp="1"/>
          </p:cNvSpPr>
          <p:nvPr>
            <p:ph type="body" idx="1"/>
          </p:nvPr>
        </p:nvSpPr>
        <p:spPr>
          <a:xfrm>
            <a:off x="480721" y="3569057"/>
            <a:ext cx="9997440" cy="2444881"/>
          </a:xfrm>
        </p:spPr>
        <p:txBody>
          <a:bodyPr vert="horz" lIns="91440" tIns="45720" rIns="91440" bIns="45720" rtlCol="0" anchor="t">
            <a:noAutofit/>
          </a:bodyPr>
          <a:lstStyle/>
          <a:p>
            <a:endParaRPr lang="en-US" sz="2000"/>
          </a:p>
        </p:txBody>
      </p:sp>
    </p:spTree>
    <p:extLst>
      <p:ext uri="{BB962C8B-B14F-4D97-AF65-F5344CB8AC3E}">
        <p14:creationId xmlns:p14="http://schemas.microsoft.com/office/powerpoint/2010/main" val="102931618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458EB309-2290-98FE-BBE9-EC8BC88E364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52D968B-B5C3-4233-B82A-54E8D5C25429}"/>
              </a:ext>
            </a:extLst>
          </p:cNvPr>
          <p:cNvSpPr>
            <a:spLocks noGrp="1"/>
          </p:cNvSpPr>
          <p:nvPr>
            <p:ph type="title"/>
          </p:nvPr>
        </p:nvSpPr>
        <p:spPr>
          <a:xfrm>
            <a:off x="461215" y="1171244"/>
            <a:ext cx="9997440" cy="2380579"/>
          </a:xfrm>
        </p:spPr>
        <p:txBody>
          <a:bodyPr/>
          <a:lstStyle/>
          <a:p>
            <a:r>
              <a:rPr lang="en-US"/>
              <a:t>Planning </a:t>
            </a:r>
          </a:p>
        </p:txBody>
      </p:sp>
      <p:sp>
        <p:nvSpPr>
          <p:cNvPr id="4" name="Text Placeholder 3">
            <a:extLst>
              <a:ext uri="{FF2B5EF4-FFF2-40B4-BE49-F238E27FC236}">
                <a16:creationId xmlns:a16="http://schemas.microsoft.com/office/drawing/2014/main" id="{D9E75B49-AD22-F7BD-4CA9-55255C721F6F}"/>
              </a:ext>
            </a:extLst>
          </p:cNvPr>
          <p:cNvSpPr>
            <a:spLocks noGrp="1"/>
          </p:cNvSpPr>
          <p:nvPr>
            <p:ph type="body" idx="1"/>
          </p:nvPr>
        </p:nvSpPr>
        <p:spPr>
          <a:xfrm>
            <a:off x="480721" y="3569057"/>
            <a:ext cx="9997440" cy="2444881"/>
          </a:xfrm>
        </p:spPr>
        <p:txBody>
          <a:bodyPr vert="horz" lIns="91440" tIns="45720" rIns="91440" bIns="45720" rtlCol="0" anchor="t">
            <a:noAutofit/>
          </a:bodyPr>
          <a:lstStyle/>
          <a:p>
            <a:endParaRPr lang="en-US" sz="2000"/>
          </a:p>
        </p:txBody>
      </p:sp>
    </p:spTree>
    <p:extLst>
      <p:ext uri="{BB962C8B-B14F-4D97-AF65-F5344CB8AC3E}">
        <p14:creationId xmlns:p14="http://schemas.microsoft.com/office/powerpoint/2010/main" val="51290136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57356667-C4D4-B3A6-6C16-B7E6AE95E7E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13B5155-392A-D1A5-480E-445FA97F5363}"/>
              </a:ext>
            </a:extLst>
          </p:cNvPr>
          <p:cNvSpPr>
            <a:spLocks noGrp="1"/>
          </p:cNvSpPr>
          <p:nvPr>
            <p:ph type="title"/>
          </p:nvPr>
        </p:nvSpPr>
        <p:spPr>
          <a:xfrm>
            <a:off x="461215" y="1171244"/>
            <a:ext cx="9997440" cy="2380579"/>
          </a:xfrm>
        </p:spPr>
        <p:txBody>
          <a:bodyPr/>
          <a:lstStyle/>
          <a:p>
            <a:r>
              <a:rPr lang="en-US"/>
              <a:t>Tool Use for AI Agents</a:t>
            </a:r>
          </a:p>
        </p:txBody>
      </p:sp>
      <p:sp>
        <p:nvSpPr>
          <p:cNvPr id="4" name="Text Placeholder 3">
            <a:extLst>
              <a:ext uri="{FF2B5EF4-FFF2-40B4-BE49-F238E27FC236}">
                <a16:creationId xmlns:a16="http://schemas.microsoft.com/office/drawing/2014/main" id="{B0D5DCEC-FC36-F90A-0505-4EE690DE97E4}"/>
              </a:ext>
            </a:extLst>
          </p:cNvPr>
          <p:cNvSpPr>
            <a:spLocks noGrp="1"/>
          </p:cNvSpPr>
          <p:nvPr>
            <p:ph type="body" idx="1"/>
          </p:nvPr>
        </p:nvSpPr>
        <p:spPr>
          <a:xfrm>
            <a:off x="480721" y="3569057"/>
            <a:ext cx="9997440" cy="2444881"/>
          </a:xfrm>
        </p:spPr>
        <p:txBody>
          <a:bodyPr vert="horz" lIns="91440" tIns="45720" rIns="91440" bIns="45720" rtlCol="0" anchor="t">
            <a:noAutofit/>
          </a:bodyPr>
          <a:lstStyle/>
          <a:p>
            <a:endParaRPr lang="en-US" sz="2000"/>
          </a:p>
        </p:txBody>
      </p:sp>
    </p:spTree>
    <p:extLst>
      <p:ext uri="{BB962C8B-B14F-4D97-AF65-F5344CB8AC3E}">
        <p14:creationId xmlns:p14="http://schemas.microsoft.com/office/powerpoint/2010/main" val="49897582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01801C-0AB7-2F7C-0989-078F478A94CF}"/>
              </a:ext>
            </a:extLst>
          </p:cNvPr>
          <p:cNvSpPr>
            <a:spLocks noGrp="1"/>
          </p:cNvSpPr>
          <p:nvPr>
            <p:ph type="title"/>
          </p:nvPr>
        </p:nvSpPr>
        <p:spPr/>
        <p:txBody>
          <a:bodyPr/>
          <a:lstStyle/>
          <a:p>
            <a:endParaRPr lang="en-US"/>
          </a:p>
        </p:txBody>
      </p:sp>
      <p:graphicFrame>
        <p:nvGraphicFramePr>
          <p:cNvPr id="3" name="Chart 2">
            <a:extLst>
              <a:ext uri="{FF2B5EF4-FFF2-40B4-BE49-F238E27FC236}">
                <a16:creationId xmlns:a16="http://schemas.microsoft.com/office/drawing/2014/main" id="{987A29C8-964C-638E-7973-A09491870B2D}"/>
              </a:ext>
            </a:extLst>
          </p:cNvPr>
          <p:cNvGraphicFramePr/>
          <p:nvPr>
            <p:extLst>
              <p:ext uri="{D42A27DB-BD31-4B8C-83A1-F6EECF244321}">
                <p14:modId xmlns:p14="http://schemas.microsoft.com/office/powerpoint/2010/main" val="2289420015"/>
              </p:ext>
            </p:extLst>
          </p:nvPr>
        </p:nvGraphicFramePr>
        <p:xfrm>
          <a:off x="2032000" y="810408"/>
          <a:ext cx="8128000" cy="541866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03474908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AAEC4D7B-A329-6312-74BB-E3A56D426FB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8768206-BA8E-5C7D-B006-91BE74817E99}"/>
              </a:ext>
            </a:extLst>
          </p:cNvPr>
          <p:cNvSpPr>
            <a:spLocks noGrp="1"/>
          </p:cNvSpPr>
          <p:nvPr>
            <p:ph type="title"/>
          </p:nvPr>
        </p:nvSpPr>
        <p:spPr>
          <a:xfrm>
            <a:off x="461215" y="1171244"/>
            <a:ext cx="9997440" cy="2380579"/>
          </a:xfrm>
        </p:spPr>
        <p:txBody>
          <a:bodyPr/>
          <a:lstStyle/>
          <a:p>
            <a:r>
              <a:rPr lang="en-US"/>
              <a:t>Retrieval Augmented Generation for Agents</a:t>
            </a:r>
          </a:p>
        </p:txBody>
      </p:sp>
      <p:sp>
        <p:nvSpPr>
          <p:cNvPr id="4" name="Text Placeholder 3">
            <a:extLst>
              <a:ext uri="{FF2B5EF4-FFF2-40B4-BE49-F238E27FC236}">
                <a16:creationId xmlns:a16="http://schemas.microsoft.com/office/drawing/2014/main" id="{0C13D59A-27F2-FC42-D70F-3BA029F804F1}"/>
              </a:ext>
            </a:extLst>
          </p:cNvPr>
          <p:cNvSpPr>
            <a:spLocks noGrp="1"/>
          </p:cNvSpPr>
          <p:nvPr>
            <p:ph type="body" idx="1"/>
          </p:nvPr>
        </p:nvSpPr>
        <p:spPr>
          <a:xfrm>
            <a:off x="480721" y="3569057"/>
            <a:ext cx="9997440" cy="2444881"/>
          </a:xfrm>
        </p:spPr>
        <p:txBody>
          <a:bodyPr vert="horz" lIns="91440" tIns="45720" rIns="91440" bIns="45720" rtlCol="0" anchor="t">
            <a:noAutofit/>
          </a:bodyPr>
          <a:lstStyle/>
          <a:p>
            <a:endParaRPr lang="en-US" sz="2000"/>
          </a:p>
        </p:txBody>
      </p:sp>
    </p:spTree>
    <p:extLst>
      <p:ext uri="{BB962C8B-B14F-4D97-AF65-F5344CB8AC3E}">
        <p14:creationId xmlns:p14="http://schemas.microsoft.com/office/powerpoint/2010/main" val="377363931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2881333-820E-2F11-BB4E-A51E8D533F63}"/>
              </a:ext>
            </a:extLst>
          </p:cNvPr>
          <p:cNvSpPr>
            <a:spLocks noGrp="1"/>
          </p:cNvSpPr>
          <p:nvPr>
            <p:ph type="title"/>
          </p:nvPr>
        </p:nvSpPr>
        <p:spPr/>
        <p:txBody>
          <a:bodyPr/>
          <a:lstStyle/>
          <a:p>
            <a:r>
              <a:rPr lang="en-US"/>
              <a:t>Is everything with an LLM an Agent?</a:t>
            </a:r>
          </a:p>
        </p:txBody>
      </p:sp>
      <p:sp>
        <p:nvSpPr>
          <p:cNvPr id="5" name="Text Placeholder 4">
            <a:extLst>
              <a:ext uri="{FF2B5EF4-FFF2-40B4-BE49-F238E27FC236}">
                <a16:creationId xmlns:a16="http://schemas.microsoft.com/office/drawing/2014/main" id="{D9306E2B-852C-C2B6-4E9C-3B5B8F423954}"/>
              </a:ext>
            </a:extLst>
          </p:cNvPr>
          <p:cNvSpPr>
            <a:spLocks noGrp="1"/>
          </p:cNvSpPr>
          <p:nvPr>
            <p:ph type="body" sz="quarter" idx="10"/>
          </p:nvPr>
        </p:nvSpPr>
        <p:spPr/>
        <p:txBody>
          <a:bodyPr/>
          <a:lstStyle/>
          <a:p>
            <a:r>
              <a:rPr lang="en-US"/>
              <a:t>How do we distinguish between simple automation tools and truly autonomous agents?</a:t>
            </a:r>
          </a:p>
          <a:p>
            <a:endParaRPr lang="en-US"/>
          </a:p>
          <a:p>
            <a:r>
              <a:rPr lang="en-US"/>
              <a:t>Technical Leaders often dive headfirst into deployment without truly understanding the capabilities. We wouldn’t assign sophisticated tasks to a new hire!</a:t>
            </a:r>
            <a:br>
              <a:rPr lang="en-US"/>
            </a:br>
            <a:endParaRPr lang="en-US"/>
          </a:p>
          <a:p>
            <a:r>
              <a:rPr lang="en-US"/>
              <a:t>Digital colleagues have their own characteristics, skills, limitations, and ways of thinking. We will have to learn how to build an effective partnership that maximizes human and AI.</a:t>
            </a:r>
          </a:p>
        </p:txBody>
      </p:sp>
    </p:spTree>
    <p:extLst>
      <p:ext uri="{BB962C8B-B14F-4D97-AF65-F5344CB8AC3E}">
        <p14:creationId xmlns:p14="http://schemas.microsoft.com/office/powerpoint/2010/main" val="59467197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9DCE14E2-B31B-B093-72D0-981B9066802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53D9549-75DF-76CD-9F1B-DC87D5A1A452}"/>
              </a:ext>
            </a:extLst>
          </p:cNvPr>
          <p:cNvSpPr>
            <a:spLocks noGrp="1"/>
          </p:cNvSpPr>
          <p:nvPr>
            <p:ph type="title"/>
          </p:nvPr>
        </p:nvSpPr>
        <p:spPr>
          <a:xfrm>
            <a:off x="461215" y="1171244"/>
            <a:ext cx="9997440" cy="2380579"/>
          </a:xfrm>
        </p:spPr>
        <p:txBody>
          <a:bodyPr/>
          <a:lstStyle/>
          <a:p>
            <a:r>
              <a:rPr lang="en-US"/>
              <a:t>Building Agentic Workflows</a:t>
            </a:r>
          </a:p>
        </p:txBody>
      </p:sp>
      <p:sp>
        <p:nvSpPr>
          <p:cNvPr id="4" name="Text Placeholder 3">
            <a:extLst>
              <a:ext uri="{FF2B5EF4-FFF2-40B4-BE49-F238E27FC236}">
                <a16:creationId xmlns:a16="http://schemas.microsoft.com/office/drawing/2014/main" id="{E423445B-89DB-4A57-5DA8-247366E9830F}"/>
              </a:ext>
            </a:extLst>
          </p:cNvPr>
          <p:cNvSpPr>
            <a:spLocks noGrp="1"/>
          </p:cNvSpPr>
          <p:nvPr>
            <p:ph type="body" idx="1"/>
          </p:nvPr>
        </p:nvSpPr>
        <p:spPr>
          <a:xfrm>
            <a:off x="480721" y="3569057"/>
            <a:ext cx="9997440" cy="2444881"/>
          </a:xfrm>
        </p:spPr>
        <p:txBody>
          <a:bodyPr vert="horz" lIns="91440" tIns="45720" rIns="91440" bIns="45720" rtlCol="0" anchor="t">
            <a:noAutofit/>
          </a:bodyPr>
          <a:lstStyle/>
          <a:p>
            <a:endParaRPr lang="en-US" sz="2000"/>
          </a:p>
        </p:txBody>
      </p:sp>
    </p:spTree>
    <p:extLst>
      <p:ext uri="{BB962C8B-B14F-4D97-AF65-F5344CB8AC3E}">
        <p14:creationId xmlns:p14="http://schemas.microsoft.com/office/powerpoint/2010/main" val="148865590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B0400CCB-A426-B204-8885-D21C33F6F6A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2C20DAB-62B6-885D-4A6D-13678C87DC94}"/>
              </a:ext>
            </a:extLst>
          </p:cNvPr>
          <p:cNvSpPr>
            <a:spLocks noGrp="1"/>
          </p:cNvSpPr>
          <p:nvPr>
            <p:ph type="title"/>
          </p:nvPr>
        </p:nvSpPr>
        <p:spPr>
          <a:xfrm>
            <a:off x="461215" y="1171244"/>
            <a:ext cx="9997440" cy="2380579"/>
          </a:xfrm>
        </p:spPr>
        <p:txBody>
          <a:bodyPr/>
          <a:lstStyle/>
          <a:p>
            <a:r>
              <a:rPr lang="en-US"/>
              <a:t>Benchmarking Agentic Applications</a:t>
            </a:r>
          </a:p>
        </p:txBody>
      </p:sp>
      <p:sp>
        <p:nvSpPr>
          <p:cNvPr id="4" name="Text Placeholder 3">
            <a:extLst>
              <a:ext uri="{FF2B5EF4-FFF2-40B4-BE49-F238E27FC236}">
                <a16:creationId xmlns:a16="http://schemas.microsoft.com/office/drawing/2014/main" id="{FC7E3C86-8BB0-F0DA-15DD-DD1C5CF689F5}"/>
              </a:ext>
            </a:extLst>
          </p:cNvPr>
          <p:cNvSpPr>
            <a:spLocks noGrp="1"/>
          </p:cNvSpPr>
          <p:nvPr>
            <p:ph type="body" idx="1"/>
          </p:nvPr>
        </p:nvSpPr>
        <p:spPr>
          <a:xfrm>
            <a:off x="480721" y="3569057"/>
            <a:ext cx="9997440" cy="2444881"/>
          </a:xfrm>
        </p:spPr>
        <p:txBody>
          <a:bodyPr vert="horz" lIns="91440" tIns="45720" rIns="91440" bIns="45720" rtlCol="0" anchor="t">
            <a:noAutofit/>
          </a:bodyPr>
          <a:lstStyle/>
          <a:p>
            <a:endParaRPr lang="en-US" sz="2000"/>
          </a:p>
        </p:txBody>
      </p:sp>
    </p:spTree>
    <p:extLst>
      <p:ext uri="{BB962C8B-B14F-4D97-AF65-F5344CB8AC3E}">
        <p14:creationId xmlns:p14="http://schemas.microsoft.com/office/powerpoint/2010/main" val="345338140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D2D71CBA-89E7-025D-7B98-5F7FD895866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B922A12-38DE-35E0-2559-00DC702016FE}"/>
              </a:ext>
            </a:extLst>
          </p:cNvPr>
          <p:cNvSpPr>
            <a:spLocks noGrp="1"/>
          </p:cNvSpPr>
          <p:nvPr>
            <p:ph type="title"/>
          </p:nvPr>
        </p:nvSpPr>
        <p:spPr>
          <a:xfrm>
            <a:off x="461215" y="1171244"/>
            <a:ext cx="9997440" cy="2380579"/>
          </a:xfrm>
        </p:spPr>
        <p:txBody>
          <a:bodyPr/>
          <a:lstStyle/>
          <a:p>
            <a:r>
              <a:rPr lang="en-US"/>
              <a:t>Building Agentic Workflows</a:t>
            </a:r>
          </a:p>
        </p:txBody>
      </p:sp>
      <p:sp>
        <p:nvSpPr>
          <p:cNvPr id="4" name="Text Placeholder 3">
            <a:extLst>
              <a:ext uri="{FF2B5EF4-FFF2-40B4-BE49-F238E27FC236}">
                <a16:creationId xmlns:a16="http://schemas.microsoft.com/office/drawing/2014/main" id="{DA7D11EF-D0BC-8141-0A42-CDC1C55B43E3}"/>
              </a:ext>
            </a:extLst>
          </p:cNvPr>
          <p:cNvSpPr>
            <a:spLocks noGrp="1"/>
          </p:cNvSpPr>
          <p:nvPr>
            <p:ph type="body" idx="1"/>
          </p:nvPr>
        </p:nvSpPr>
        <p:spPr>
          <a:xfrm>
            <a:off x="480721" y="3569057"/>
            <a:ext cx="9997440" cy="2444881"/>
          </a:xfrm>
        </p:spPr>
        <p:txBody>
          <a:bodyPr vert="horz" lIns="91440" tIns="45720" rIns="91440" bIns="45720" rtlCol="0" anchor="t">
            <a:noAutofit/>
          </a:bodyPr>
          <a:lstStyle/>
          <a:p>
            <a:endParaRPr lang="en-US" sz="2000"/>
          </a:p>
        </p:txBody>
      </p:sp>
    </p:spTree>
    <p:extLst>
      <p:ext uri="{BB962C8B-B14F-4D97-AF65-F5344CB8AC3E}">
        <p14:creationId xmlns:p14="http://schemas.microsoft.com/office/powerpoint/2010/main" val="110954043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FEBFA462-60B4-8CCF-99FE-2766AE1AF2C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63DC8EF-9B9B-774C-E795-F893A712EE01}"/>
              </a:ext>
            </a:extLst>
          </p:cNvPr>
          <p:cNvSpPr>
            <a:spLocks noGrp="1"/>
          </p:cNvSpPr>
          <p:nvPr>
            <p:ph type="title"/>
          </p:nvPr>
        </p:nvSpPr>
        <p:spPr>
          <a:xfrm>
            <a:off x="461215" y="1171244"/>
            <a:ext cx="9997440" cy="2380579"/>
          </a:xfrm>
        </p:spPr>
        <p:txBody>
          <a:bodyPr/>
          <a:lstStyle/>
          <a:p>
            <a:r>
              <a:rPr lang="en-US"/>
              <a:t>Privacy Safety and Ethics with Agents</a:t>
            </a:r>
          </a:p>
        </p:txBody>
      </p:sp>
      <p:sp>
        <p:nvSpPr>
          <p:cNvPr id="4" name="Text Placeholder 3">
            <a:extLst>
              <a:ext uri="{FF2B5EF4-FFF2-40B4-BE49-F238E27FC236}">
                <a16:creationId xmlns:a16="http://schemas.microsoft.com/office/drawing/2014/main" id="{061977EE-0E46-46F3-AAFC-8D088AB769DF}"/>
              </a:ext>
            </a:extLst>
          </p:cNvPr>
          <p:cNvSpPr>
            <a:spLocks noGrp="1"/>
          </p:cNvSpPr>
          <p:nvPr>
            <p:ph type="body" idx="1"/>
          </p:nvPr>
        </p:nvSpPr>
        <p:spPr>
          <a:xfrm>
            <a:off x="480721" y="3569057"/>
            <a:ext cx="9997440" cy="2444881"/>
          </a:xfrm>
        </p:spPr>
        <p:txBody>
          <a:bodyPr vert="horz" lIns="91440" tIns="45720" rIns="91440" bIns="45720" rtlCol="0" anchor="t">
            <a:noAutofit/>
          </a:bodyPr>
          <a:lstStyle/>
          <a:p>
            <a:endParaRPr lang="en-US" sz="2000"/>
          </a:p>
        </p:txBody>
      </p:sp>
    </p:spTree>
    <p:extLst>
      <p:ext uri="{BB962C8B-B14F-4D97-AF65-F5344CB8AC3E}">
        <p14:creationId xmlns:p14="http://schemas.microsoft.com/office/powerpoint/2010/main" val="92814195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966CC24A-2628-869B-AA91-89EFEE494C1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51EE5CD-AA22-360E-7AAA-7B2C4BCAB36B}"/>
              </a:ext>
            </a:extLst>
          </p:cNvPr>
          <p:cNvSpPr>
            <a:spLocks noGrp="1"/>
          </p:cNvSpPr>
          <p:nvPr>
            <p:ph type="title"/>
          </p:nvPr>
        </p:nvSpPr>
        <p:spPr>
          <a:xfrm>
            <a:off x="461215" y="1171244"/>
            <a:ext cx="9997440" cy="2380579"/>
          </a:xfrm>
        </p:spPr>
        <p:txBody>
          <a:bodyPr/>
          <a:lstStyle/>
          <a:p>
            <a:r>
              <a:rPr lang="en-US"/>
              <a:t>Human Agent Interaction</a:t>
            </a:r>
          </a:p>
        </p:txBody>
      </p:sp>
      <p:sp>
        <p:nvSpPr>
          <p:cNvPr id="4" name="Text Placeholder 3">
            <a:extLst>
              <a:ext uri="{FF2B5EF4-FFF2-40B4-BE49-F238E27FC236}">
                <a16:creationId xmlns:a16="http://schemas.microsoft.com/office/drawing/2014/main" id="{75AC7D8A-79CB-9243-8616-E84FDFDA348B}"/>
              </a:ext>
            </a:extLst>
          </p:cNvPr>
          <p:cNvSpPr>
            <a:spLocks noGrp="1"/>
          </p:cNvSpPr>
          <p:nvPr>
            <p:ph type="body" idx="1"/>
          </p:nvPr>
        </p:nvSpPr>
        <p:spPr>
          <a:xfrm>
            <a:off x="480721" y="3569057"/>
            <a:ext cx="9997440" cy="2444881"/>
          </a:xfrm>
        </p:spPr>
        <p:txBody>
          <a:bodyPr vert="horz" lIns="91440" tIns="45720" rIns="91440" bIns="45720" rtlCol="0" anchor="t">
            <a:noAutofit/>
          </a:bodyPr>
          <a:lstStyle/>
          <a:p>
            <a:endParaRPr lang="en-US" sz="2000"/>
          </a:p>
        </p:txBody>
      </p:sp>
    </p:spTree>
    <p:extLst>
      <p:ext uri="{BB962C8B-B14F-4D97-AF65-F5344CB8AC3E}">
        <p14:creationId xmlns:p14="http://schemas.microsoft.com/office/powerpoint/2010/main" val="259606182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4A44F1C1-3AD8-70A6-56B1-CF742F34FE5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A12242F-707F-5179-E306-D8040975C74A}"/>
              </a:ext>
            </a:extLst>
          </p:cNvPr>
          <p:cNvSpPr>
            <a:spLocks noGrp="1"/>
          </p:cNvSpPr>
          <p:nvPr>
            <p:ph type="title"/>
          </p:nvPr>
        </p:nvSpPr>
        <p:spPr>
          <a:xfrm>
            <a:off x="461215" y="1171244"/>
            <a:ext cx="9997440" cy="2380579"/>
          </a:xfrm>
        </p:spPr>
        <p:txBody>
          <a:bodyPr/>
          <a:lstStyle/>
          <a:p>
            <a:r>
              <a:rPr lang="en-US"/>
              <a:t>Building Multi Agent Systems</a:t>
            </a:r>
          </a:p>
        </p:txBody>
      </p:sp>
      <p:sp>
        <p:nvSpPr>
          <p:cNvPr id="4" name="Text Placeholder 3">
            <a:extLst>
              <a:ext uri="{FF2B5EF4-FFF2-40B4-BE49-F238E27FC236}">
                <a16:creationId xmlns:a16="http://schemas.microsoft.com/office/drawing/2014/main" id="{64434383-BC68-2C84-09C6-2C27392318E8}"/>
              </a:ext>
            </a:extLst>
          </p:cNvPr>
          <p:cNvSpPr>
            <a:spLocks noGrp="1"/>
          </p:cNvSpPr>
          <p:nvPr>
            <p:ph type="body" idx="1"/>
          </p:nvPr>
        </p:nvSpPr>
        <p:spPr>
          <a:xfrm>
            <a:off x="480721" y="3569057"/>
            <a:ext cx="9997440" cy="2444881"/>
          </a:xfrm>
        </p:spPr>
        <p:txBody>
          <a:bodyPr vert="horz" lIns="91440" tIns="45720" rIns="91440" bIns="45720" rtlCol="0" anchor="t">
            <a:noAutofit/>
          </a:bodyPr>
          <a:lstStyle/>
          <a:p>
            <a:endParaRPr lang="en-US" sz="2000"/>
          </a:p>
        </p:txBody>
      </p:sp>
    </p:spTree>
    <p:extLst>
      <p:ext uri="{BB962C8B-B14F-4D97-AF65-F5344CB8AC3E}">
        <p14:creationId xmlns:p14="http://schemas.microsoft.com/office/powerpoint/2010/main" val="106670813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B1CB5AC7-2718-7AD0-FB13-44BEA7E3880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6F1B325-6546-DA8F-7D44-BEE4ABFB1863}"/>
              </a:ext>
            </a:extLst>
          </p:cNvPr>
          <p:cNvSpPr>
            <a:spLocks noGrp="1"/>
          </p:cNvSpPr>
          <p:nvPr>
            <p:ph type="title"/>
          </p:nvPr>
        </p:nvSpPr>
        <p:spPr>
          <a:xfrm>
            <a:off x="461215" y="1171244"/>
            <a:ext cx="9997440" cy="2380579"/>
          </a:xfrm>
        </p:spPr>
        <p:txBody>
          <a:bodyPr/>
          <a:lstStyle/>
          <a:p>
            <a:r>
              <a:rPr lang="en-US"/>
              <a:t>Tool Use for AI Agents</a:t>
            </a:r>
          </a:p>
        </p:txBody>
      </p:sp>
      <p:sp>
        <p:nvSpPr>
          <p:cNvPr id="4" name="Text Placeholder 3">
            <a:extLst>
              <a:ext uri="{FF2B5EF4-FFF2-40B4-BE49-F238E27FC236}">
                <a16:creationId xmlns:a16="http://schemas.microsoft.com/office/drawing/2014/main" id="{F1BF8C25-68A1-0679-6251-9063CA7E1CAB}"/>
              </a:ext>
            </a:extLst>
          </p:cNvPr>
          <p:cNvSpPr>
            <a:spLocks noGrp="1"/>
          </p:cNvSpPr>
          <p:nvPr>
            <p:ph type="body" idx="1"/>
          </p:nvPr>
        </p:nvSpPr>
        <p:spPr>
          <a:xfrm>
            <a:off x="480721" y="3569057"/>
            <a:ext cx="9997440" cy="2444881"/>
          </a:xfrm>
        </p:spPr>
        <p:txBody>
          <a:bodyPr vert="horz" lIns="91440" tIns="45720" rIns="91440" bIns="45720" rtlCol="0" anchor="t">
            <a:noAutofit/>
          </a:bodyPr>
          <a:lstStyle/>
          <a:p>
            <a:endParaRPr lang="en-US" sz="2000"/>
          </a:p>
        </p:txBody>
      </p:sp>
    </p:spTree>
    <p:extLst>
      <p:ext uri="{BB962C8B-B14F-4D97-AF65-F5344CB8AC3E}">
        <p14:creationId xmlns:p14="http://schemas.microsoft.com/office/powerpoint/2010/main" val="298984325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0FB918D9-2EE5-AF54-F417-9108DC3BA8E3}"/>
            </a:ext>
          </a:extLst>
        </p:cNvPr>
        <p:cNvGrpSpPr/>
        <p:nvPr/>
      </p:nvGrpSpPr>
      <p:grpSpPr>
        <a:xfrm>
          <a:off x="0" y="0"/>
          <a:ext cx="0" cy="0"/>
          <a:chOff x="0" y="0"/>
          <a:chExt cx="0" cy="0"/>
        </a:xfrm>
      </p:grpSpPr>
      <p:graphicFrame>
        <p:nvGraphicFramePr>
          <p:cNvPr id="3" name="Chart 2">
            <a:extLst>
              <a:ext uri="{FF2B5EF4-FFF2-40B4-BE49-F238E27FC236}">
                <a16:creationId xmlns:a16="http://schemas.microsoft.com/office/drawing/2014/main" id="{6053C32F-7DB0-0B20-1CDF-891C62677F77}"/>
              </a:ext>
            </a:extLst>
          </p:cNvPr>
          <p:cNvGraphicFramePr/>
          <p:nvPr>
            <p:extLst>
              <p:ext uri="{D42A27DB-BD31-4B8C-83A1-F6EECF244321}">
                <p14:modId xmlns:p14="http://schemas.microsoft.com/office/powerpoint/2010/main" val="1108260903"/>
              </p:ext>
            </p:extLst>
          </p:nvPr>
        </p:nvGraphicFramePr>
        <p:xfrm>
          <a:off x="1983139" y="782488"/>
          <a:ext cx="8128000" cy="5418667"/>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4" name="Chart 3">
            <a:extLst>
              <a:ext uri="{FF2B5EF4-FFF2-40B4-BE49-F238E27FC236}">
                <a16:creationId xmlns:a16="http://schemas.microsoft.com/office/drawing/2014/main" id="{2AF6EB54-97AC-F243-D3C0-BFD4C62BE219}"/>
              </a:ext>
            </a:extLst>
          </p:cNvPr>
          <p:cNvGraphicFramePr/>
          <p:nvPr>
            <p:extLst>
              <p:ext uri="{D42A27DB-BD31-4B8C-83A1-F6EECF244321}">
                <p14:modId xmlns:p14="http://schemas.microsoft.com/office/powerpoint/2010/main" val="1036422108"/>
              </p:ext>
            </p:extLst>
          </p:nvPr>
        </p:nvGraphicFramePr>
        <p:xfrm>
          <a:off x="2080861" y="7503328"/>
          <a:ext cx="8128000" cy="5418667"/>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125970053"/>
      </p:ext>
    </p:extLst>
  </p:cSld>
  <p:clrMapOvr>
    <a:masterClrMapping/>
  </p:clrMapOvr>
  <p:extLst>
    <p:ext uri="{6950BFC3-D8DA-4A85-94F7-54DA5524770B}">
      <p188:commentRel xmlns:p188="http://schemas.microsoft.com/office/powerpoint/2018/8/main" r:id="rId3"/>
    </p:ext>
  </p:extLst>
</p:sld>
</file>

<file path=ppt/slides/slide6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B14D99-24C8-0F03-C52E-F4FA06922449}"/>
              </a:ext>
            </a:extLst>
          </p:cNvPr>
          <p:cNvSpPr>
            <a:spLocks noGrp="1"/>
          </p:cNvSpPr>
          <p:nvPr>
            <p:ph type="title"/>
          </p:nvPr>
        </p:nvSpPr>
        <p:spPr/>
        <p:txBody>
          <a:bodyPr/>
          <a:lstStyle/>
          <a:p>
            <a:r>
              <a:rPr lang="en-US"/>
              <a:t>What we will cover…</a:t>
            </a:r>
          </a:p>
        </p:txBody>
      </p:sp>
      <p:sp>
        <p:nvSpPr>
          <p:cNvPr id="3" name="Freeform 584">
            <a:extLst>
              <a:ext uri="{FF2B5EF4-FFF2-40B4-BE49-F238E27FC236}">
                <a16:creationId xmlns:a16="http://schemas.microsoft.com/office/drawing/2014/main" id="{C11BAF8A-43AF-9B20-AE08-38F9466FA0A8}"/>
              </a:ext>
            </a:extLst>
          </p:cNvPr>
          <p:cNvSpPr>
            <a:spLocks/>
          </p:cNvSpPr>
          <p:nvPr/>
        </p:nvSpPr>
        <p:spPr bwMode="auto">
          <a:xfrm>
            <a:off x="978608" y="1459747"/>
            <a:ext cx="4859221" cy="1145378"/>
          </a:xfrm>
          <a:custGeom>
            <a:avLst/>
            <a:gdLst>
              <a:gd name="T0" fmla="*/ 13835 w 14066"/>
              <a:gd name="T1" fmla="*/ 744 h 3315"/>
              <a:gd name="T2" fmla="*/ 13713 w 14066"/>
              <a:gd name="T3" fmla="*/ 454 h 3315"/>
              <a:gd name="T4" fmla="*/ 13456 w 14066"/>
              <a:gd name="T5" fmla="*/ 280 h 3315"/>
              <a:gd name="T6" fmla="*/ 2543 w 14066"/>
              <a:gd name="T7" fmla="*/ 257 h 3315"/>
              <a:gd name="T8" fmla="*/ 2291 w 14066"/>
              <a:gd name="T9" fmla="*/ 124 h 3315"/>
              <a:gd name="T10" fmla="*/ 1956 w 14066"/>
              <a:gd name="T11" fmla="*/ 26 h 3315"/>
              <a:gd name="T12" fmla="*/ 1658 w 14066"/>
              <a:gd name="T13" fmla="*/ 0 h 3315"/>
              <a:gd name="T14" fmla="*/ 1243 w 14066"/>
              <a:gd name="T15" fmla="*/ 52 h 3315"/>
              <a:gd name="T16" fmla="*/ 798 w 14066"/>
              <a:gd name="T17" fmla="*/ 240 h 3315"/>
              <a:gd name="T18" fmla="*/ 431 w 14066"/>
              <a:gd name="T19" fmla="*/ 543 h 3315"/>
              <a:gd name="T20" fmla="*/ 162 w 14066"/>
              <a:gd name="T21" fmla="*/ 938 h 3315"/>
              <a:gd name="T22" fmla="*/ 19 w 14066"/>
              <a:gd name="T23" fmla="*/ 1405 h 3315"/>
              <a:gd name="T24" fmla="*/ 0 w 14066"/>
              <a:gd name="T25" fmla="*/ 1720 h 3315"/>
              <a:gd name="T26" fmla="*/ 54 w 14066"/>
              <a:gd name="T27" fmla="*/ 2076 h 3315"/>
              <a:gd name="T28" fmla="*/ 177 w 14066"/>
              <a:gd name="T29" fmla="*/ 2404 h 3315"/>
              <a:gd name="T30" fmla="*/ 365 w 14066"/>
              <a:gd name="T31" fmla="*/ 2696 h 3315"/>
              <a:gd name="T32" fmla="*/ 607 w 14066"/>
              <a:gd name="T33" fmla="*/ 2941 h 3315"/>
              <a:gd name="T34" fmla="*/ 896 w 14066"/>
              <a:gd name="T35" fmla="*/ 3130 h 3315"/>
              <a:gd name="T36" fmla="*/ 1199 w 14066"/>
              <a:gd name="T37" fmla="*/ 3252 h 3315"/>
              <a:gd name="T38" fmla="*/ 1658 w 14066"/>
              <a:gd name="T39" fmla="*/ 3315 h 3315"/>
              <a:gd name="T40" fmla="*/ 1700 w 14066"/>
              <a:gd name="T41" fmla="*/ 3315 h 3315"/>
              <a:gd name="T42" fmla="*/ 1766 w 14066"/>
              <a:gd name="T43" fmla="*/ 3312 h 3315"/>
              <a:gd name="T44" fmla="*/ 1834 w 14066"/>
              <a:gd name="T45" fmla="*/ 3306 h 3315"/>
              <a:gd name="T46" fmla="*/ 1899 w 14066"/>
              <a:gd name="T47" fmla="*/ 3297 h 3315"/>
              <a:gd name="T48" fmla="*/ 1954 w 14066"/>
              <a:gd name="T49" fmla="*/ 3288 h 3315"/>
              <a:gd name="T50" fmla="*/ 2011 w 14066"/>
              <a:gd name="T51" fmla="*/ 3278 h 3315"/>
              <a:gd name="T52" fmla="*/ 2070 w 14066"/>
              <a:gd name="T53" fmla="*/ 3264 h 3315"/>
              <a:gd name="T54" fmla="*/ 2125 w 14066"/>
              <a:gd name="T55" fmla="*/ 3248 h 3315"/>
              <a:gd name="T56" fmla="*/ 2178 w 14066"/>
              <a:gd name="T57" fmla="*/ 3231 h 3315"/>
              <a:gd name="T58" fmla="*/ 2241 w 14066"/>
              <a:gd name="T59" fmla="*/ 3209 h 3315"/>
              <a:gd name="T60" fmla="*/ 2328 w 14066"/>
              <a:gd name="T61" fmla="*/ 3174 h 3315"/>
              <a:gd name="T62" fmla="*/ 2790 w 14066"/>
              <a:gd name="T63" fmla="*/ 2870 h 3315"/>
              <a:gd name="T64" fmla="*/ 2855 w 14066"/>
              <a:gd name="T65" fmla="*/ 2805 h 3315"/>
              <a:gd name="T66" fmla="*/ 2869 w 14066"/>
              <a:gd name="T67" fmla="*/ 2789 h 3315"/>
              <a:gd name="T68" fmla="*/ 2896 w 14066"/>
              <a:gd name="T69" fmla="*/ 2759 h 3315"/>
              <a:gd name="T70" fmla="*/ 2901 w 14066"/>
              <a:gd name="T71" fmla="*/ 2754 h 3315"/>
              <a:gd name="T72" fmla="*/ 2931 w 14066"/>
              <a:gd name="T73" fmla="*/ 2719 h 3315"/>
              <a:gd name="T74" fmla="*/ 2934 w 14066"/>
              <a:gd name="T75" fmla="*/ 2717 h 3315"/>
              <a:gd name="T76" fmla="*/ 2943 w 14066"/>
              <a:gd name="T77" fmla="*/ 2706 h 3315"/>
              <a:gd name="T78" fmla="*/ 2966 w 14066"/>
              <a:gd name="T79" fmla="*/ 2676 h 3315"/>
              <a:gd name="T80" fmla="*/ 2985 w 14066"/>
              <a:gd name="T81" fmla="*/ 2651 h 3315"/>
              <a:gd name="T82" fmla="*/ 3317 w 14066"/>
              <a:gd name="T83" fmla="*/ 2985 h 3315"/>
              <a:gd name="T84" fmla="*/ 3825 w 14066"/>
              <a:gd name="T85" fmla="*/ 3244 h 3315"/>
              <a:gd name="T86" fmla="*/ 4313 w 14066"/>
              <a:gd name="T87" fmla="*/ 3315 h 3315"/>
              <a:gd name="T88" fmla="*/ 13693 w 14066"/>
              <a:gd name="T89" fmla="*/ 3292 h 3315"/>
              <a:gd name="T90" fmla="*/ 13745 w 14066"/>
              <a:gd name="T91" fmla="*/ 3273 h 3315"/>
              <a:gd name="T92" fmla="*/ 13804 w 14066"/>
              <a:gd name="T93" fmla="*/ 3243 h 3315"/>
              <a:gd name="T94" fmla="*/ 13909 w 14066"/>
              <a:gd name="T95" fmla="*/ 3161 h 3315"/>
              <a:gd name="T96" fmla="*/ 14003 w 14066"/>
              <a:gd name="T97" fmla="*/ 3038 h 3315"/>
              <a:gd name="T98" fmla="*/ 14066 w 14066"/>
              <a:gd name="T99" fmla="*/ 2784 h 3315"/>
              <a:gd name="T100" fmla="*/ 14066 w 14066"/>
              <a:gd name="T101" fmla="*/ 2654 h 3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066" h="3315">
                <a:moveTo>
                  <a:pt x="13837" y="2654"/>
                </a:moveTo>
                <a:lnTo>
                  <a:pt x="13837" y="800"/>
                </a:lnTo>
                <a:lnTo>
                  <a:pt x="13835" y="744"/>
                </a:lnTo>
                <a:lnTo>
                  <a:pt x="13813" y="638"/>
                </a:lnTo>
                <a:lnTo>
                  <a:pt x="13772" y="540"/>
                </a:lnTo>
                <a:lnTo>
                  <a:pt x="13713" y="454"/>
                </a:lnTo>
                <a:lnTo>
                  <a:pt x="13640" y="380"/>
                </a:lnTo>
                <a:lnTo>
                  <a:pt x="13553" y="321"/>
                </a:lnTo>
                <a:lnTo>
                  <a:pt x="13456" y="280"/>
                </a:lnTo>
                <a:lnTo>
                  <a:pt x="13349" y="258"/>
                </a:lnTo>
                <a:lnTo>
                  <a:pt x="13294" y="257"/>
                </a:lnTo>
                <a:lnTo>
                  <a:pt x="2543" y="257"/>
                </a:lnTo>
                <a:lnTo>
                  <a:pt x="2494" y="227"/>
                </a:lnTo>
                <a:lnTo>
                  <a:pt x="2394" y="172"/>
                </a:lnTo>
                <a:lnTo>
                  <a:pt x="2291" y="124"/>
                </a:lnTo>
                <a:lnTo>
                  <a:pt x="2182" y="84"/>
                </a:lnTo>
                <a:lnTo>
                  <a:pt x="2070" y="52"/>
                </a:lnTo>
                <a:lnTo>
                  <a:pt x="1956" y="26"/>
                </a:lnTo>
                <a:lnTo>
                  <a:pt x="1838" y="9"/>
                </a:lnTo>
                <a:lnTo>
                  <a:pt x="1719" y="0"/>
                </a:lnTo>
                <a:lnTo>
                  <a:pt x="1658" y="0"/>
                </a:lnTo>
                <a:lnTo>
                  <a:pt x="1573" y="1"/>
                </a:lnTo>
                <a:lnTo>
                  <a:pt x="1405" y="18"/>
                </a:lnTo>
                <a:lnTo>
                  <a:pt x="1243" y="52"/>
                </a:lnTo>
                <a:lnTo>
                  <a:pt x="1088" y="100"/>
                </a:lnTo>
                <a:lnTo>
                  <a:pt x="939" y="163"/>
                </a:lnTo>
                <a:lnTo>
                  <a:pt x="798" y="240"/>
                </a:lnTo>
                <a:lnTo>
                  <a:pt x="665" y="329"/>
                </a:lnTo>
                <a:lnTo>
                  <a:pt x="542" y="430"/>
                </a:lnTo>
                <a:lnTo>
                  <a:pt x="431" y="543"/>
                </a:lnTo>
                <a:lnTo>
                  <a:pt x="328" y="665"/>
                </a:lnTo>
                <a:lnTo>
                  <a:pt x="239" y="797"/>
                </a:lnTo>
                <a:lnTo>
                  <a:pt x="162" y="938"/>
                </a:lnTo>
                <a:lnTo>
                  <a:pt x="100" y="1087"/>
                </a:lnTo>
                <a:lnTo>
                  <a:pt x="51" y="1243"/>
                </a:lnTo>
                <a:lnTo>
                  <a:pt x="19" y="1405"/>
                </a:lnTo>
                <a:lnTo>
                  <a:pt x="2" y="1572"/>
                </a:lnTo>
                <a:lnTo>
                  <a:pt x="0" y="1658"/>
                </a:lnTo>
                <a:lnTo>
                  <a:pt x="0" y="1720"/>
                </a:lnTo>
                <a:lnTo>
                  <a:pt x="10" y="1842"/>
                </a:lnTo>
                <a:lnTo>
                  <a:pt x="28" y="1961"/>
                </a:lnTo>
                <a:lnTo>
                  <a:pt x="54" y="2076"/>
                </a:lnTo>
                <a:lnTo>
                  <a:pt x="87" y="2190"/>
                </a:lnTo>
                <a:lnTo>
                  <a:pt x="129" y="2299"/>
                </a:lnTo>
                <a:lnTo>
                  <a:pt x="177" y="2404"/>
                </a:lnTo>
                <a:lnTo>
                  <a:pt x="234" y="2507"/>
                </a:lnTo>
                <a:lnTo>
                  <a:pt x="296" y="2604"/>
                </a:lnTo>
                <a:lnTo>
                  <a:pt x="365" y="2696"/>
                </a:lnTo>
                <a:lnTo>
                  <a:pt x="440" y="2783"/>
                </a:lnTo>
                <a:lnTo>
                  <a:pt x="520" y="2864"/>
                </a:lnTo>
                <a:lnTo>
                  <a:pt x="607" y="2941"/>
                </a:lnTo>
                <a:lnTo>
                  <a:pt x="699" y="3010"/>
                </a:lnTo>
                <a:lnTo>
                  <a:pt x="795" y="3073"/>
                </a:lnTo>
                <a:lnTo>
                  <a:pt x="896" y="3130"/>
                </a:lnTo>
                <a:lnTo>
                  <a:pt x="948" y="3156"/>
                </a:lnTo>
                <a:lnTo>
                  <a:pt x="1030" y="3192"/>
                </a:lnTo>
                <a:lnTo>
                  <a:pt x="1199" y="3252"/>
                </a:lnTo>
                <a:lnTo>
                  <a:pt x="1378" y="3293"/>
                </a:lnTo>
                <a:lnTo>
                  <a:pt x="1564" y="3314"/>
                </a:lnTo>
                <a:lnTo>
                  <a:pt x="1658" y="3315"/>
                </a:lnTo>
                <a:lnTo>
                  <a:pt x="1658" y="3315"/>
                </a:lnTo>
                <a:lnTo>
                  <a:pt x="1659" y="3315"/>
                </a:lnTo>
                <a:lnTo>
                  <a:pt x="1700" y="3315"/>
                </a:lnTo>
                <a:lnTo>
                  <a:pt x="1740" y="3313"/>
                </a:lnTo>
                <a:lnTo>
                  <a:pt x="1753" y="3313"/>
                </a:lnTo>
                <a:lnTo>
                  <a:pt x="1766" y="3312"/>
                </a:lnTo>
                <a:lnTo>
                  <a:pt x="1793" y="3310"/>
                </a:lnTo>
                <a:lnTo>
                  <a:pt x="1820" y="3308"/>
                </a:lnTo>
                <a:lnTo>
                  <a:pt x="1834" y="3306"/>
                </a:lnTo>
                <a:lnTo>
                  <a:pt x="1850" y="3304"/>
                </a:lnTo>
                <a:lnTo>
                  <a:pt x="1875" y="3301"/>
                </a:lnTo>
                <a:lnTo>
                  <a:pt x="1899" y="3297"/>
                </a:lnTo>
                <a:lnTo>
                  <a:pt x="1915" y="3296"/>
                </a:lnTo>
                <a:lnTo>
                  <a:pt x="1932" y="3292"/>
                </a:lnTo>
                <a:lnTo>
                  <a:pt x="1954" y="3288"/>
                </a:lnTo>
                <a:lnTo>
                  <a:pt x="1977" y="3284"/>
                </a:lnTo>
                <a:lnTo>
                  <a:pt x="1994" y="3282"/>
                </a:lnTo>
                <a:lnTo>
                  <a:pt x="2011" y="3278"/>
                </a:lnTo>
                <a:lnTo>
                  <a:pt x="2031" y="3273"/>
                </a:lnTo>
                <a:lnTo>
                  <a:pt x="2052" y="3268"/>
                </a:lnTo>
                <a:lnTo>
                  <a:pt x="2070" y="3264"/>
                </a:lnTo>
                <a:lnTo>
                  <a:pt x="2089" y="3258"/>
                </a:lnTo>
                <a:lnTo>
                  <a:pt x="2107" y="3253"/>
                </a:lnTo>
                <a:lnTo>
                  <a:pt x="2125" y="3248"/>
                </a:lnTo>
                <a:lnTo>
                  <a:pt x="2146" y="3243"/>
                </a:lnTo>
                <a:lnTo>
                  <a:pt x="2165" y="3236"/>
                </a:lnTo>
                <a:lnTo>
                  <a:pt x="2178" y="3231"/>
                </a:lnTo>
                <a:lnTo>
                  <a:pt x="2191" y="3227"/>
                </a:lnTo>
                <a:lnTo>
                  <a:pt x="2217" y="3218"/>
                </a:lnTo>
                <a:lnTo>
                  <a:pt x="2241" y="3209"/>
                </a:lnTo>
                <a:lnTo>
                  <a:pt x="2241" y="3209"/>
                </a:lnTo>
                <a:lnTo>
                  <a:pt x="2241" y="3209"/>
                </a:lnTo>
                <a:lnTo>
                  <a:pt x="2328" y="3174"/>
                </a:lnTo>
                <a:lnTo>
                  <a:pt x="2494" y="3090"/>
                </a:lnTo>
                <a:lnTo>
                  <a:pt x="2648" y="2989"/>
                </a:lnTo>
                <a:lnTo>
                  <a:pt x="2790" y="2870"/>
                </a:lnTo>
                <a:lnTo>
                  <a:pt x="2855" y="2805"/>
                </a:lnTo>
                <a:lnTo>
                  <a:pt x="2855" y="2805"/>
                </a:lnTo>
                <a:lnTo>
                  <a:pt x="2855" y="2805"/>
                </a:lnTo>
                <a:lnTo>
                  <a:pt x="2858" y="2801"/>
                </a:lnTo>
                <a:lnTo>
                  <a:pt x="2862" y="2797"/>
                </a:lnTo>
                <a:lnTo>
                  <a:pt x="2869" y="2789"/>
                </a:lnTo>
                <a:lnTo>
                  <a:pt x="2875" y="2783"/>
                </a:lnTo>
                <a:lnTo>
                  <a:pt x="2886" y="2771"/>
                </a:lnTo>
                <a:lnTo>
                  <a:pt x="2896" y="2759"/>
                </a:lnTo>
                <a:lnTo>
                  <a:pt x="2896" y="2759"/>
                </a:lnTo>
                <a:lnTo>
                  <a:pt x="2896" y="2759"/>
                </a:lnTo>
                <a:lnTo>
                  <a:pt x="2901" y="2754"/>
                </a:lnTo>
                <a:lnTo>
                  <a:pt x="2906" y="2748"/>
                </a:lnTo>
                <a:lnTo>
                  <a:pt x="2919" y="2734"/>
                </a:lnTo>
                <a:lnTo>
                  <a:pt x="2931" y="2719"/>
                </a:lnTo>
                <a:lnTo>
                  <a:pt x="2931" y="2719"/>
                </a:lnTo>
                <a:lnTo>
                  <a:pt x="2932" y="2718"/>
                </a:lnTo>
                <a:lnTo>
                  <a:pt x="2934" y="2717"/>
                </a:lnTo>
                <a:lnTo>
                  <a:pt x="2935" y="2715"/>
                </a:lnTo>
                <a:lnTo>
                  <a:pt x="2939" y="2710"/>
                </a:lnTo>
                <a:lnTo>
                  <a:pt x="2943" y="2706"/>
                </a:lnTo>
                <a:lnTo>
                  <a:pt x="2947" y="2701"/>
                </a:lnTo>
                <a:lnTo>
                  <a:pt x="2950" y="2696"/>
                </a:lnTo>
                <a:lnTo>
                  <a:pt x="2966" y="2676"/>
                </a:lnTo>
                <a:lnTo>
                  <a:pt x="2980" y="2658"/>
                </a:lnTo>
                <a:lnTo>
                  <a:pt x="2983" y="2654"/>
                </a:lnTo>
                <a:lnTo>
                  <a:pt x="2985" y="2651"/>
                </a:lnTo>
                <a:lnTo>
                  <a:pt x="3044" y="2726"/>
                </a:lnTo>
                <a:lnTo>
                  <a:pt x="3173" y="2863"/>
                </a:lnTo>
                <a:lnTo>
                  <a:pt x="3317" y="2985"/>
                </a:lnTo>
                <a:lnTo>
                  <a:pt x="3475" y="3090"/>
                </a:lnTo>
                <a:lnTo>
                  <a:pt x="3645" y="3177"/>
                </a:lnTo>
                <a:lnTo>
                  <a:pt x="3825" y="3244"/>
                </a:lnTo>
                <a:lnTo>
                  <a:pt x="4015" y="3290"/>
                </a:lnTo>
                <a:lnTo>
                  <a:pt x="4212" y="3313"/>
                </a:lnTo>
                <a:lnTo>
                  <a:pt x="4313" y="3315"/>
                </a:lnTo>
                <a:lnTo>
                  <a:pt x="13535" y="3315"/>
                </a:lnTo>
                <a:lnTo>
                  <a:pt x="13589" y="3314"/>
                </a:lnTo>
                <a:lnTo>
                  <a:pt x="13693" y="3292"/>
                </a:lnTo>
                <a:lnTo>
                  <a:pt x="13741" y="3274"/>
                </a:lnTo>
                <a:lnTo>
                  <a:pt x="13743" y="3273"/>
                </a:lnTo>
                <a:lnTo>
                  <a:pt x="13745" y="3273"/>
                </a:lnTo>
                <a:lnTo>
                  <a:pt x="13755" y="3268"/>
                </a:lnTo>
                <a:lnTo>
                  <a:pt x="13765" y="3264"/>
                </a:lnTo>
                <a:lnTo>
                  <a:pt x="13804" y="3243"/>
                </a:lnTo>
                <a:lnTo>
                  <a:pt x="13877" y="3192"/>
                </a:lnTo>
                <a:lnTo>
                  <a:pt x="13908" y="3161"/>
                </a:lnTo>
                <a:lnTo>
                  <a:pt x="13909" y="3161"/>
                </a:lnTo>
                <a:lnTo>
                  <a:pt x="13910" y="3160"/>
                </a:lnTo>
                <a:lnTo>
                  <a:pt x="13945" y="3122"/>
                </a:lnTo>
                <a:lnTo>
                  <a:pt x="14003" y="3038"/>
                </a:lnTo>
                <a:lnTo>
                  <a:pt x="14043" y="2942"/>
                </a:lnTo>
                <a:lnTo>
                  <a:pt x="14063" y="2839"/>
                </a:lnTo>
                <a:lnTo>
                  <a:pt x="14066" y="2784"/>
                </a:lnTo>
                <a:lnTo>
                  <a:pt x="14066" y="2784"/>
                </a:lnTo>
                <a:lnTo>
                  <a:pt x="14066" y="2654"/>
                </a:lnTo>
                <a:lnTo>
                  <a:pt x="14066" y="2654"/>
                </a:lnTo>
                <a:lnTo>
                  <a:pt x="13837" y="2654"/>
                </a:ln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 name="Freeform 586">
            <a:extLst>
              <a:ext uri="{FF2B5EF4-FFF2-40B4-BE49-F238E27FC236}">
                <a16:creationId xmlns:a16="http://schemas.microsoft.com/office/drawing/2014/main" id="{E08166AF-EED5-53F1-EF9C-92A09076DB91}"/>
              </a:ext>
            </a:extLst>
          </p:cNvPr>
          <p:cNvSpPr>
            <a:spLocks/>
          </p:cNvSpPr>
          <p:nvPr/>
        </p:nvSpPr>
        <p:spPr bwMode="auto">
          <a:xfrm>
            <a:off x="1838280" y="1450075"/>
            <a:ext cx="3900364" cy="899447"/>
          </a:xfrm>
          <a:custGeom>
            <a:avLst/>
            <a:gdLst>
              <a:gd name="T0" fmla="*/ 0 w 11294"/>
              <a:gd name="T1" fmla="*/ 0 h 2604"/>
              <a:gd name="T2" fmla="*/ 86 w 11294"/>
              <a:gd name="T3" fmla="*/ 56 h 2604"/>
              <a:gd name="T4" fmla="*/ 244 w 11294"/>
              <a:gd name="T5" fmla="*/ 187 h 2604"/>
              <a:gd name="T6" fmla="*/ 385 w 11294"/>
              <a:gd name="T7" fmla="*/ 336 h 2604"/>
              <a:gd name="T8" fmla="*/ 509 w 11294"/>
              <a:gd name="T9" fmla="*/ 500 h 2604"/>
              <a:gd name="T10" fmla="*/ 585 w 11294"/>
              <a:gd name="T11" fmla="*/ 634 h 2604"/>
              <a:gd name="T12" fmla="*/ 630 w 11294"/>
              <a:gd name="T13" fmla="*/ 727 h 2604"/>
              <a:gd name="T14" fmla="*/ 671 w 11294"/>
              <a:gd name="T15" fmla="*/ 824 h 2604"/>
              <a:gd name="T16" fmla="*/ 703 w 11294"/>
              <a:gd name="T17" fmla="*/ 923 h 2604"/>
              <a:gd name="T18" fmla="*/ 730 w 11294"/>
              <a:gd name="T19" fmla="*/ 1025 h 2604"/>
              <a:gd name="T20" fmla="*/ 751 w 11294"/>
              <a:gd name="T21" fmla="*/ 1130 h 2604"/>
              <a:gd name="T22" fmla="*/ 765 w 11294"/>
              <a:gd name="T23" fmla="*/ 1236 h 2604"/>
              <a:gd name="T24" fmla="*/ 772 w 11294"/>
              <a:gd name="T25" fmla="*/ 1345 h 2604"/>
              <a:gd name="T26" fmla="*/ 773 w 11294"/>
              <a:gd name="T27" fmla="*/ 1401 h 2604"/>
              <a:gd name="T28" fmla="*/ 773 w 11294"/>
              <a:gd name="T29" fmla="*/ 1407 h 2604"/>
              <a:gd name="T30" fmla="*/ 773 w 11294"/>
              <a:gd name="T31" fmla="*/ 1414 h 2604"/>
              <a:gd name="T32" fmla="*/ 774 w 11294"/>
              <a:gd name="T33" fmla="*/ 1466 h 2604"/>
              <a:gd name="T34" fmla="*/ 786 w 11294"/>
              <a:gd name="T35" fmla="*/ 1564 h 2604"/>
              <a:gd name="T36" fmla="*/ 807 w 11294"/>
              <a:gd name="T37" fmla="*/ 1660 h 2604"/>
              <a:gd name="T38" fmla="*/ 836 w 11294"/>
              <a:gd name="T39" fmla="*/ 1754 h 2604"/>
              <a:gd name="T40" fmla="*/ 874 w 11294"/>
              <a:gd name="T41" fmla="*/ 1842 h 2604"/>
              <a:gd name="T42" fmla="*/ 921 w 11294"/>
              <a:gd name="T43" fmla="*/ 1925 h 2604"/>
              <a:gd name="T44" fmla="*/ 975 w 11294"/>
              <a:gd name="T45" fmla="*/ 2004 h 2604"/>
              <a:gd name="T46" fmla="*/ 1036 w 11294"/>
              <a:gd name="T47" fmla="*/ 2076 h 2604"/>
              <a:gd name="T48" fmla="*/ 1103 w 11294"/>
              <a:gd name="T49" fmla="*/ 2144 h 2604"/>
              <a:gd name="T50" fmla="*/ 1177 w 11294"/>
              <a:gd name="T51" fmla="*/ 2203 h 2604"/>
              <a:gd name="T52" fmla="*/ 1256 w 11294"/>
              <a:gd name="T53" fmla="*/ 2256 h 2604"/>
              <a:gd name="T54" fmla="*/ 1341 w 11294"/>
              <a:gd name="T55" fmla="*/ 2302 h 2604"/>
              <a:gd name="T56" fmla="*/ 1429 w 11294"/>
              <a:gd name="T57" fmla="*/ 2338 h 2604"/>
              <a:gd name="T58" fmla="*/ 1522 w 11294"/>
              <a:gd name="T59" fmla="*/ 2368 h 2604"/>
              <a:gd name="T60" fmla="*/ 1619 w 11294"/>
              <a:gd name="T61" fmla="*/ 2387 h 2604"/>
              <a:gd name="T62" fmla="*/ 1719 w 11294"/>
              <a:gd name="T63" fmla="*/ 2396 h 2604"/>
              <a:gd name="T64" fmla="*/ 1770 w 11294"/>
              <a:gd name="T65" fmla="*/ 2398 h 2604"/>
              <a:gd name="T66" fmla="*/ 1770 w 11294"/>
              <a:gd name="T67" fmla="*/ 2604 h 2604"/>
              <a:gd name="T68" fmla="*/ 11294 w 11294"/>
              <a:gd name="T69" fmla="*/ 2604 h 2604"/>
              <a:gd name="T70" fmla="*/ 11294 w 11294"/>
              <a:gd name="T71" fmla="*/ 543 h 2604"/>
              <a:gd name="T72" fmla="*/ 11292 w 11294"/>
              <a:gd name="T73" fmla="*/ 487 h 2604"/>
              <a:gd name="T74" fmla="*/ 11270 w 11294"/>
              <a:gd name="T75" fmla="*/ 381 h 2604"/>
              <a:gd name="T76" fmla="*/ 11229 w 11294"/>
              <a:gd name="T77" fmla="*/ 284 h 2604"/>
              <a:gd name="T78" fmla="*/ 11170 w 11294"/>
              <a:gd name="T79" fmla="*/ 197 h 2604"/>
              <a:gd name="T80" fmla="*/ 11097 w 11294"/>
              <a:gd name="T81" fmla="*/ 123 h 2604"/>
              <a:gd name="T82" fmla="*/ 11010 w 11294"/>
              <a:gd name="T83" fmla="*/ 65 h 2604"/>
              <a:gd name="T84" fmla="*/ 10913 w 11294"/>
              <a:gd name="T85" fmla="*/ 23 h 2604"/>
              <a:gd name="T86" fmla="*/ 10806 w 11294"/>
              <a:gd name="T87" fmla="*/ 1 h 2604"/>
              <a:gd name="T88" fmla="*/ 10751 w 11294"/>
              <a:gd name="T89" fmla="*/ 0 h 2604"/>
              <a:gd name="T90" fmla="*/ 0 w 11294"/>
              <a:gd name="T91" fmla="*/ 0 h 2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294" h="2604">
                <a:moveTo>
                  <a:pt x="0" y="0"/>
                </a:moveTo>
                <a:lnTo>
                  <a:pt x="86" y="56"/>
                </a:lnTo>
                <a:lnTo>
                  <a:pt x="244" y="187"/>
                </a:lnTo>
                <a:lnTo>
                  <a:pt x="385" y="336"/>
                </a:lnTo>
                <a:lnTo>
                  <a:pt x="509" y="500"/>
                </a:lnTo>
                <a:lnTo>
                  <a:pt x="585" y="634"/>
                </a:lnTo>
                <a:lnTo>
                  <a:pt x="630" y="727"/>
                </a:lnTo>
                <a:lnTo>
                  <a:pt x="671" y="824"/>
                </a:lnTo>
                <a:lnTo>
                  <a:pt x="703" y="923"/>
                </a:lnTo>
                <a:lnTo>
                  <a:pt x="730" y="1025"/>
                </a:lnTo>
                <a:lnTo>
                  <a:pt x="751" y="1130"/>
                </a:lnTo>
                <a:lnTo>
                  <a:pt x="765" y="1236"/>
                </a:lnTo>
                <a:lnTo>
                  <a:pt x="772" y="1345"/>
                </a:lnTo>
                <a:lnTo>
                  <a:pt x="773" y="1401"/>
                </a:lnTo>
                <a:lnTo>
                  <a:pt x="773" y="1407"/>
                </a:lnTo>
                <a:lnTo>
                  <a:pt x="773" y="1414"/>
                </a:lnTo>
                <a:lnTo>
                  <a:pt x="774" y="1466"/>
                </a:lnTo>
                <a:lnTo>
                  <a:pt x="786" y="1564"/>
                </a:lnTo>
                <a:lnTo>
                  <a:pt x="807" y="1660"/>
                </a:lnTo>
                <a:lnTo>
                  <a:pt x="836" y="1754"/>
                </a:lnTo>
                <a:lnTo>
                  <a:pt x="874" y="1842"/>
                </a:lnTo>
                <a:lnTo>
                  <a:pt x="921" y="1925"/>
                </a:lnTo>
                <a:lnTo>
                  <a:pt x="975" y="2004"/>
                </a:lnTo>
                <a:lnTo>
                  <a:pt x="1036" y="2076"/>
                </a:lnTo>
                <a:lnTo>
                  <a:pt x="1103" y="2144"/>
                </a:lnTo>
                <a:lnTo>
                  <a:pt x="1177" y="2203"/>
                </a:lnTo>
                <a:lnTo>
                  <a:pt x="1256" y="2256"/>
                </a:lnTo>
                <a:lnTo>
                  <a:pt x="1341" y="2302"/>
                </a:lnTo>
                <a:lnTo>
                  <a:pt x="1429" y="2338"/>
                </a:lnTo>
                <a:lnTo>
                  <a:pt x="1522" y="2368"/>
                </a:lnTo>
                <a:lnTo>
                  <a:pt x="1619" y="2387"/>
                </a:lnTo>
                <a:lnTo>
                  <a:pt x="1719" y="2396"/>
                </a:lnTo>
                <a:lnTo>
                  <a:pt x="1770" y="2398"/>
                </a:lnTo>
                <a:lnTo>
                  <a:pt x="1770" y="2604"/>
                </a:lnTo>
                <a:lnTo>
                  <a:pt x="11294" y="2604"/>
                </a:lnTo>
                <a:lnTo>
                  <a:pt x="11294" y="543"/>
                </a:lnTo>
                <a:lnTo>
                  <a:pt x="11292" y="487"/>
                </a:lnTo>
                <a:lnTo>
                  <a:pt x="11270" y="381"/>
                </a:lnTo>
                <a:lnTo>
                  <a:pt x="11229" y="284"/>
                </a:lnTo>
                <a:lnTo>
                  <a:pt x="11170" y="197"/>
                </a:lnTo>
                <a:lnTo>
                  <a:pt x="11097" y="123"/>
                </a:lnTo>
                <a:lnTo>
                  <a:pt x="11010" y="65"/>
                </a:lnTo>
                <a:lnTo>
                  <a:pt x="10913" y="23"/>
                </a:lnTo>
                <a:lnTo>
                  <a:pt x="10806" y="1"/>
                </a:lnTo>
                <a:lnTo>
                  <a:pt x="10751" y="0"/>
                </a:lnTo>
                <a:lnTo>
                  <a:pt x="0" y="0"/>
                </a:ln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5" name="Freeform 584">
            <a:extLst>
              <a:ext uri="{FF2B5EF4-FFF2-40B4-BE49-F238E27FC236}">
                <a16:creationId xmlns:a16="http://schemas.microsoft.com/office/drawing/2014/main" id="{55E81A74-75D1-64AF-4B13-9648C94621FA}"/>
              </a:ext>
            </a:extLst>
          </p:cNvPr>
          <p:cNvSpPr>
            <a:spLocks/>
          </p:cNvSpPr>
          <p:nvPr/>
        </p:nvSpPr>
        <p:spPr bwMode="auto">
          <a:xfrm>
            <a:off x="978608" y="3113056"/>
            <a:ext cx="4859221" cy="1145378"/>
          </a:xfrm>
          <a:custGeom>
            <a:avLst/>
            <a:gdLst>
              <a:gd name="T0" fmla="*/ 13835 w 14066"/>
              <a:gd name="T1" fmla="*/ 744 h 3315"/>
              <a:gd name="T2" fmla="*/ 13713 w 14066"/>
              <a:gd name="T3" fmla="*/ 454 h 3315"/>
              <a:gd name="T4" fmla="*/ 13456 w 14066"/>
              <a:gd name="T5" fmla="*/ 280 h 3315"/>
              <a:gd name="T6" fmla="*/ 2543 w 14066"/>
              <a:gd name="T7" fmla="*/ 257 h 3315"/>
              <a:gd name="T8" fmla="*/ 2291 w 14066"/>
              <a:gd name="T9" fmla="*/ 124 h 3315"/>
              <a:gd name="T10" fmla="*/ 1956 w 14066"/>
              <a:gd name="T11" fmla="*/ 26 h 3315"/>
              <a:gd name="T12" fmla="*/ 1658 w 14066"/>
              <a:gd name="T13" fmla="*/ 0 h 3315"/>
              <a:gd name="T14" fmla="*/ 1243 w 14066"/>
              <a:gd name="T15" fmla="*/ 52 h 3315"/>
              <a:gd name="T16" fmla="*/ 798 w 14066"/>
              <a:gd name="T17" fmla="*/ 240 h 3315"/>
              <a:gd name="T18" fmla="*/ 431 w 14066"/>
              <a:gd name="T19" fmla="*/ 543 h 3315"/>
              <a:gd name="T20" fmla="*/ 162 w 14066"/>
              <a:gd name="T21" fmla="*/ 938 h 3315"/>
              <a:gd name="T22" fmla="*/ 19 w 14066"/>
              <a:gd name="T23" fmla="*/ 1405 h 3315"/>
              <a:gd name="T24" fmla="*/ 0 w 14066"/>
              <a:gd name="T25" fmla="*/ 1720 h 3315"/>
              <a:gd name="T26" fmla="*/ 54 w 14066"/>
              <a:gd name="T27" fmla="*/ 2076 h 3315"/>
              <a:gd name="T28" fmla="*/ 177 w 14066"/>
              <a:gd name="T29" fmla="*/ 2404 h 3315"/>
              <a:gd name="T30" fmla="*/ 365 w 14066"/>
              <a:gd name="T31" fmla="*/ 2696 h 3315"/>
              <a:gd name="T32" fmla="*/ 607 w 14066"/>
              <a:gd name="T33" fmla="*/ 2941 h 3315"/>
              <a:gd name="T34" fmla="*/ 896 w 14066"/>
              <a:gd name="T35" fmla="*/ 3130 h 3315"/>
              <a:gd name="T36" fmla="*/ 1199 w 14066"/>
              <a:gd name="T37" fmla="*/ 3252 h 3315"/>
              <a:gd name="T38" fmla="*/ 1658 w 14066"/>
              <a:gd name="T39" fmla="*/ 3315 h 3315"/>
              <a:gd name="T40" fmla="*/ 1700 w 14066"/>
              <a:gd name="T41" fmla="*/ 3315 h 3315"/>
              <a:gd name="T42" fmla="*/ 1766 w 14066"/>
              <a:gd name="T43" fmla="*/ 3312 h 3315"/>
              <a:gd name="T44" fmla="*/ 1834 w 14066"/>
              <a:gd name="T45" fmla="*/ 3306 h 3315"/>
              <a:gd name="T46" fmla="*/ 1899 w 14066"/>
              <a:gd name="T47" fmla="*/ 3297 h 3315"/>
              <a:gd name="T48" fmla="*/ 1954 w 14066"/>
              <a:gd name="T49" fmla="*/ 3288 h 3315"/>
              <a:gd name="T50" fmla="*/ 2011 w 14066"/>
              <a:gd name="T51" fmla="*/ 3278 h 3315"/>
              <a:gd name="T52" fmla="*/ 2070 w 14066"/>
              <a:gd name="T53" fmla="*/ 3264 h 3315"/>
              <a:gd name="T54" fmla="*/ 2125 w 14066"/>
              <a:gd name="T55" fmla="*/ 3248 h 3315"/>
              <a:gd name="T56" fmla="*/ 2178 w 14066"/>
              <a:gd name="T57" fmla="*/ 3231 h 3315"/>
              <a:gd name="T58" fmla="*/ 2241 w 14066"/>
              <a:gd name="T59" fmla="*/ 3209 h 3315"/>
              <a:gd name="T60" fmla="*/ 2328 w 14066"/>
              <a:gd name="T61" fmla="*/ 3174 h 3315"/>
              <a:gd name="T62" fmla="*/ 2790 w 14066"/>
              <a:gd name="T63" fmla="*/ 2870 h 3315"/>
              <a:gd name="T64" fmla="*/ 2855 w 14066"/>
              <a:gd name="T65" fmla="*/ 2805 h 3315"/>
              <a:gd name="T66" fmla="*/ 2869 w 14066"/>
              <a:gd name="T67" fmla="*/ 2789 h 3315"/>
              <a:gd name="T68" fmla="*/ 2896 w 14066"/>
              <a:gd name="T69" fmla="*/ 2759 h 3315"/>
              <a:gd name="T70" fmla="*/ 2901 w 14066"/>
              <a:gd name="T71" fmla="*/ 2754 h 3315"/>
              <a:gd name="T72" fmla="*/ 2931 w 14066"/>
              <a:gd name="T73" fmla="*/ 2719 h 3315"/>
              <a:gd name="T74" fmla="*/ 2934 w 14066"/>
              <a:gd name="T75" fmla="*/ 2717 h 3315"/>
              <a:gd name="T76" fmla="*/ 2943 w 14066"/>
              <a:gd name="T77" fmla="*/ 2706 h 3315"/>
              <a:gd name="T78" fmla="*/ 2966 w 14066"/>
              <a:gd name="T79" fmla="*/ 2676 h 3315"/>
              <a:gd name="T80" fmla="*/ 2985 w 14066"/>
              <a:gd name="T81" fmla="*/ 2651 h 3315"/>
              <a:gd name="T82" fmla="*/ 3317 w 14066"/>
              <a:gd name="T83" fmla="*/ 2985 h 3315"/>
              <a:gd name="T84" fmla="*/ 3825 w 14066"/>
              <a:gd name="T85" fmla="*/ 3244 h 3315"/>
              <a:gd name="T86" fmla="*/ 4313 w 14066"/>
              <a:gd name="T87" fmla="*/ 3315 h 3315"/>
              <a:gd name="T88" fmla="*/ 13693 w 14066"/>
              <a:gd name="T89" fmla="*/ 3292 h 3315"/>
              <a:gd name="T90" fmla="*/ 13745 w 14066"/>
              <a:gd name="T91" fmla="*/ 3273 h 3315"/>
              <a:gd name="T92" fmla="*/ 13804 w 14066"/>
              <a:gd name="T93" fmla="*/ 3243 h 3315"/>
              <a:gd name="T94" fmla="*/ 13909 w 14066"/>
              <a:gd name="T95" fmla="*/ 3161 h 3315"/>
              <a:gd name="T96" fmla="*/ 14003 w 14066"/>
              <a:gd name="T97" fmla="*/ 3038 h 3315"/>
              <a:gd name="T98" fmla="*/ 14066 w 14066"/>
              <a:gd name="T99" fmla="*/ 2784 h 3315"/>
              <a:gd name="T100" fmla="*/ 14066 w 14066"/>
              <a:gd name="T101" fmla="*/ 2654 h 3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066" h="3315">
                <a:moveTo>
                  <a:pt x="13837" y="2654"/>
                </a:moveTo>
                <a:lnTo>
                  <a:pt x="13837" y="800"/>
                </a:lnTo>
                <a:lnTo>
                  <a:pt x="13835" y="744"/>
                </a:lnTo>
                <a:lnTo>
                  <a:pt x="13813" y="638"/>
                </a:lnTo>
                <a:lnTo>
                  <a:pt x="13772" y="540"/>
                </a:lnTo>
                <a:lnTo>
                  <a:pt x="13713" y="454"/>
                </a:lnTo>
                <a:lnTo>
                  <a:pt x="13640" y="380"/>
                </a:lnTo>
                <a:lnTo>
                  <a:pt x="13553" y="321"/>
                </a:lnTo>
                <a:lnTo>
                  <a:pt x="13456" y="280"/>
                </a:lnTo>
                <a:lnTo>
                  <a:pt x="13349" y="258"/>
                </a:lnTo>
                <a:lnTo>
                  <a:pt x="13294" y="257"/>
                </a:lnTo>
                <a:lnTo>
                  <a:pt x="2543" y="257"/>
                </a:lnTo>
                <a:lnTo>
                  <a:pt x="2494" y="227"/>
                </a:lnTo>
                <a:lnTo>
                  <a:pt x="2394" y="172"/>
                </a:lnTo>
                <a:lnTo>
                  <a:pt x="2291" y="124"/>
                </a:lnTo>
                <a:lnTo>
                  <a:pt x="2182" y="84"/>
                </a:lnTo>
                <a:lnTo>
                  <a:pt x="2070" y="52"/>
                </a:lnTo>
                <a:lnTo>
                  <a:pt x="1956" y="26"/>
                </a:lnTo>
                <a:lnTo>
                  <a:pt x="1838" y="9"/>
                </a:lnTo>
                <a:lnTo>
                  <a:pt x="1719" y="0"/>
                </a:lnTo>
                <a:lnTo>
                  <a:pt x="1658" y="0"/>
                </a:lnTo>
                <a:lnTo>
                  <a:pt x="1573" y="1"/>
                </a:lnTo>
                <a:lnTo>
                  <a:pt x="1405" y="18"/>
                </a:lnTo>
                <a:lnTo>
                  <a:pt x="1243" y="52"/>
                </a:lnTo>
                <a:lnTo>
                  <a:pt x="1088" y="100"/>
                </a:lnTo>
                <a:lnTo>
                  <a:pt x="939" y="163"/>
                </a:lnTo>
                <a:lnTo>
                  <a:pt x="798" y="240"/>
                </a:lnTo>
                <a:lnTo>
                  <a:pt x="665" y="329"/>
                </a:lnTo>
                <a:lnTo>
                  <a:pt x="542" y="430"/>
                </a:lnTo>
                <a:lnTo>
                  <a:pt x="431" y="543"/>
                </a:lnTo>
                <a:lnTo>
                  <a:pt x="328" y="665"/>
                </a:lnTo>
                <a:lnTo>
                  <a:pt x="239" y="797"/>
                </a:lnTo>
                <a:lnTo>
                  <a:pt x="162" y="938"/>
                </a:lnTo>
                <a:lnTo>
                  <a:pt x="100" y="1087"/>
                </a:lnTo>
                <a:lnTo>
                  <a:pt x="51" y="1243"/>
                </a:lnTo>
                <a:lnTo>
                  <a:pt x="19" y="1405"/>
                </a:lnTo>
                <a:lnTo>
                  <a:pt x="2" y="1572"/>
                </a:lnTo>
                <a:lnTo>
                  <a:pt x="0" y="1658"/>
                </a:lnTo>
                <a:lnTo>
                  <a:pt x="0" y="1720"/>
                </a:lnTo>
                <a:lnTo>
                  <a:pt x="10" y="1842"/>
                </a:lnTo>
                <a:lnTo>
                  <a:pt x="28" y="1961"/>
                </a:lnTo>
                <a:lnTo>
                  <a:pt x="54" y="2076"/>
                </a:lnTo>
                <a:lnTo>
                  <a:pt x="87" y="2190"/>
                </a:lnTo>
                <a:lnTo>
                  <a:pt x="129" y="2299"/>
                </a:lnTo>
                <a:lnTo>
                  <a:pt x="177" y="2404"/>
                </a:lnTo>
                <a:lnTo>
                  <a:pt x="234" y="2507"/>
                </a:lnTo>
                <a:lnTo>
                  <a:pt x="296" y="2604"/>
                </a:lnTo>
                <a:lnTo>
                  <a:pt x="365" y="2696"/>
                </a:lnTo>
                <a:lnTo>
                  <a:pt x="440" y="2783"/>
                </a:lnTo>
                <a:lnTo>
                  <a:pt x="520" y="2864"/>
                </a:lnTo>
                <a:lnTo>
                  <a:pt x="607" y="2941"/>
                </a:lnTo>
                <a:lnTo>
                  <a:pt x="699" y="3010"/>
                </a:lnTo>
                <a:lnTo>
                  <a:pt x="795" y="3073"/>
                </a:lnTo>
                <a:lnTo>
                  <a:pt x="896" y="3130"/>
                </a:lnTo>
                <a:lnTo>
                  <a:pt x="948" y="3156"/>
                </a:lnTo>
                <a:lnTo>
                  <a:pt x="1030" y="3192"/>
                </a:lnTo>
                <a:lnTo>
                  <a:pt x="1199" y="3252"/>
                </a:lnTo>
                <a:lnTo>
                  <a:pt x="1378" y="3293"/>
                </a:lnTo>
                <a:lnTo>
                  <a:pt x="1564" y="3314"/>
                </a:lnTo>
                <a:lnTo>
                  <a:pt x="1658" y="3315"/>
                </a:lnTo>
                <a:lnTo>
                  <a:pt x="1658" y="3315"/>
                </a:lnTo>
                <a:lnTo>
                  <a:pt x="1659" y="3315"/>
                </a:lnTo>
                <a:lnTo>
                  <a:pt x="1700" y="3315"/>
                </a:lnTo>
                <a:lnTo>
                  <a:pt x="1740" y="3313"/>
                </a:lnTo>
                <a:lnTo>
                  <a:pt x="1753" y="3313"/>
                </a:lnTo>
                <a:lnTo>
                  <a:pt x="1766" y="3312"/>
                </a:lnTo>
                <a:lnTo>
                  <a:pt x="1793" y="3310"/>
                </a:lnTo>
                <a:lnTo>
                  <a:pt x="1820" y="3308"/>
                </a:lnTo>
                <a:lnTo>
                  <a:pt x="1834" y="3306"/>
                </a:lnTo>
                <a:lnTo>
                  <a:pt x="1850" y="3304"/>
                </a:lnTo>
                <a:lnTo>
                  <a:pt x="1875" y="3301"/>
                </a:lnTo>
                <a:lnTo>
                  <a:pt x="1899" y="3297"/>
                </a:lnTo>
                <a:lnTo>
                  <a:pt x="1915" y="3296"/>
                </a:lnTo>
                <a:lnTo>
                  <a:pt x="1932" y="3292"/>
                </a:lnTo>
                <a:lnTo>
                  <a:pt x="1954" y="3288"/>
                </a:lnTo>
                <a:lnTo>
                  <a:pt x="1977" y="3284"/>
                </a:lnTo>
                <a:lnTo>
                  <a:pt x="1994" y="3282"/>
                </a:lnTo>
                <a:lnTo>
                  <a:pt x="2011" y="3278"/>
                </a:lnTo>
                <a:lnTo>
                  <a:pt x="2031" y="3273"/>
                </a:lnTo>
                <a:lnTo>
                  <a:pt x="2052" y="3268"/>
                </a:lnTo>
                <a:lnTo>
                  <a:pt x="2070" y="3264"/>
                </a:lnTo>
                <a:lnTo>
                  <a:pt x="2089" y="3258"/>
                </a:lnTo>
                <a:lnTo>
                  <a:pt x="2107" y="3253"/>
                </a:lnTo>
                <a:lnTo>
                  <a:pt x="2125" y="3248"/>
                </a:lnTo>
                <a:lnTo>
                  <a:pt x="2146" y="3243"/>
                </a:lnTo>
                <a:lnTo>
                  <a:pt x="2165" y="3236"/>
                </a:lnTo>
                <a:lnTo>
                  <a:pt x="2178" y="3231"/>
                </a:lnTo>
                <a:lnTo>
                  <a:pt x="2191" y="3227"/>
                </a:lnTo>
                <a:lnTo>
                  <a:pt x="2217" y="3218"/>
                </a:lnTo>
                <a:lnTo>
                  <a:pt x="2241" y="3209"/>
                </a:lnTo>
                <a:lnTo>
                  <a:pt x="2241" y="3209"/>
                </a:lnTo>
                <a:lnTo>
                  <a:pt x="2241" y="3209"/>
                </a:lnTo>
                <a:lnTo>
                  <a:pt x="2328" y="3174"/>
                </a:lnTo>
                <a:lnTo>
                  <a:pt x="2494" y="3090"/>
                </a:lnTo>
                <a:lnTo>
                  <a:pt x="2648" y="2989"/>
                </a:lnTo>
                <a:lnTo>
                  <a:pt x="2790" y="2870"/>
                </a:lnTo>
                <a:lnTo>
                  <a:pt x="2855" y="2805"/>
                </a:lnTo>
                <a:lnTo>
                  <a:pt x="2855" y="2805"/>
                </a:lnTo>
                <a:lnTo>
                  <a:pt x="2855" y="2805"/>
                </a:lnTo>
                <a:lnTo>
                  <a:pt x="2858" y="2801"/>
                </a:lnTo>
                <a:lnTo>
                  <a:pt x="2862" y="2797"/>
                </a:lnTo>
                <a:lnTo>
                  <a:pt x="2869" y="2789"/>
                </a:lnTo>
                <a:lnTo>
                  <a:pt x="2875" y="2783"/>
                </a:lnTo>
                <a:lnTo>
                  <a:pt x="2886" y="2771"/>
                </a:lnTo>
                <a:lnTo>
                  <a:pt x="2896" y="2759"/>
                </a:lnTo>
                <a:lnTo>
                  <a:pt x="2896" y="2759"/>
                </a:lnTo>
                <a:lnTo>
                  <a:pt x="2896" y="2759"/>
                </a:lnTo>
                <a:lnTo>
                  <a:pt x="2901" y="2754"/>
                </a:lnTo>
                <a:lnTo>
                  <a:pt x="2906" y="2748"/>
                </a:lnTo>
                <a:lnTo>
                  <a:pt x="2919" y="2734"/>
                </a:lnTo>
                <a:lnTo>
                  <a:pt x="2931" y="2719"/>
                </a:lnTo>
                <a:lnTo>
                  <a:pt x="2931" y="2719"/>
                </a:lnTo>
                <a:lnTo>
                  <a:pt x="2932" y="2718"/>
                </a:lnTo>
                <a:lnTo>
                  <a:pt x="2934" y="2717"/>
                </a:lnTo>
                <a:lnTo>
                  <a:pt x="2935" y="2715"/>
                </a:lnTo>
                <a:lnTo>
                  <a:pt x="2939" y="2710"/>
                </a:lnTo>
                <a:lnTo>
                  <a:pt x="2943" y="2706"/>
                </a:lnTo>
                <a:lnTo>
                  <a:pt x="2947" y="2701"/>
                </a:lnTo>
                <a:lnTo>
                  <a:pt x="2950" y="2696"/>
                </a:lnTo>
                <a:lnTo>
                  <a:pt x="2966" y="2676"/>
                </a:lnTo>
                <a:lnTo>
                  <a:pt x="2980" y="2658"/>
                </a:lnTo>
                <a:lnTo>
                  <a:pt x="2983" y="2654"/>
                </a:lnTo>
                <a:lnTo>
                  <a:pt x="2985" y="2651"/>
                </a:lnTo>
                <a:lnTo>
                  <a:pt x="3044" y="2726"/>
                </a:lnTo>
                <a:lnTo>
                  <a:pt x="3173" y="2863"/>
                </a:lnTo>
                <a:lnTo>
                  <a:pt x="3317" y="2985"/>
                </a:lnTo>
                <a:lnTo>
                  <a:pt x="3475" y="3090"/>
                </a:lnTo>
                <a:lnTo>
                  <a:pt x="3645" y="3177"/>
                </a:lnTo>
                <a:lnTo>
                  <a:pt x="3825" y="3244"/>
                </a:lnTo>
                <a:lnTo>
                  <a:pt x="4015" y="3290"/>
                </a:lnTo>
                <a:lnTo>
                  <a:pt x="4212" y="3313"/>
                </a:lnTo>
                <a:lnTo>
                  <a:pt x="4313" y="3315"/>
                </a:lnTo>
                <a:lnTo>
                  <a:pt x="13535" y="3315"/>
                </a:lnTo>
                <a:lnTo>
                  <a:pt x="13589" y="3314"/>
                </a:lnTo>
                <a:lnTo>
                  <a:pt x="13693" y="3292"/>
                </a:lnTo>
                <a:lnTo>
                  <a:pt x="13741" y="3274"/>
                </a:lnTo>
                <a:lnTo>
                  <a:pt x="13743" y="3273"/>
                </a:lnTo>
                <a:lnTo>
                  <a:pt x="13745" y="3273"/>
                </a:lnTo>
                <a:lnTo>
                  <a:pt x="13755" y="3268"/>
                </a:lnTo>
                <a:lnTo>
                  <a:pt x="13765" y="3264"/>
                </a:lnTo>
                <a:lnTo>
                  <a:pt x="13804" y="3243"/>
                </a:lnTo>
                <a:lnTo>
                  <a:pt x="13877" y="3192"/>
                </a:lnTo>
                <a:lnTo>
                  <a:pt x="13908" y="3161"/>
                </a:lnTo>
                <a:lnTo>
                  <a:pt x="13909" y="3161"/>
                </a:lnTo>
                <a:lnTo>
                  <a:pt x="13910" y="3160"/>
                </a:lnTo>
                <a:lnTo>
                  <a:pt x="13945" y="3122"/>
                </a:lnTo>
                <a:lnTo>
                  <a:pt x="14003" y="3038"/>
                </a:lnTo>
                <a:lnTo>
                  <a:pt x="14043" y="2942"/>
                </a:lnTo>
                <a:lnTo>
                  <a:pt x="14063" y="2839"/>
                </a:lnTo>
                <a:lnTo>
                  <a:pt x="14066" y="2784"/>
                </a:lnTo>
                <a:lnTo>
                  <a:pt x="14066" y="2784"/>
                </a:lnTo>
                <a:lnTo>
                  <a:pt x="14066" y="2654"/>
                </a:lnTo>
                <a:lnTo>
                  <a:pt x="14066" y="2654"/>
                </a:lnTo>
                <a:lnTo>
                  <a:pt x="13837" y="2654"/>
                </a:ln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 name="Freeform 586">
            <a:extLst>
              <a:ext uri="{FF2B5EF4-FFF2-40B4-BE49-F238E27FC236}">
                <a16:creationId xmlns:a16="http://schemas.microsoft.com/office/drawing/2014/main" id="{427AF4C7-DBD7-627F-CA3F-A2482F7E5486}"/>
              </a:ext>
            </a:extLst>
          </p:cNvPr>
          <p:cNvSpPr>
            <a:spLocks/>
          </p:cNvSpPr>
          <p:nvPr/>
        </p:nvSpPr>
        <p:spPr bwMode="auto">
          <a:xfrm>
            <a:off x="1838280" y="3103384"/>
            <a:ext cx="3900364" cy="899447"/>
          </a:xfrm>
          <a:custGeom>
            <a:avLst/>
            <a:gdLst>
              <a:gd name="T0" fmla="*/ 0 w 11294"/>
              <a:gd name="T1" fmla="*/ 0 h 2604"/>
              <a:gd name="T2" fmla="*/ 86 w 11294"/>
              <a:gd name="T3" fmla="*/ 56 h 2604"/>
              <a:gd name="T4" fmla="*/ 244 w 11294"/>
              <a:gd name="T5" fmla="*/ 187 h 2604"/>
              <a:gd name="T6" fmla="*/ 385 w 11294"/>
              <a:gd name="T7" fmla="*/ 336 h 2604"/>
              <a:gd name="T8" fmla="*/ 509 w 11294"/>
              <a:gd name="T9" fmla="*/ 500 h 2604"/>
              <a:gd name="T10" fmla="*/ 585 w 11294"/>
              <a:gd name="T11" fmla="*/ 634 h 2604"/>
              <a:gd name="T12" fmla="*/ 630 w 11294"/>
              <a:gd name="T13" fmla="*/ 727 h 2604"/>
              <a:gd name="T14" fmla="*/ 671 w 11294"/>
              <a:gd name="T15" fmla="*/ 824 h 2604"/>
              <a:gd name="T16" fmla="*/ 703 w 11294"/>
              <a:gd name="T17" fmla="*/ 923 h 2604"/>
              <a:gd name="T18" fmla="*/ 730 w 11294"/>
              <a:gd name="T19" fmla="*/ 1025 h 2604"/>
              <a:gd name="T20" fmla="*/ 751 w 11294"/>
              <a:gd name="T21" fmla="*/ 1130 h 2604"/>
              <a:gd name="T22" fmla="*/ 765 w 11294"/>
              <a:gd name="T23" fmla="*/ 1236 h 2604"/>
              <a:gd name="T24" fmla="*/ 772 w 11294"/>
              <a:gd name="T25" fmla="*/ 1345 h 2604"/>
              <a:gd name="T26" fmla="*/ 773 w 11294"/>
              <a:gd name="T27" fmla="*/ 1401 h 2604"/>
              <a:gd name="T28" fmla="*/ 773 w 11294"/>
              <a:gd name="T29" fmla="*/ 1407 h 2604"/>
              <a:gd name="T30" fmla="*/ 773 w 11294"/>
              <a:gd name="T31" fmla="*/ 1414 h 2604"/>
              <a:gd name="T32" fmla="*/ 774 w 11294"/>
              <a:gd name="T33" fmla="*/ 1466 h 2604"/>
              <a:gd name="T34" fmla="*/ 786 w 11294"/>
              <a:gd name="T35" fmla="*/ 1564 h 2604"/>
              <a:gd name="T36" fmla="*/ 807 w 11294"/>
              <a:gd name="T37" fmla="*/ 1660 h 2604"/>
              <a:gd name="T38" fmla="*/ 836 w 11294"/>
              <a:gd name="T39" fmla="*/ 1754 h 2604"/>
              <a:gd name="T40" fmla="*/ 874 w 11294"/>
              <a:gd name="T41" fmla="*/ 1842 h 2604"/>
              <a:gd name="T42" fmla="*/ 921 w 11294"/>
              <a:gd name="T43" fmla="*/ 1925 h 2604"/>
              <a:gd name="T44" fmla="*/ 975 w 11294"/>
              <a:gd name="T45" fmla="*/ 2004 h 2604"/>
              <a:gd name="T46" fmla="*/ 1036 w 11294"/>
              <a:gd name="T47" fmla="*/ 2076 h 2604"/>
              <a:gd name="T48" fmla="*/ 1103 w 11294"/>
              <a:gd name="T49" fmla="*/ 2144 h 2604"/>
              <a:gd name="T50" fmla="*/ 1177 w 11294"/>
              <a:gd name="T51" fmla="*/ 2203 h 2604"/>
              <a:gd name="T52" fmla="*/ 1256 w 11294"/>
              <a:gd name="T53" fmla="*/ 2256 h 2604"/>
              <a:gd name="T54" fmla="*/ 1341 w 11294"/>
              <a:gd name="T55" fmla="*/ 2302 h 2604"/>
              <a:gd name="T56" fmla="*/ 1429 w 11294"/>
              <a:gd name="T57" fmla="*/ 2338 h 2604"/>
              <a:gd name="T58" fmla="*/ 1522 w 11294"/>
              <a:gd name="T59" fmla="*/ 2368 h 2604"/>
              <a:gd name="T60" fmla="*/ 1619 w 11294"/>
              <a:gd name="T61" fmla="*/ 2387 h 2604"/>
              <a:gd name="T62" fmla="*/ 1719 w 11294"/>
              <a:gd name="T63" fmla="*/ 2396 h 2604"/>
              <a:gd name="T64" fmla="*/ 1770 w 11294"/>
              <a:gd name="T65" fmla="*/ 2398 h 2604"/>
              <a:gd name="T66" fmla="*/ 1770 w 11294"/>
              <a:gd name="T67" fmla="*/ 2604 h 2604"/>
              <a:gd name="T68" fmla="*/ 11294 w 11294"/>
              <a:gd name="T69" fmla="*/ 2604 h 2604"/>
              <a:gd name="T70" fmla="*/ 11294 w 11294"/>
              <a:gd name="T71" fmla="*/ 543 h 2604"/>
              <a:gd name="T72" fmla="*/ 11292 w 11294"/>
              <a:gd name="T73" fmla="*/ 487 h 2604"/>
              <a:gd name="T74" fmla="*/ 11270 w 11294"/>
              <a:gd name="T75" fmla="*/ 381 h 2604"/>
              <a:gd name="T76" fmla="*/ 11229 w 11294"/>
              <a:gd name="T77" fmla="*/ 284 h 2604"/>
              <a:gd name="T78" fmla="*/ 11170 w 11294"/>
              <a:gd name="T79" fmla="*/ 197 h 2604"/>
              <a:gd name="T80" fmla="*/ 11097 w 11294"/>
              <a:gd name="T81" fmla="*/ 123 h 2604"/>
              <a:gd name="T82" fmla="*/ 11010 w 11294"/>
              <a:gd name="T83" fmla="*/ 65 h 2604"/>
              <a:gd name="T84" fmla="*/ 10913 w 11294"/>
              <a:gd name="T85" fmla="*/ 23 h 2604"/>
              <a:gd name="T86" fmla="*/ 10806 w 11294"/>
              <a:gd name="T87" fmla="*/ 1 h 2604"/>
              <a:gd name="T88" fmla="*/ 10751 w 11294"/>
              <a:gd name="T89" fmla="*/ 0 h 2604"/>
              <a:gd name="T90" fmla="*/ 0 w 11294"/>
              <a:gd name="T91" fmla="*/ 0 h 2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294" h="2604">
                <a:moveTo>
                  <a:pt x="0" y="0"/>
                </a:moveTo>
                <a:lnTo>
                  <a:pt x="86" y="56"/>
                </a:lnTo>
                <a:lnTo>
                  <a:pt x="244" y="187"/>
                </a:lnTo>
                <a:lnTo>
                  <a:pt x="385" y="336"/>
                </a:lnTo>
                <a:lnTo>
                  <a:pt x="509" y="500"/>
                </a:lnTo>
                <a:lnTo>
                  <a:pt x="585" y="634"/>
                </a:lnTo>
                <a:lnTo>
                  <a:pt x="630" y="727"/>
                </a:lnTo>
                <a:lnTo>
                  <a:pt x="671" y="824"/>
                </a:lnTo>
                <a:lnTo>
                  <a:pt x="703" y="923"/>
                </a:lnTo>
                <a:lnTo>
                  <a:pt x="730" y="1025"/>
                </a:lnTo>
                <a:lnTo>
                  <a:pt x="751" y="1130"/>
                </a:lnTo>
                <a:lnTo>
                  <a:pt x="765" y="1236"/>
                </a:lnTo>
                <a:lnTo>
                  <a:pt x="772" y="1345"/>
                </a:lnTo>
                <a:lnTo>
                  <a:pt x="773" y="1401"/>
                </a:lnTo>
                <a:lnTo>
                  <a:pt x="773" y="1407"/>
                </a:lnTo>
                <a:lnTo>
                  <a:pt x="773" y="1414"/>
                </a:lnTo>
                <a:lnTo>
                  <a:pt x="774" y="1466"/>
                </a:lnTo>
                <a:lnTo>
                  <a:pt x="786" y="1564"/>
                </a:lnTo>
                <a:lnTo>
                  <a:pt x="807" y="1660"/>
                </a:lnTo>
                <a:lnTo>
                  <a:pt x="836" y="1754"/>
                </a:lnTo>
                <a:lnTo>
                  <a:pt x="874" y="1842"/>
                </a:lnTo>
                <a:lnTo>
                  <a:pt x="921" y="1925"/>
                </a:lnTo>
                <a:lnTo>
                  <a:pt x="975" y="2004"/>
                </a:lnTo>
                <a:lnTo>
                  <a:pt x="1036" y="2076"/>
                </a:lnTo>
                <a:lnTo>
                  <a:pt x="1103" y="2144"/>
                </a:lnTo>
                <a:lnTo>
                  <a:pt x="1177" y="2203"/>
                </a:lnTo>
                <a:lnTo>
                  <a:pt x="1256" y="2256"/>
                </a:lnTo>
                <a:lnTo>
                  <a:pt x="1341" y="2302"/>
                </a:lnTo>
                <a:lnTo>
                  <a:pt x="1429" y="2338"/>
                </a:lnTo>
                <a:lnTo>
                  <a:pt x="1522" y="2368"/>
                </a:lnTo>
                <a:lnTo>
                  <a:pt x="1619" y="2387"/>
                </a:lnTo>
                <a:lnTo>
                  <a:pt x="1719" y="2396"/>
                </a:lnTo>
                <a:lnTo>
                  <a:pt x="1770" y="2398"/>
                </a:lnTo>
                <a:lnTo>
                  <a:pt x="1770" y="2604"/>
                </a:lnTo>
                <a:lnTo>
                  <a:pt x="11294" y="2604"/>
                </a:lnTo>
                <a:lnTo>
                  <a:pt x="11294" y="543"/>
                </a:lnTo>
                <a:lnTo>
                  <a:pt x="11292" y="487"/>
                </a:lnTo>
                <a:lnTo>
                  <a:pt x="11270" y="381"/>
                </a:lnTo>
                <a:lnTo>
                  <a:pt x="11229" y="284"/>
                </a:lnTo>
                <a:lnTo>
                  <a:pt x="11170" y="197"/>
                </a:lnTo>
                <a:lnTo>
                  <a:pt x="11097" y="123"/>
                </a:lnTo>
                <a:lnTo>
                  <a:pt x="11010" y="65"/>
                </a:lnTo>
                <a:lnTo>
                  <a:pt x="10913" y="23"/>
                </a:lnTo>
                <a:lnTo>
                  <a:pt x="10806" y="1"/>
                </a:lnTo>
                <a:lnTo>
                  <a:pt x="10751" y="0"/>
                </a:lnTo>
                <a:lnTo>
                  <a:pt x="0" y="0"/>
                </a:lnTo>
                <a:close/>
              </a:path>
            </a:pathLst>
          </a:custGeom>
          <a:solidFill>
            <a:schemeClr val="accent3">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7" name="Freeform 584">
            <a:extLst>
              <a:ext uri="{FF2B5EF4-FFF2-40B4-BE49-F238E27FC236}">
                <a16:creationId xmlns:a16="http://schemas.microsoft.com/office/drawing/2014/main" id="{CD74F625-097F-9936-6052-0FAAA5DE4F7C}"/>
              </a:ext>
            </a:extLst>
          </p:cNvPr>
          <p:cNvSpPr>
            <a:spLocks/>
          </p:cNvSpPr>
          <p:nvPr/>
        </p:nvSpPr>
        <p:spPr bwMode="auto">
          <a:xfrm>
            <a:off x="978608" y="4766365"/>
            <a:ext cx="4859221" cy="1145378"/>
          </a:xfrm>
          <a:custGeom>
            <a:avLst/>
            <a:gdLst>
              <a:gd name="T0" fmla="*/ 13835 w 14066"/>
              <a:gd name="T1" fmla="*/ 744 h 3315"/>
              <a:gd name="T2" fmla="*/ 13713 w 14066"/>
              <a:gd name="T3" fmla="*/ 454 h 3315"/>
              <a:gd name="T4" fmla="*/ 13456 w 14066"/>
              <a:gd name="T5" fmla="*/ 280 h 3315"/>
              <a:gd name="T6" fmla="*/ 2543 w 14066"/>
              <a:gd name="T7" fmla="*/ 257 h 3315"/>
              <a:gd name="T8" fmla="*/ 2291 w 14066"/>
              <a:gd name="T9" fmla="*/ 124 h 3315"/>
              <a:gd name="T10" fmla="*/ 1956 w 14066"/>
              <a:gd name="T11" fmla="*/ 26 h 3315"/>
              <a:gd name="T12" fmla="*/ 1658 w 14066"/>
              <a:gd name="T13" fmla="*/ 0 h 3315"/>
              <a:gd name="T14" fmla="*/ 1243 w 14066"/>
              <a:gd name="T15" fmla="*/ 52 h 3315"/>
              <a:gd name="T16" fmla="*/ 798 w 14066"/>
              <a:gd name="T17" fmla="*/ 240 h 3315"/>
              <a:gd name="T18" fmla="*/ 431 w 14066"/>
              <a:gd name="T19" fmla="*/ 543 h 3315"/>
              <a:gd name="T20" fmla="*/ 162 w 14066"/>
              <a:gd name="T21" fmla="*/ 938 h 3315"/>
              <a:gd name="T22" fmla="*/ 19 w 14066"/>
              <a:gd name="T23" fmla="*/ 1405 h 3315"/>
              <a:gd name="T24" fmla="*/ 0 w 14066"/>
              <a:gd name="T25" fmla="*/ 1720 h 3315"/>
              <a:gd name="T26" fmla="*/ 54 w 14066"/>
              <a:gd name="T27" fmla="*/ 2076 h 3315"/>
              <a:gd name="T28" fmla="*/ 177 w 14066"/>
              <a:gd name="T29" fmla="*/ 2404 h 3315"/>
              <a:gd name="T30" fmla="*/ 365 w 14066"/>
              <a:gd name="T31" fmla="*/ 2696 h 3315"/>
              <a:gd name="T32" fmla="*/ 607 w 14066"/>
              <a:gd name="T33" fmla="*/ 2941 h 3315"/>
              <a:gd name="T34" fmla="*/ 896 w 14066"/>
              <a:gd name="T35" fmla="*/ 3130 h 3315"/>
              <a:gd name="T36" fmla="*/ 1199 w 14066"/>
              <a:gd name="T37" fmla="*/ 3252 h 3315"/>
              <a:gd name="T38" fmla="*/ 1658 w 14066"/>
              <a:gd name="T39" fmla="*/ 3315 h 3315"/>
              <a:gd name="T40" fmla="*/ 1700 w 14066"/>
              <a:gd name="T41" fmla="*/ 3315 h 3315"/>
              <a:gd name="T42" fmla="*/ 1766 w 14066"/>
              <a:gd name="T43" fmla="*/ 3312 h 3315"/>
              <a:gd name="T44" fmla="*/ 1834 w 14066"/>
              <a:gd name="T45" fmla="*/ 3306 h 3315"/>
              <a:gd name="T46" fmla="*/ 1899 w 14066"/>
              <a:gd name="T47" fmla="*/ 3297 h 3315"/>
              <a:gd name="T48" fmla="*/ 1954 w 14066"/>
              <a:gd name="T49" fmla="*/ 3288 h 3315"/>
              <a:gd name="T50" fmla="*/ 2011 w 14066"/>
              <a:gd name="T51" fmla="*/ 3278 h 3315"/>
              <a:gd name="T52" fmla="*/ 2070 w 14066"/>
              <a:gd name="T53" fmla="*/ 3264 h 3315"/>
              <a:gd name="T54" fmla="*/ 2125 w 14066"/>
              <a:gd name="T55" fmla="*/ 3248 h 3315"/>
              <a:gd name="T56" fmla="*/ 2178 w 14066"/>
              <a:gd name="T57" fmla="*/ 3231 h 3315"/>
              <a:gd name="T58" fmla="*/ 2241 w 14066"/>
              <a:gd name="T59" fmla="*/ 3209 h 3315"/>
              <a:gd name="T60" fmla="*/ 2328 w 14066"/>
              <a:gd name="T61" fmla="*/ 3174 h 3315"/>
              <a:gd name="T62" fmla="*/ 2790 w 14066"/>
              <a:gd name="T63" fmla="*/ 2870 h 3315"/>
              <a:gd name="T64" fmla="*/ 2855 w 14066"/>
              <a:gd name="T65" fmla="*/ 2805 h 3315"/>
              <a:gd name="T66" fmla="*/ 2869 w 14066"/>
              <a:gd name="T67" fmla="*/ 2789 h 3315"/>
              <a:gd name="T68" fmla="*/ 2896 w 14066"/>
              <a:gd name="T69" fmla="*/ 2759 h 3315"/>
              <a:gd name="T70" fmla="*/ 2901 w 14066"/>
              <a:gd name="T71" fmla="*/ 2754 h 3315"/>
              <a:gd name="T72" fmla="*/ 2931 w 14066"/>
              <a:gd name="T73" fmla="*/ 2719 h 3315"/>
              <a:gd name="T74" fmla="*/ 2934 w 14066"/>
              <a:gd name="T75" fmla="*/ 2717 h 3315"/>
              <a:gd name="T76" fmla="*/ 2943 w 14066"/>
              <a:gd name="T77" fmla="*/ 2706 h 3315"/>
              <a:gd name="T78" fmla="*/ 2966 w 14066"/>
              <a:gd name="T79" fmla="*/ 2676 h 3315"/>
              <a:gd name="T80" fmla="*/ 2985 w 14066"/>
              <a:gd name="T81" fmla="*/ 2651 h 3315"/>
              <a:gd name="T82" fmla="*/ 3317 w 14066"/>
              <a:gd name="T83" fmla="*/ 2985 h 3315"/>
              <a:gd name="T84" fmla="*/ 3825 w 14066"/>
              <a:gd name="T85" fmla="*/ 3244 h 3315"/>
              <a:gd name="T86" fmla="*/ 4313 w 14066"/>
              <a:gd name="T87" fmla="*/ 3315 h 3315"/>
              <a:gd name="T88" fmla="*/ 13693 w 14066"/>
              <a:gd name="T89" fmla="*/ 3292 h 3315"/>
              <a:gd name="T90" fmla="*/ 13745 w 14066"/>
              <a:gd name="T91" fmla="*/ 3273 h 3315"/>
              <a:gd name="T92" fmla="*/ 13804 w 14066"/>
              <a:gd name="T93" fmla="*/ 3243 h 3315"/>
              <a:gd name="T94" fmla="*/ 13909 w 14066"/>
              <a:gd name="T95" fmla="*/ 3161 h 3315"/>
              <a:gd name="T96" fmla="*/ 14003 w 14066"/>
              <a:gd name="T97" fmla="*/ 3038 h 3315"/>
              <a:gd name="T98" fmla="*/ 14066 w 14066"/>
              <a:gd name="T99" fmla="*/ 2784 h 3315"/>
              <a:gd name="T100" fmla="*/ 14066 w 14066"/>
              <a:gd name="T101" fmla="*/ 2654 h 3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066" h="3315">
                <a:moveTo>
                  <a:pt x="13837" y="2654"/>
                </a:moveTo>
                <a:lnTo>
                  <a:pt x="13837" y="800"/>
                </a:lnTo>
                <a:lnTo>
                  <a:pt x="13835" y="744"/>
                </a:lnTo>
                <a:lnTo>
                  <a:pt x="13813" y="638"/>
                </a:lnTo>
                <a:lnTo>
                  <a:pt x="13772" y="540"/>
                </a:lnTo>
                <a:lnTo>
                  <a:pt x="13713" y="454"/>
                </a:lnTo>
                <a:lnTo>
                  <a:pt x="13640" y="380"/>
                </a:lnTo>
                <a:lnTo>
                  <a:pt x="13553" y="321"/>
                </a:lnTo>
                <a:lnTo>
                  <a:pt x="13456" y="280"/>
                </a:lnTo>
                <a:lnTo>
                  <a:pt x="13349" y="258"/>
                </a:lnTo>
                <a:lnTo>
                  <a:pt x="13294" y="257"/>
                </a:lnTo>
                <a:lnTo>
                  <a:pt x="2543" y="257"/>
                </a:lnTo>
                <a:lnTo>
                  <a:pt x="2494" y="227"/>
                </a:lnTo>
                <a:lnTo>
                  <a:pt x="2394" y="172"/>
                </a:lnTo>
                <a:lnTo>
                  <a:pt x="2291" y="124"/>
                </a:lnTo>
                <a:lnTo>
                  <a:pt x="2182" y="84"/>
                </a:lnTo>
                <a:lnTo>
                  <a:pt x="2070" y="52"/>
                </a:lnTo>
                <a:lnTo>
                  <a:pt x="1956" y="26"/>
                </a:lnTo>
                <a:lnTo>
                  <a:pt x="1838" y="9"/>
                </a:lnTo>
                <a:lnTo>
                  <a:pt x="1719" y="0"/>
                </a:lnTo>
                <a:lnTo>
                  <a:pt x="1658" y="0"/>
                </a:lnTo>
                <a:lnTo>
                  <a:pt x="1573" y="1"/>
                </a:lnTo>
                <a:lnTo>
                  <a:pt x="1405" y="18"/>
                </a:lnTo>
                <a:lnTo>
                  <a:pt x="1243" y="52"/>
                </a:lnTo>
                <a:lnTo>
                  <a:pt x="1088" y="100"/>
                </a:lnTo>
                <a:lnTo>
                  <a:pt x="939" y="163"/>
                </a:lnTo>
                <a:lnTo>
                  <a:pt x="798" y="240"/>
                </a:lnTo>
                <a:lnTo>
                  <a:pt x="665" y="329"/>
                </a:lnTo>
                <a:lnTo>
                  <a:pt x="542" y="430"/>
                </a:lnTo>
                <a:lnTo>
                  <a:pt x="431" y="543"/>
                </a:lnTo>
                <a:lnTo>
                  <a:pt x="328" y="665"/>
                </a:lnTo>
                <a:lnTo>
                  <a:pt x="239" y="797"/>
                </a:lnTo>
                <a:lnTo>
                  <a:pt x="162" y="938"/>
                </a:lnTo>
                <a:lnTo>
                  <a:pt x="100" y="1087"/>
                </a:lnTo>
                <a:lnTo>
                  <a:pt x="51" y="1243"/>
                </a:lnTo>
                <a:lnTo>
                  <a:pt x="19" y="1405"/>
                </a:lnTo>
                <a:lnTo>
                  <a:pt x="2" y="1572"/>
                </a:lnTo>
                <a:lnTo>
                  <a:pt x="0" y="1658"/>
                </a:lnTo>
                <a:lnTo>
                  <a:pt x="0" y="1720"/>
                </a:lnTo>
                <a:lnTo>
                  <a:pt x="10" y="1842"/>
                </a:lnTo>
                <a:lnTo>
                  <a:pt x="28" y="1961"/>
                </a:lnTo>
                <a:lnTo>
                  <a:pt x="54" y="2076"/>
                </a:lnTo>
                <a:lnTo>
                  <a:pt x="87" y="2190"/>
                </a:lnTo>
                <a:lnTo>
                  <a:pt x="129" y="2299"/>
                </a:lnTo>
                <a:lnTo>
                  <a:pt x="177" y="2404"/>
                </a:lnTo>
                <a:lnTo>
                  <a:pt x="234" y="2507"/>
                </a:lnTo>
                <a:lnTo>
                  <a:pt x="296" y="2604"/>
                </a:lnTo>
                <a:lnTo>
                  <a:pt x="365" y="2696"/>
                </a:lnTo>
                <a:lnTo>
                  <a:pt x="440" y="2783"/>
                </a:lnTo>
                <a:lnTo>
                  <a:pt x="520" y="2864"/>
                </a:lnTo>
                <a:lnTo>
                  <a:pt x="607" y="2941"/>
                </a:lnTo>
                <a:lnTo>
                  <a:pt x="699" y="3010"/>
                </a:lnTo>
                <a:lnTo>
                  <a:pt x="795" y="3073"/>
                </a:lnTo>
                <a:lnTo>
                  <a:pt x="896" y="3130"/>
                </a:lnTo>
                <a:lnTo>
                  <a:pt x="948" y="3156"/>
                </a:lnTo>
                <a:lnTo>
                  <a:pt x="1030" y="3192"/>
                </a:lnTo>
                <a:lnTo>
                  <a:pt x="1199" y="3252"/>
                </a:lnTo>
                <a:lnTo>
                  <a:pt x="1378" y="3293"/>
                </a:lnTo>
                <a:lnTo>
                  <a:pt x="1564" y="3314"/>
                </a:lnTo>
                <a:lnTo>
                  <a:pt x="1658" y="3315"/>
                </a:lnTo>
                <a:lnTo>
                  <a:pt x="1658" y="3315"/>
                </a:lnTo>
                <a:lnTo>
                  <a:pt x="1659" y="3315"/>
                </a:lnTo>
                <a:lnTo>
                  <a:pt x="1700" y="3315"/>
                </a:lnTo>
                <a:lnTo>
                  <a:pt x="1740" y="3313"/>
                </a:lnTo>
                <a:lnTo>
                  <a:pt x="1753" y="3313"/>
                </a:lnTo>
                <a:lnTo>
                  <a:pt x="1766" y="3312"/>
                </a:lnTo>
                <a:lnTo>
                  <a:pt x="1793" y="3310"/>
                </a:lnTo>
                <a:lnTo>
                  <a:pt x="1820" y="3308"/>
                </a:lnTo>
                <a:lnTo>
                  <a:pt x="1834" y="3306"/>
                </a:lnTo>
                <a:lnTo>
                  <a:pt x="1850" y="3304"/>
                </a:lnTo>
                <a:lnTo>
                  <a:pt x="1875" y="3301"/>
                </a:lnTo>
                <a:lnTo>
                  <a:pt x="1899" y="3297"/>
                </a:lnTo>
                <a:lnTo>
                  <a:pt x="1915" y="3296"/>
                </a:lnTo>
                <a:lnTo>
                  <a:pt x="1932" y="3292"/>
                </a:lnTo>
                <a:lnTo>
                  <a:pt x="1954" y="3288"/>
                </a:lnTo>
                <a:lnTo>
                  <a:pt x="1977" y="3284"/>
                </a:lnTo>
                <a:lnTo>
                  <a:pt x="1994" y="3282"/>
                </a:lnTo>
                <a:lnTo>
                  <a:pt x="2011" y="3278"/>
                </a:lnTo>
                <a:lnTo>
                  <a:pt x="2031" y="3273"/>
                </a:lnTo>
                <a:lnTo>
                  <a:pt x="2052" y="3268"/>
                </a:lnTo>
                <a:lnTo>
                  <a:pt x="2070" y="3264"/>
                </a:lnTo>
                <a:lnTo>
                  <a:pt x="2089" y="3258"/>
                </a:lnTo>
                <a:lnTo>
                  <a:pt x="2107" y="3253"/>
                </a:lnTo>
                <a:lnTo>
                  <a:pt x="2125" y="3248"/>
                </a:lnTo>
                <a:lnTo>
                  <a:pt x="2146" y="3243"/>
                </a:lnTo>
                <a:lnTo>
                  <a:pt x="2165" y="3236"/>
                </a:lnTo>
                <a:lnTo>
                  <a:pt x="2178" y="3231"/>
                </a:lnTo>
                <a:lnTo>
                  <a:pt x="2191" y="3227"/>
                </a:lnTo>
                <a:lnTo>
                  <a:pt x="2217" y="3218"/>
                </a:lnTo>
                <a:lnTo>
                  <a:pt x="2241" y="3209"/>
                </a:lnTo>
                <a:lnTo>
                  <a:pt x="2241" y="3209"/>
                </a:lnTo>
                <a:lnTo>
                  <a:pt x="2241" y="3209"/>
                </a:lnTo>
                <a:lnTo>
                  <a:pt x="2328" y="3174"/>
                </a:lnTo>
                <a:lnTo>
                  <a:pt x="2494" y="3090"/>
                </a:lnTo>
                <a:lnTo>
                  <a:pt x="2648" y="2989"/>
                </a:lnTo>
                <a:lnTo>
                  <a:pt x="2790" y="2870"/>
                </a:lnTo>
                <a:lnTo>
                  <a:pt x="2855" y="2805"/>
                </a:lnTo>
                <a:lnTo>
                  <a:pt x="2855" y="2805"/>
                </a:lnTo>
                <a:lnTo>
                  <a:pt x="2855" y="2805"/>
                </a:lnTo>
                <a:lnTo>
                  <a:pt x="2858" y="2801"/>
                </a:lnTo>
                <a:lnTo>
                  <a:pt x="2862" y="2797"/>
                </a:lnTo>
                <a:lnTo>
                  <a:pt x="2869" y="2789"/>
                </a:lnTo>
                <a:lnTo>
                  <a:pt x="2875" y="2783"/>
                </a:lnTo>
                <a:lnTo>
                  <a:pt x="2886" y="2771"/>
                </a:lnTo>
                <a:lnTo>
                  <a:pt x="2896" y="2759"/>
                </a:lnTo>
                <a:lnTo>
                  <a:pt x="2896" y="2759"/>
                </a:lnTo>
                <a:lnTo>
                  <a:pt x="2896" y="2759"/>
                </a:lnTo>
                <a:lnTo>
                  <a:pt x="2901" y="2754"/>
                </a:lnTo>
                <a:lnTo>
                  <a:pt x="2906" y="2748"/>
                </a:lnTo>
                <a:lnTo>
                  <a:pt x="2919" y="2734"/>
                </a:lnTo>
                <a:lnTo>
                  <a:pt x="2931" y="2719"/>
                </a:lnTo>
                <a:lnTo>
                  <a:pt x="2931" y="2719"/>
                </a:lnTo>
                <a:lnTo>
                  <a:pt x="2932" y="2718"/>
                </a:lnTo>
                <a:lnTo>
                  <a:pt x="2934" y="2717"/>
                </a:lnTo>
                <a:lnTo>
                  <a:pt x="2935" y="2715"/>
                </a:lnTo>
                <a:lnTo>
                  <a:pt x="2939" y="2710"/>
                </a:lnTo>
                <a:lnTo>
                  <a:pt x="2943" y="2706"/>
                </a:lnTo>
                <a:lnTo>
                  <a:pt x="2947" y="2701"/>
                </a:lnTo>
                <a:lnTo>
                  <a:pt x="2950" y="2696"/>
                </a:lnTo>
                <a:lnTo>
                  <a:pt x="2966" y="2676"/>
                </a:lnTo>
                <a:lnTo>
                  <a:pt x="2980" y="2658"/>
                </a:lnTo>
                <a:lnTo>
                  <a:pt x="2983" y="2654"/>
                </a:lnTo>
                <a:lnTo>
                  <a:pt x="2985" y="2651"/>
                </a:lnTo>
                <a:lnTo>
                  <a:pt x="3044" y="2726"/>
                </a:lnTo>
                <a:lnTo>
                  <a:pt x="3173" y="2863"/>
                </a:lnTo>
                <a:lnTo>
                  <a:pt x="3317" y="2985"/>
                </a:lnTo>
                <a:lnTo>
                  <a:pt x="3475" y="3090"/>
                </a:lnTo>
                <a:lnTo>
                  <a:pt x="3645" y="3177"/>
                </a:lnTo>
                <a:lnTo>
                  <a:pt x="3825" y="3244"/>
                </a:lnTo>
                <a:lnTo>
                  <a:pt x="4015" y="3290"/>
                </a:lnTo>
                <a:lnTo>
                  <a:pt x="4212" y="3313"/>
                </a:lnTo>
                <a:lnTo>
                  <a:pt x="4313" y="3315"/>
                </a:lnTo>
                <a:lnTo>
                  <a:pt x="13535" y="3315"/>
                </a:lnTo>
                <a:lnTo>
                  <a:pt x="13589" y="3314"/>
                </a:lnTo>
                <a:lnTo>
                  <a:pt x="13693" y="3292"/>
                </a:lnTo>
                <a:lnTo>
                  <a:pt x="13741" y="3274"/>
                </a:lnTo>
                <a:lnTo>
                  <a:pt x="13743" y="3273"/>
                </a:lnTo>
                <a:lnTo>
                  <a:pt x="13745" y="3273"/>
                </a:lnTo>
                <a:lnTo>
                  <a:pt x="13755" y="3268"/>
                </a:lnTo>
                <a:lnTo>
                  <a:pt x="13765" y="3264"/>
                </a:lnTo>
                <a:lnTo>
                  <a:pt x="13804" y="3243"/>
                </a:lnTo>
                <a:lnTo>
                  <a:pt x="13877" y="3192"/>
                </a:lnTo>
                <a:lnTo>
                  <a:pt x="13908" y="3161"/>
                </a:lnTo>
                <a:lnTo>
                  <a:pt x="13909" y="3161"/>
                </a:lnTo>
                <a:lnTo>
                  <a:pt x="13910" y="3160"/>
                </a:lnTo>
                <a:lnTo>
                  <a:pt x="13945" y="3122"/>
                </a:lnTo>
                <a:lnTo>
                  <a:pt x="14003" y="3038"/>
                </a:lnTo>
                <a:lnTo>
                  <a:pt x="14043" y="2942"/>
                </a:lnTo>
                <a:lnTo>
                  <a:pt x="14063" y="2839"/>
                </a:lnTo>
                <a:lnTo>
                  <a:pt x="14066" y="2784"/>
                </a:lnTo>
                <a:lnTo>
                  <a:pt x="14066" y="2784"/>
                </a:lnTo>
                <a:lnTo>
                  <a:pt x="14066" y="2654"/>
                </a:lnTo>
                <a:lnTo>
                  <a:pt x="14066" y="2654"/>
                </a:lnTo>
                <a:lnTo>
                  <a:pt x="13837" y="2654"/>
                </a:ln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8" name="Freeform 586">
            <a:extLst>
              <a:ext uri="{FF2B5EF4-FFF2-40B4-BE49-F238E27FC236}">
                <a16:creationId xmlns:a16="http://schemas.microsoft.com/office/drawing/2014/main" id="{5B0C9EEC-E7D7-14BB-0D2D-059F7AA41662}"/>
              </a:ext>
            </a:extLst>
          </p:cNvPr>
          <p:cNvSpPr>
            <a:spLocks/>
          </p:cNvSpPr>
          <p:nvPr/>
        </p:nvSpPr>
        <p:spPr bwMode="auto">
          <a:xfrm>
            <a:off x="1838280" y="4756693"/>
            <a:ext cx="3900364" cy="899447"/>
          </a:xfrm>
          <a:custGeom>
            <a:avLst/>
            <a:gdLst>
              <a:gd name="T0" fmla="*/ 0 w 11294"/>
              <a:gd name="T1" fmla="*/ 0 h 2604"/>
              <a:gd name="T2" fmla="*/ 86 w 11294"/>
              <a:gd name="T3" fmla="*/ 56 h 2604"/>
              <a:gd name="T4" fmla="*/ 244 w 11294"/>
              <a:gd name="T5" fmla="*/ 187 h 2604"/>
              <a:gd name="T6" fmla="*/ 385 w 11294"/>
              <a:gd name="T7" fmla="*/ 336 h 2604"/>
              <a:gd name="T8" fmla="*/ 509 w 11294"/>
              <a:gd name="T9" fmla="*/ 500 h 2604"/>
              <a:gd name="T10" fmla="*/ 585 w 11294"/>
              <a:gd name="T11" fmla="*/ 634 h 2604"/>
              <a:gd name="T12" fmla="*/ 630 w 11294"/>
              <a:gd name="T13" fmla="*/ 727 h 2604"/>
              <a:gd name="T14" fmla="*/ 671 w 11294"/>
              <a:gd name="T15" fmla="*/ 824 h 2604"/>
              <a:gd name="T16" fmla="*/ 703 w 11294"/>
              <a:gd name="T17" fmla="*/ 923 h 2604"/>
              <a:gd name="T18" fmla="*/ 730 w 11294"/>
              <a:gd name="T19" fmla="*/ 1025 h 2604"/>
              <a:gd name="T20" fmla="*/ 751 w 11294"/>
              <a:gd name="T21" fmla="*/ 1130 h 2604"/>
              <a:gd name="T22" fmla="*/ 765 w 11294"/>
              <a:gd name="T23" fmla="*/ 1236 h 2604"/>
              <a:gd name="T24" fmla="*/ 772 w 11294"/>
              <a:gd name="T25" fmla="*/ 1345 h 2604"/>
              <a:gd name="T26" fmla="*/ 773 w 11294"/>
              <a:gd name="T27" fmla="*/ 1401 h 2604"/>
              <a:gd name="T28" fmla="*/ 773 w 11294"/>
              <a:gd name="T29" fmla="*/ 1407 h 2604"/>
              <a:gd name="T30" fmla="*/ 773 w 11294"/>
              <a:gd name="T31" fmla="*/ 1414 h 2604"/>
              <a:gd name="T32" fmla="*/ 774 w 11294"/>
              <a:gd name="T33" fmla="*/ 1466 h 2604"/>
              <a:gd name="T34" fmla="*/ 786 w 11294"/>
              <a:gd name="T35" fmla="*/ 1564 h 2604"/>
              <a:gd name="T36" fmla="*/ 807 w 11294"/>
              <a:gd name="T37" fmla="*/ 1660 h 2604"/>
              <a:gd name="T38" fmla="*/ 836 w 11294"/>
              <a:gd name="T39" fmla="*/ 1754 h 2604"/>
              <a:gd name="T40" fmla="*/ 874 w 11294"/>
              <a:gd name="T41" fmla="*/ 1842 h 2604"/>
              <a:gd name="T42" fmla="*/ 921 w 11294"/>
              <a:gd name="T43" fmla="*/ 1925 h 2604"/>
              <a:gd name="T44" fmla="*/ 975 w 11294"/>
              <a:gd name="T45" fmla="*/ 2004 h 2604"/>
              <a:gd name="T46" fmla="*/ 1036 w 11294"/>
              <a:gd name="T47" fmla="*/ 2076 h 2604"/>
              <a:gd name="T48" fmla="*/ 1103 w 11294"/>
              <a:gd name="T49" fmla="*/ 2144 h 2604"/>
              <a:gd name="T50" fmla="*/ 1177 w 11294"/>
              <a:gd name="T51" fmla="*/ 2203 h 2604"/>
              <a:gd name="T52" fmla="*/ 1256 w 11294"/>
              <a:gd name="T53" fmla="*/ 2256 h 2604"/>
              <a:gd name="T54" fmla="*/ 1341 w 11294"/>
              <a:gd name="T55" fmla="*/ 2302 h 2604"/>
              <a:gd name="T56" fmla="*/ 1429 w 11294"/>
              <a:gd name="T57" fmla="*/ 2338 h 2604"/>
              <a:gd name="T58" fmla="*/ 1522 w 11294"/>
              <a:gd name="T59" fmla="*/ 2368 h 2604"/>
              <a:gd name="T60" fmla="*/ 1619 w 11294"/>
              <a:gd name="T61" fmla="*/ 2387 h 2604"/>
              <a:gd name="T62" fmla="*/ 1719 w 11294"/>
              <a:gd name="T63" fmla="*/ 2396 h 2604"/>
              <a:gd name="T64" fmla="*/ 1770 w 11294"/>
              <a:gd name="T65" fmla="*/ 2398 h 2604"/>
              <a:gd name="T66" fmla="*/ 1770 w 11294"/>
              <a:gd name="T67" fmla="*/ 2604 h 2604"/>
              <a:gd name="T68" fmla="*/ 11294 w 11294"/>
              <a:gd name="T69" fmla="*/ 2604 h 2604"/>
              <a:gd name="T70" fmla="*/ 11294 w 11294"/>
              <a:gd name="T71" fmla="*/ 543 h 2604"/>
              <a:gd name="T72" fmla="*/ 11292 w 11294"/>
              <a:gd name="T73" fmla="*/ 487 h 2604"/>
              <a:gd name="T74" fmla="*/ 11270 w 11294"/>
              <a:gd name="T75" fmla="*/ 381 h 2604"/>
              <a:gd name="T76" fmla="*/ 11229 w 11294"/>
              <a:gd name="T77" fmla="*/ 284 h 2604"/>
              <a:gd name="T78" fmla="*/ 11170 w 11294"/>
              <a:gd name="T79" fmla="*/ 197 h 2604"/>
              <a:gd name="T80" fmla="*/ 11097 w 11294"/>
              <a:gd name="T81" fmla="*/ 123 h 2604"/>
              <a:gd name="T82" fmla="*/ 11010 w 11294"/>
              <a:gd name="T83" fmla="*/ 65 h 2604"/>
              <a:gd name="T84" fmla="*/ 10913 w 11294"/>
              <a:gd name="T85" fmla="*/ 23 h 2604"/>
              <a:gd name="T86" fmla="*/ 10806 w 11294"/>
              <a:gd name="T87" fmla="*/ 1 h 2604"/>
              <a:gd name="T88" fmla="*/ 10751 w 11294"/>
              <a:gd name="T89" fmla="*/ 0 h 2604"/>
              <a:gd name="T90" fmla="*/ 0 w 11294"/>
              <a:gd name="T91" fmla="*/ 0 h 2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294" h="2604">
                <a:moveTo>
                  <a:pt x="0" y="0"/>
                </a:moveTo>
                <a:lnTo>
                  <a:pt x="86" y="56"/>
                </a:lnTo>
                <a:lnTo>
                  <a:pt x="244" y="187"/>
                </a:lnTo>
                <a:lnTo>
                  <a:pt x="385" y="336"/>
                </a:lnTo>
                <a:lnTo>
                  <a:pt x="509" y="500"/>
                </a:lnTo>
                <a:lnTo>
                  <a:pt x="585" y="634"/>
                </a:lnTo>
                <a:lnTo>
                  <a:pt x="630" y="727"/>
                </a:lnTo>
                <a:lnTo>
                  <a:pt x="671" y="824"/>
                </a:lnTo>
                <a:lnTo>
                  <a:pt x="703" y="923"/>
                </a:lnTo>
                <a:lnTo>
                  <a:pt x="730" y="1025"/>
                </a:lnTo>
                <a:lnTo>
                  <a:pt x="751" y="1130"/>
                </a:lnTo>
                <a:lnTo>
                  <a:pt x="765" y="1236"/>
                </a:lnTo>
                <a:lnTo>
                  <a:pt x="772" y="1345"/>
                </a:lnTo>
                <a:lnTo>
                  <a:pt x="773" y="1401"/>
                </a:lnTo>
                <a:lnTo>
                  <a:pt x="773" y="1407"/>
                </a:lnTo>
                <a:lnTo>
                  <a:pt x="773" y="1414"/>
                </a:lnTo>
                <a:lnTo>
                  <a:pt x="774" y="1466"/>
                </a:lnTo>
                <a:lnTo>
                  <a:pt x="786" y="1564"/>
                </a:lnTo>
                <a:lnTo>
                  <a:pt x="807" y="1660"/>
                </a:lnTo>
                <a:lnTo>
                  <a:pt x="836" y="1754"/>
                </a:lnTo>
                <a:lnTo>
                  <a:pt x="874" y="1842"/>
                </a:lnTo>
                <a:lnTo>
                  <a:pt x="921" y="1925"/>
                </a:lnTo>
                <a:lnTo>
                  <a:pt x="975" y="2004"/>
                </a:lnTo>
                <a:lnTo>
                  <a:pt x="1036" y="2076"/>
                </a:lnTo>
                <a:lnTo>
                  <a:pt x="1103" y="2144"/>
                </a:lnTo>
                <a:lnTo>
                  <a:pt x="1177" y="2203"/>
                </a:lnTo>
                <a:lnTo>
                  <a:pt x="1256" y="2256"/>
                </a:lnTo>
                <a:lnTo>
                  <a:pt x="1341" y="2302"/>
                </a:lnTo>
                <a:lnTo>
                  <a:pt x="1429" y="2338"/>
                </a:lnTo>
                <a:lnTo>
                  <a:pt x="1522" y="2368"/>
                </a:lnTo>
                <a:lnTo>
                  <a:pt x="1619" y="2387"/>
                </a:lnTo>
                <a:lnTo>
                  <a:pt x="1719" y="2396"/>
                </a:lnTo>
                <a:lnTo>
                  <a:pt x="1770" y="2398"/>
                </a:lnTo>
                <a:lnTo>
                  <a:pt x="1770" y="2604"/>
                </a:lnTo>
                <a:lnTo>
                  <a:pt x="11294" y="2604"/>
                </a:lnTo>
                <a:lnTo>
                  <a:pt x="11294" y="543"/>
                </a:lnTo>
                <a:lnTo>
                  <a:pt x="11292" y="487"/>
                </a:lnTo>
                <a:lnTo>
                  <a:pt x="11270" y="381"/>
                </a:lnTo>
                <a:lnTo>
                  <a:pt x="11229" y="284"/>
                </a:lnTo>
                <a:lnTo>
                  <a:pt x="11170" y="197"/>
                </a:lnTo>
                <a:lnTo>
                  <a:pt x="11097" y="123"/>
                </a:lnTo>
                <a:lnTo>
                  <a:pt x="11010" y="65"/>
                </a:lnTo>
                <a:lnTo>
                  <a:pt x="10913" y="23"/>
                </a:lnTo>
                <a:lnTo>
                  <a:pt x="10806" y="1"/>
                </a:lnTo>
                <a:lnTo>
                  <a:pt x="10751" y="0"/>
                </a:lnTo>
                <a:lnTo>
                  <a:pt x="0" y="0"/>
                </a:lnTo>
                <a:close/>
              </a:path>
            </a:pathLst>
          </a:custGeom>
          <a:solidFill>
            <a:schemeClr val="accent5">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9" name="Freeform 584">
            <a:extLst>
              <a:ext uri="{FF2B5EF4-FFF2-40B4-BE49-F238E27FC236}">
                <a16:creationId xmlns:a16="http://schemas.microsoft.com/office/drawing/2014/main" id="{9AF7BFFD-4350-7CEA-1774-22E3257B57CA}"/>
              </a:ext>
            </a:extLst>
          </p:cNvPr>
          <p:cNvSpPr>
            <a:spLocks/>
          </p:cNvSpPr>
          <p:nvPr/>
        </p:nvSpPr>
        <p:spPr bwMode="auto">
          <a:xfrm>
            <a:off x="6354171" y="1459747"/>
            <a:ext cx="4859221" cy="1145378"/>
          </a:xfrm>
          <a:custGeom>
            <a:avLst/>
            <a:gdLst>
              <a:gd name="T0" fmla="*/ 13835 w 14066"/>
              <a:gd name="T1" fmla="*/ 744 h 3315"/>
              <a:gd name="T2" fmla="*/ 13713 w 14066"/>
              <a:gd name="T3" fmla="*/ 454 h 3315"/>
              <a:gd name="T4" fmla="*/ 13456 w 14066"/>
              <a:gd name="T5" fmla="*/ 280 h 3315"/>
              <a:gd name="T6" fmla="*/ 2543 w 14066"/>
              <a:gd name="T7" fmla="*/ 257 h 3315"/>
              <a:gd name="T8" fmla="*/ 2291 w 14066"/>
              <a:gd name="T9" fmla="*/ 124 h 3315"/>
              <a:gd name="T10" fmla="*/ 1956 w 14066"/>
              <a:gd name="T11" fmla="*/ 26 h 3315"/>
              <a:gd name="T12" fmla="*/ 1658 w 14066"/>
              <a:gd name="T13" fmla="*/ 0 h 3315"/>
              <a:gd name="T14" fmla="*/ 1243 w 14066"/>
              <a:gd name="T15" fmla="*/ 52 h 3315"/>
              <a:gd name="T16" fmla="*/ 798 w 14066"/>
              <a:gd name="T17" fmla="*/ 240 h 3315"/>
              <a:gd name="T18" fmla="*/ 431 w 14066"/>
              <a:gd name="T19" fmla="*/ 543 h 3315"/>
              <a:gd name="T20" fmla="*/ 162 w 14066"/>
              <a:gd name="T21" fmla="*/ 938 h 3315"/>
              <a:gd name="T22" fmla="*/ 19 w 14066"/>
              <a:gd name="T23" fmla="*/ 1405 h 3315"/>
              <a:gd name="T24" fmla="*/ 0 w 14066"/>
              <a:gd name="T25" fmla="*/ 1720 h 3315"/>
              <a:gd name="T26" fmla="*/ 54 w 14066"/>
              <a:gd name="T27" fmla="*/ 2076 h 3315"/>
              <a:gd name="T28" fmla="*/ 177 w 14066"/>
              <a:gd name="T29" fmla="*/ 2404 h 3315"/>
              <a:gd name="T30" fmla="*/ 365 w 14066"/>
              <a:gd name="T31" fmla="*/ 2696 h 3315"/>
              <a:gd name="T32" fmla="*/ 607 w 14066"/>
              <a:gd name="T33" fmla="*/ 2941 h 3315"/>
              <a:gd name="T34" fmla="*/ 896 w 14066"/>
              <a:gd name="T35" fmla="*/ 3130 h 3315"/>
              <a:gd name="T36" fmla="*/ 1199 w 14066"/>
              <a:gd name="T37" fmla="*/ 3252 h 3315"/>
              <a:gd name="T38" fmla="*/ 1658 w 14066"/>
              <a:gd name="T39" fmla="*/ 3315 h 3315"/>
              <a:gd name="T40" fmla="*/ 1700 w 14066"/>
              <a:gd name="T41" fmla="*/ 3315 h 3315"/>
              <a:gd name="T42" fmla="*/ 1766 w 14066"/>
              <a:gd name="T43" fmla="*/ 3312 h 3315"/>
              <a:gd name="T44" fmla="*/ 1834 w 14066"/>
              <a:gd name="T45" fmla="*/ 3306 h 3315"/>
              <a:gd name="T46" fmla="*/ 1899 w 14066"/>
              <a:gd name="T47" fmla="*/ 3297 h 3315"/>
              <a:gd name="T48" fmla="*/ 1954 w 14066"/>
              <a:gd name="T49" fmla="*/ 3288 h 3315"/>
              <a:gd name="T50" fmla="*/ 2011 w 14066"/>
              <a:gd name="T51" fmla="*/ 3278 h 3315"/>
              <a:gd name="T52" fmla="*/ 2070 w 14066"/>
              <a:gd name="T53" fmla="*/ 3264 h 3315"/>
              <a:gd name="T54" fmla="*/ 2125 w 14066"/>
              <a:gd name="T55" fmla="*/ 3248 h 3315"/>
              <a:gd name="T56" fmla="*/ 2178 w 14066"/>
              <a:gd name="T57" fmla="*/ 3231 h 3315"/>
              <a:gd name="T58" fmla="*/ 2241 w 14066"/>
              <a:gd name="T59" fmla="*/ 3209 h 3315"/>
              <a:gd name="T60" fmla="*/ 2328 w 14066"/>
              <a:gd name="T61" fmla="*/ 3174 h 3315"/>
              <a:gd name="T62" fmla="*/ 2790 w 14066"/>
              <a:gd name="T63" fmla="*/ 2870 h 3315"/>
              <a:gd name="T64" fmla="*/ 2855 w 14066"/>
              <a:gd name="T65" fmla="*/ 2805 h 3315"/>
              <a:gd name="T66" fmla="*/ 2869 w 14066"/>
              <a:gd name="T67" fmla="*/ 2789 h 3315"/>
              <a:gd name="T68" fmla="*/ 2896 w 14066"/>
              <a:gd name="T69" fmla="*/ 2759 h 3315"/>
              <a:gd name="T70" fmla="*/ 2901 w 14066"/>
              <a:gd name="T71" fmla="*/ 2754 h 3315"/>
              <a:gd name="T72" fmla="*/ 2931 w 14066"/>
              <a:gd name="T73" fmla="*/ 2719 h 3315"/>
              <a:gd name="T74" fmla="*/ 2934 w 14066"/>
              <a:gd name="T75" fmla="*/ 2717 h 3315"/>
              <a:gd name="T76" fmla="*/ 2943 w 14066"/>
              <a:gd name="T77" fmla="*/ 2706 h 3315"/>
              <a:gd name="T78" fmla="*/ 2966 w 14066"/>
              <a:gd name="T79" fmla="*/ 2676 h 3315"/>
              <a:gd name="T80" fmla="*/ 2985 w 14066"/>
              <a:gd name="T81" fmla="*/ 2651 h 3315"/>
              <a:gd name="T82" fmla="*/ 3317 w 14066"/>
              <a:gd name="T83" fmla="*/ 2985 h 3315"/>
              <a:gd name="T84" fmla="*/ 3825 w 14066"/>
              <a:gd name="T85" fmla="*/ 3244 h 3315"/>
              <a:gd name="T86" fmla="*/ 4313 w 14066"/>
              <a:gd name="T87" fmla="*/ 3315 h 3315"/>
              <a:gd name="T88" fmla="*/ 13693 w 14066"/>
              <a:gd name="T89" fmla="*/ 3292 h 3315"/>
              <a:gd name="T90" fmla="*/ 13745 w 14066"/>
              <a:gd name="T91" fmla="*/ 3273 h 3315"/>
              <a:gd name="T92" fmla="*/ 13804 w 14066"/>
              <a:gd name="T93" fmla="*/ 3243 h 3315"/>
              <a:gd name="T94" fmla="*/ 13909 w 14066"/>
              <a:gd name="T95" fmla="*/ 3161 h 3315"/>
              <a:gd name="T96" fmla="*/ 14003 w 14066"/>
              <a:gd name="T97" fmla="*/ 3038 h 3315"/>
              <a:gd name="T98" fmla="*/ 14066 w 14066"/>
              <a:gd name="T99" fmla="*/ 2784 h 3315"/>
              <a:gd name="T100" fmla="*/ 14066 w 14066"/>
              <a:gd name="T101" fmla="*/ 2654 h 3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066" h="3315">
                <a:moveTo>
                  <a:pt x="13837" y="2654"/>
                </a:moveTo>
                <a:lnTo>
                  <a:pt x="13837" y="800"/>
                </a:lnTo>
                <a:lnTo>
                  <a:pt x="13835" y="744"/>
                </a:lnTo>
                <a:lnTo>
                  <a:pt x="13813" y="638"/>
                </a:lnTo>
                <a:lnTo>
                  <a:pt x="13772" y="540"/>
                </a:lnTo>
                <a:lnTo>
                  <a:pt x="13713" y="454"/>
                </a:lnTo>
                <a:lnTo>
                  <a:pt x="13640" y="380"/>
                </a:lnTo>
                <a:lnTo>
                  <a:pt x="13553" y="321"/>
                </a:lnTo>
                <a:lnTo>
                  <a:pt x="13456" y="280"/>
                </a:lnTo>
                <a:lnTo>
                  <a:pt x="13349" y="258"/>
                </a:lnTo>
                <a:lnTo>
                  <a:pt x="13294" y="257"/>
                </a:lnTo>
                <a:lnTo>
                  <a:pt x="2543" y="257"/>
                </a:lnTo>
                <a:lnTo>
                  <a:pt x="2494" y="227"/>
                </a:lnTo>
                <a:lnTo>
                  <a:pt x="2394" y="172"/>
                </a:lnTo>
                <a:lnTo>
                  <a:pt x="2291" y="124"/>
                </a:lnTo>
                <a:lnTo>
                  <a:pt x="2182" y="84"/>
                </a:lnTo>
                <a:lnTo>
                  <a:pt x="2070" y="52"/>
                </a:lnTo>
                <a:lnTo>
                  <a:pt x="1956" y="26"/>
                </a:lnTo>
                <a:lnTo>
                  <a:pt x="1838" y="9"/>
                </a:lnTo>
                <a:lnTo>
                  <a:pt x="1719" y="0"/>
                </a:lnTo>
                <a:lnTo>
                  <a:pt x="1658" y="0"/>
                </a:lnTo>
                <a:lnTo>
                  <a:pt x="1573" y="1"/>
                </a:lnTo>
                <a:lnTo>
                  <a:pt x="1405" y="18"/>
                </a:lnTo>
                <a:lnTo>
                  <a:pt x="1243" y="52"/>
                </a:lnTo>
                <a:lnTo>
                  <a:pt x="1088" y="100"/>
                </a:lnTo>
                <a:lnTo>
                  <a:pt x="939" y="163"/>
                </a:lnTo>
                <a:lnTo>
                  <a:pt x="798" y="240"/>
                </a:lnTo>
                <a:lnTo>
                  <a:pt x="665" y="329"/>
                </a:lnTo>
                <a:lnTo>
                  <a:pt x="542" y="430"/>
                </a:lnTo>
                <a:lnTo>
                  <a:pt x="431" y="543"/>
                </a:lnTo>
                <a:lnTo>
                  <a:pt x="328" y="665"/>
                </a:lnTo>
                <a:lnTo>
                  <a:pt x="239" y="797"/>
                </a:lnTo>
                <a:lnTo>
                  <a:pt x="162" y="938"/>
                </a:lnTo>
                <a:lnTo>
                  <a:pt x="100" y="1087"/>
                </a:lnTo>
                <a:lnTo>
                  <a:pt x="51" y="1243"/>
                </a:lnTo>
                <a:lnTo>
                  <a:pt x="19" y="1405"/>
                </a:lnTo>
                <a:lnTo>
                  <a:pt x="2" y="1572"/>
                </a:lnTo>
                <a:lnTo>
                  <a:pt x="0" y="1658"/>
                </a:lnTo>
                <a:lnTo>
                  <a:pt x="0" y="1720"/>
                </a:lnTo>
                <a:lnTo>
                  <a:pt x="10" y="1842"/>
                </a:lnTo>
                <a:lnTo>
                  <a:pt x="28" y="1961"/>
                </a:lnTo>
                <a:lnTo>
                  <a:pt x="54" y="2076"/>
                </a:lnTo>
                <a:lnTo>
                  <a:pt x="87" y="2190"/>
                </a:lnTo>
                <a:lnTo>
                  <a:pt x="129" y="2299"/>
                </a:lnTo>
                <a:lnTo>
                  <a:pt x="177" y="2404"/>
                </a:lnTo>
                <a:lnTo>
                  <a:pt x="234" y="2507"/>
                </a:lnTo>
                <a:lnTo>
                  <a:pt x="296" y="2604"/>
                </a:lnTo>
                <a:lnTo>
                  <a:pt x="365" y="2696"/>
                </a:lnTo>
                <a:lnTo>
                  <a:pt x="440" y="2783"/>
                </a:lnTo>
                <a:lnTo>
                  <a:pt x="520" y="2864"/>
                </a:lnTo>
                <a:lnTo>
                  <a:pt x="607" y="2941"/>
                </a:lnTo>
                <a:lnTo>
                  <a:pt x="699" y="3010"/>
                </a:lnTo>
                <a:lnTo>
                  <a:pt x="795" y="3073"/>
                </a:lnTo>
                <a:lnTo>
                  <a:pt x="896" y="3130"/>
                </a:lnTo>
                <a:lnTo>
                  <a:pt x="948" y="3156"/>
                </a:lnTo>
                <a:lnTo>
                  <a:pt x="1030" y="3192"/>
                </a:lnTo>
                <a:lnTo>
                  <a:pt x="1199" y="3252"/>
                </a:lnTo>
                <a:lnTo>
                  <a:pt x="1378" y="3293"/>
                </a:lnTo>
                <a:lnTo>
                  <a:pt x="1564" y="3314"/>
                </a:lnTo>
                <a:lnTo>
                  <a:pt x="1658" y="3315"/>
                </a:lnTo>
                <a:lnTo>
                  <a:pt x="1658" y="3315"/>
                </a:lnTo>
                <a:lnTo>
                  <a:pt x="1659" y="3315"/>
                </a:lnTo>
                <a:lnTo>
                  <a:pt x="1700" y="3315"/>
                </a:lnTo>
                <a:lnTo>
                  <a:pt x="1740" y="3313"/>
                </a:lnTo>
                <a:lnTo>
                  <a:pt x="1753" y="3313"/>
                </a:lnTo>
                <a:lnTo>
                  <a:pt x="1766" y="3312"/>
                </a:lnTo>
                <a:lnTo>
                  <a:pt x="1793" y="3310"/>
                </a:lnTo>
                <a:lnTo>
                  <a:pt x="1820" y="3308"/>
                </a:lnTo>
                <a:lnTo>
                  <a:pt x="1834" y="3306"/>
                </a:lnTo>
                <a:lnTo>
                  <a:pt x="1850" y="3304"/>
                </a:lnTo>
                <a:lnTo>
                  <a:pt x="1875" y="3301"/>
                </a:lnTo>
                <a:lnTo>
                  <a:pt x="1899" y="3297"/>
                </a:lnTo>
                <a:lnTo>
                  <a:pt x="1915" y="3296"/>
                </a:lnTo>
                <a:lnTo>
                  <a:pt x="1932" y="3292"/>
                </a:lnTo>
                <a:lnTo>
                  <a:pt x="1954" y="3288"/>
                </a:lnTo>
                <a:lnTo>
                  <a:pt x="1977" y="3284"/>
                </a:lnTo>
                <a:lnTo>
                  <a:pt x="1994" y="3282"/>
                </a:lnTo>
                <a:lnTo>
                  <a:pt x="2011" y="3278"/>
                </a:lnTo>
                <a:lnTo>
                  <a:pt x="2031" y="3273"/>
                </a:lnTo>
                <a:lnTo>
                  <a:pt x="2052" y="3268"/>
                </a:lnTo>
                <a:lnTo>
                  <a:pt x="2070" y="3264"/>
                </a:lnTo>
                <a:lnTo>
                  <a:pt x="2089" y="3258"/>
                </a:lnTo>
                <a:lnTo>
                  <a:pt x="2107" y="3253"/>
                </a:lnTo>
                <a:lnTo>
                  <a:pt x="2125" y="3248"/>
                </a:lnTo>
                <a:lnTo>
                  <a:pt x="2146" y="3243"/>
                </a:lnTo>
                <a:lnTo>
                  <a:pt x="2165" y="3236"/>
                </a:lnTo>
                <a:lnTo>
                  <a:pt x="2178" y="3231"/>
                </a:lnTo>
                <a:lnTo>
                  <a:pt x="2191" y="3227"/>
                </a:lnTo>
                <a:lnTo>
                  <a:pt x="2217" y="3218"/>
                </a:lnTo>
                <a:lnTo>
                  <a:pt x="2241" y="3209"/>
                </a:lnTo>
                <a:lnTo>
                  <a:pt x="2241" y="3209"/>
                </a:lnTo>
                <a:lnTo>
                  <a:pt x="2241" y="3209"/>
                </a:lnTo>
                <a:lnTo>
                  <a:pt x="2328" y="3174"/>
                </a:lnTo>
                <a:lnTo>
                  <a:pt x="2494" y="3090"/>
                </a:lnTo>
                <a:lnTo>
                  <a:pt x="2648" y="2989"/>
                </a:lnTo>
                <a:lnTo>
                  <a:pt x="2790" y="2870"/>
                </a:lnTo>
                <a:lnTo>
                  <a:pt x="2855" y="2805"/>
                </a:lnTo>
                <a:lnTo>
                  <a:pt x="2855" y="2805"/>
                </a:lnTo>
                <a:lnTo>
                  <a:pt x="2855" y="2805"/>
                </a:lnTo>
                <a:lnTo>
                  <a:pt x="2858" y="2801"/>
                </a:lnTo>
                <a:lnTo>
                  <a:pt x="2862" y="2797"/>
                </a:lnTo>
                <a:lnTo>
                  <a:pt x="2869" y="2789"/>
                </a:lnTo>
                <a:lnTo>
                  <a:pt x="2875" y="2783"/>
                </a:lnTo>
                <a:lnTo>
                  <a:pt x="2886" y="2771"/>
                </a:lnTo>
                <a:lnTo>
                  <a:pt x="2896" y="2759"/>
                </a:lnTo>
                <a:lnTo>
                  <a:pt x="2896" y="2759"/>
                </a:lnTo>
                <a:lnTo>
                  <a:pt x="2896" y="2759"/>
                </a:lnTo>
                <a:lnTo>
                  <a:pt x="2901" y="2754"/>
                </a:lnTo>
                <a:lnTo>
                  <a:pt x="2906" y="2748"/>
                </a:lnTo>
                <a:lnTo>
                  <a:pt x="2919" y="2734"/>
                </a:lnTo>
                <a:lnTo>
                  <a:pt x="2931" y="2719"/>
                </a:lnTo>
                <a:lnTo>
                  <a:pt x="2931" y="2719"/>
                </a:lnTo>
                <a:lnTo>
                  <a:pt x="2932" y="2718"/>
                </a:lnTo>
                <a:lnTo>
                  <a:pt x="2934" y="2717"/>
                </a:lnTo>
                <a:lnTo>
                  <a:pt x="2935" y="2715"/>
                </a:lnTo>
                <a:lnTo>
                  <a:pt x="2939" y="2710"/>
                </a:lnTo>
                <a:lnTo>
                  <a:pt x="2943" y="2706"/>
                </a:lnTo>
                <a:lnTo>
                  <a:pt x="2947" y="2701"/>
                </a:lnTo>
                <a:lnTo>
                  <a:pt x="2950" y="2696"/>
                </a:lnTo>
                <a:lnTo>
                  <a:pt x="2966" y="2676"/>
                </a:lnTo>
                <a:lnTo>
                  <a:pt x="2980" y="2658"/>
                </a:lnTo>
                <a:lnTo>
                  <a:pt x="2983" y="2654"/>
                </a:lnTo>
                <a:lnTo>
                  <a:pt x="2985" y="2651"/>
                </a:lnTo>
                <a:lnTo>
                  <a:pt x="3044" y="2726"/>
                </a:lnTo>
                <a:lnTo>
                  <a:pt x="3173" y="2863"/>
                </a:lnTo>
                <a:lnTo>
                  <a:pt x="3317" y="2985"/>
                </a:lnTo>
                <a:lnTo>
                  <a:pt x="3475" y="3090"/>
                </a:lnTo>
                <a:lnTo>
                  <a:pt x="3645" y="3177"/>
                </a:lnTo>
                <a:lnTo>
                  <a:pt x="3825" y="3244"/>
                </a:lnTo>
                <a:lnTo>
                  <a:pt x="4015" y="3290"/>
                </a:lnTo>
                <a:lnTo>
                  <a:pt x="4212" y="3313"/>
                </a:lnTo>
                <a:lnTo>
                  <a:pt x="4313" y="3315"/>
                </a:lnTo>
                <a:lnTo>
                  <a:pt x="13535" y="3315"/>
                </a:lnTo>
                <a:lnTo>
                  <a:pt x="13589" y="3314"/>
                </a:lnTo>
                <a:lnTo>
                  <a:pt x="13693" y="3292"/>
                </a:lnTo>
                <a:lnTo>
                  <a:pt x="13741" y="3274"/>
                </a:lnTo>
                <a:lnTo>
                  <a:pt x="13743" y="3273"/>
                </a:lnTo>
                <a:lnTo>
                  <a:pt x="13745" y="3273"/>
                </a:lnTo>
                <a:lnTo>
                  <a:pt x="13755" y="3268"/>
                </a:lnTo>
                <a:lnTo>
                  <a:pt x="13765" y="3264"/>
                </a:lnTo>
                <a:lnTo>
                  <a:pt x="13804" y="3243"/>
                </a:lnTo>
                <a:lnTo>
                  <a:pt x="13877" y="3192"/>
                </a:lnTo>
                <a:lnTo>
                  <a:pt x="13908" y="3161"/>
                </a:lnTo>
                <a:lnTo>
                  <a:pt x="13909" y="3161"/>
                </a:lnTo>
                <a:lnTo>
                  <a:pt x="13910" y="3160"/>
                </a:lnTo>
                <a:lnTo>
                  <a:pt x="13945" y="3122"/>
                </a:lnTo>
                <a:lnTo>
                  <a:pt x="14003" y="3038"/>
                </a:lnTo>
                <a:lnTo>
                  <a:pt x="14043" y="2942"/>
                </a:lnTo>
                <a:lnTo>
                  <a:pt x="14063" y="2839"/>
                </a:lnTo>
                <a:lnTo>
                  <a:pt x="14066" y="2784"/>
                </a:lnTo>
                <a:lnTo>
                  <a:pt x="14066" y="2784"/>
                </a:lnTo>
                <a:lnTo>
                  <a:pt x="14066" y="2654"/>
                </a:lnTo>
                <a:lnTo>
                  <a:pt x="14066" y="2654"/>
                </a:lnTo>
                <a:lnTo>
                  <a:pt x="13837" y="2654"/>
                </a:ln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Freeform 586">
            <a:extLst>
              <a:ext uri="{FF2B5EF4-FFF2-40B4-BE49-F238E27FC236}">
                <a16:creationId xmlns:a16="http://schemas.microsoft.com/office/drawing/2014/main" id="{B655CE93-68E9-ECCD-8E67-5A4D4D97A4C1}"/>
              </a:ext>
            </a:extLst>
          </p:cNvPr>
          <p:cNvSpPr>
            <a:spLocks/>
          </p:cNvSpPr>
          <p:nvPr/>
        </p:nvSpPr>
        <p:spPr bwMode="auto">
          <a:xfrm>
            <a:off x="7213843" y="1450075"/>
            <a:ext cx="3900364" cy="899447"/>
          </a:xfrm>
          <a:custGeom>
            <a:avLst/>
            <a:gdLst>
              <a:gd name="T0" fmla="*/ 0 w 11294"/>
              <a:gd name="T1" fmla="*/ 0 h 2604"/>
              <a:gd name="T2" fmla="*/ 86 w 11294"/>
              <a:gd name="T3" fmla="*/ 56 h 2604"/>
              <a:gd name="T4" fmla="*/ 244 w 11294"/>
              <a:gd name="T5" fmla="*/ 187 h 2604"/>
              <a:gd name="T6" fmla="*/ 385 w 11294"/>
              <a:gd name="T7" fmla="*/ 336 h 2604"/>
              <a:gd name="T8" fmla="*/ 509 w 11294"/>
              <a:gd name="T9" fmla="*/ 500 h 2604"/>
              <a:gd name="T10" fmla="*/ 585 w 11294"/>
              <a:gd name="T11" fmla="*/ 634 h 2604"/>
              <a:gd name="T12" fmla="*/ 630 w 11294"/>
              <a:gd name="T13" fmla="*/ 727 h 2604"/>
              <a:gd name="T14" fmla="*/ 671 w 11294"/>
              <a:gd name="T15" fmla="*/ 824 h 2604"/>
              <a:gd name="T16" fmla="*/ 703 w 11294"/>
              <a:gd name="T17" fmla="*/ 923 h 2604"/>
              <a:gd name="T18" fmla="*/ 730 w 11294"/>
              <a:gd name="T19" fmla="*/ 1025 h 2604"/>
              <a:gd name="T20" fmla="*/ 751 w 11294"/>
              <a:gd name="T21" fmla="*/ 1130 h 2604"/>
              <a:gd name="T22" fmla="*/ 765 w 11294"/>
              <a:gd name="T23" fmla="*/ 1236 h 2604"/>
              <a:gd name="T24" fmla="*/ 772 w 11294"/>
              <a:gd name="T25" fmla="*/ 1345 h 2604"/>
              <a:gd name="T26" fmla="*/ 773 w 11294"/>
              <a:gd name="T27" fmla="*/ 1401 h 2604"/>
              <a:gd name="T28" fmla="*/ 773 w 11294"/>
              <a:gd name="T29" fmla="*/ 1407 h 2604"/>
              <a:gd name="T30" fmla="*/ 773 w 11294"/>
              <a:gd name="T31" fmla="*/ 1414 h 2604"/>
              <a:gd name="T32" fmla="*/ 774 w 11294"/>
              <a:gd name="T33" fmla="*/ 1466 h 2604"/>
              <a:gd name="T34" fmla="*/ 786 w 11294"/>
              <a:gd name="T35" fmla="*/ 1564 h 2604"/>
              <a:gd name="T36" fmla="*/ 807 w 11294"/>
              <a:gd name="T37" fmla="*/ 1660 h 2604"/>
              <a:gd name="T38" fmla="*/ 836 w 11294"/>
              <a:gd name="T39" fmla="*/ 1754 h 2604"/>
              <a:gd name="T40" fmla="*/ 874 w 11294"/>
              <a:gd name="T41" fmla="*/ 1842 h 2604"/>
              <a:gd name="T42" fmla="*/ 921 w 11294"/>
              <a:gd name="T43" fmla="*/ 1925 h 2604"/>
              <a:gd name="T44" fmla="*/ 975 w 11294"/>
              <a:gd name="T45" fmla="*/ 2004 h 2604"/>
              <a:gd name="T46" fmla="*/ 1036 w 11294"/>
              <a:gd name="T47" fmla="*/ 2076 h 2604"/>
              <a:gd name="T48" fmla="*/ 1103 w 11294"/>
              <a:gd name="T49" fmla="*/ 2144 h 2604"/>
              <a:gd name="T50" fmla="*/ 1177 w 11294"/>
              <a:gd name="T51" fmla="*/ 2203 h 2604"/>
              <a:gd name="T52" fmla="*/ 1256 w 11294"/>
              <a:gd name="T53" fmla="*/ 2256 h 2604"/>
              <a:gd name="T54" fmla="*/ 1341 w 11294"/>
              <a:gd name="T55" fmla="*/ 2302 h 2604"/>
              <a:gd name="T56" fmla="*/ 1429 w 11294"/>
              <a:gd name="T57" fmla="*/ 2338 h 2604"/>
              <a:gd name="T58" fmla="*/ 1522 w 11294"/>
              <a:gd name="T59" fmla="*/ 2368 h 2604"/>
              <a:gd name="T60" fmla="*/ 1619 w 11294"/>
              <a:gd name="T61" fmla="*/ 2387 h 2604"/>
              <a:gd name="T62" fmla="*/ 1719 w 11294"/>
              <a:gd name="T63" fmla="*/ 2396 h 2604"/>
              <a:gd name="T64" fmla="*/ 1770 w 11294"/>
              <a:gd name="T65" fmla="*/ 2398 h 2604"/>
              <a:gd name="T66" fmla="*/ 1770 w 11294"/>
              <a:gd name="T67" fmla="*/ 2604 h 2604"/>
              <a:gd name="T68" fmla="*/ 11294 w 11294"/>
              <a:gd name="T69" fmla="*/ 2604 h 2604"/>
              <a:gd name="T70" fmla="*/ 11294 w 11294"/>
              <a:gd name="T71" fmla="*/ 543 h 2604"/>
              <a:gd name="T72" fmla="*/ 11292 w 11294"/>
              <a:gd name="T73" fmla="*/ 487 h 2604"/>
              <a:gd name="T74" fmla="*/ 11270 w 11294"/>
              <a:gd name="T75" fmla="*/ 381 h 2604"/>
              <a:gd name="T76" fmla="*/ 11229 w 11294"/>
              <a:gd name="T77" fmla="*/ 284 h 2604"/>
              <a:gd name="T78" fmla="*/ 11170 w 11294"/>
              <a:gd name="T79" fmla="*/ 197 h 2604"/>
              <a:gd name="T80" fmla="*/ 11097 w 11294"/>
              <a:gd name="T81" fmla="*/ 123 h 2604"/>
              <a:gd name="T82" fmla="*/ 11010 w 11294"/>
              <a:gd name="T83" fmla="*/ 65 h 2604"/>
              <a:gd name="T84" fmla="*/ 10913 w 11294"/>
              <a:gd name="T85" fmla="*/ 23 h 2604"/>
              <a:gd name="T86" fmla="*/ 10806 w 11294"/>
              <a:gd name="T87" fmla="*/ 1 h 2604"/>
              <a:gd name="T88" fmla="*/ 10751 w 11294"/>
              <a:gd name="T89" fmla="*/ 0 h 2604"/>
              <a:gd name="T90" fmla="*/ 0 w 11294"/>
              <a:gd name="T91" fmla="*/ 0 h 2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294" h="2604">
                <a:moveTo>
                  <a:pt x="0" y="0"/>
                </a:moveTo>
                <a:lnTo>
                  <a:pt x="86" y="56"/>
                </a:lnTo>
                <a:lnTo>
                  <a:pt x="244" y="187"/>
                </a:lnTo>
                <a:lnTo>
                  <a:pt x="385" y="336"/>
                </a:lnTo>
                <a:lnTo>
                  <a:pt x="509" y="500"/>
                </a:lnTo>
                <a:lnTo>
                  <a:pt x="585" y="634"/>
                </a:lnTo>
                <a:lnTo>
                  <a:pt x="630" y="727"/>
                </a:lnTo>
                <a:lnTo>
                  <a:pt x="671" y="824"/>
                </a:lnTo>
                <a:lnTo>
                  <a:pt x="703" y="923"/>
                </a:lnTo>
                <a:lnTo>
                  <a:pt x="730" y="1025"/>
                </a:lnTo>
                <a:lnTo>
                  <a:pt x="751" y="1130"/>
                </a:lnTo>
                <a:lnTo>
                  <a:pt x="765" y="1236"/>
                </a:lnTo>
                <a:lnTo>
                  <a:pt x="772" y="1345"/>
                </a:lnTo>
                <a:lnTo>
                  <a:pt x="773" y="1401"/>
                </a:lnTo>
                <a:lnTo>
                  <a:pt x="773" y="1407"/>
                </a:lnTo>
                <a:lnTo>
                  <a:pt x="773" y="1414"/>
                </a:lnTo>
                <a:lnTo>
                  <a:pt x="774" y="1466"/>
                </a:lnTo>
                <a:lnTo>
                  <a:pt x="786" y="1564"/>
                </a:lnTo>
                <a:lnTo>
                  <a:pt x="807" y="1660"/>
                </a:lnTo>
                <a:lnTo>
                  <a:pt x="836" y="1754"/>
                </a:lnTo>
                <a:lnTo>
                  <a:pt x="874" y="1842"/>
                </a:lnTo>
                <a:lnTo>
                  <a:pt x="921" y="1925"/>
                </a:lnTo>
                <a:lnTo>
                  <a:pt x="975" y="2004"/>
                </a:lnTo>
                <a:lnTo>
                  <a:pt x="1036" y="2076"/>
                </a:lnTo>
                <a:lnTo>
                  <a:pt x="1103" y="2144"/>
                </a:lnTo>
                <a:lnTo>
                  <a:pt x="1177" y="2203"/>
                </a:lnTo>
                <a:lnTo>
                  <a:pt x="1256" y="2256"/>
                </a:lnTo>
                <a:lnTo>
                  <a:pt x="1341" y="2302"/>
                </a:lnTo>
                <a:lnTo>
                  <a:pt x="1429" y="2338"/>
                </a:lnTo>
                <a:lnTo>
                  <a:pt x="1522" y="2368"/>
                </a:lnTo>
                <a:lnTo>
                  <a:pt x="1619" y="2387"/>
                </a:lnTo>
                <a:lnTo>
                  <a:pt x="1719" y="2396"/>
                </a:lnTo>
                <a:lnTo>
                  <a:pt x="1770" y="2398"/>
                </a:lnTo>
                <a:lnTo>
                  <a:pt x="1770" y="2604"/>
                </a:lnTo>
                <a:lnTo>
                  <a:pt x="11294" y="2604"/>
                </a:lnTo>
                <a:lnTo>
                  <a:pt x="11294" y="543"/>
                </a:lnTo>
                <a:lnTo>
                  <a:pt x="11292" y="487"/>
                </a:lnTo>
                <a:lnTo>
                  <a:pt x="11270" y="381"/>
                </a:lnTo>
                <a:lnTo>
                  <a:pt x="11229" y="284"/>
                </a:lnTo>
                <a:lnTo>
                  <a:pt x="11170" y="197"/>
                </a:lnTo>
                <a:lnTo>
                  <a:pt x="11097" y="123"/>
                </a:lnTo>
                <a:lnTo>
                  <a:pt x="11010" y="65"/>
                </a:lnTo>
                <a:lnTo>
                  <a:pt x="10913" y="23"/>
                </a:lnTo>
                <a:lnTo>
                  <a:pt x="10806" y="1"/>
                </a:lnTo>
                <a:lnTo>
                  <a:pt x="10751" y="0"/>
                </a:lnTo>
                <a:lnTo>
                  <a:pt x="0" y="0"/>
                </a:ln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Freeform 584">
            <a:extLst>
              <a:ext uri="{FF2B5EF4-FFF2-40B4-BE49-F238E27FC236}">
                <a16:creationId xmlns:a16="http://schemas.microsoft.com/office/drawing/2014/main" id="{5AE390E2-2E93-130C-C021-B6544B7A67B8}"/>
              </a:ext>
            </a:extLst>
          </p:cNvPr>
          <p:cNvSpPr>
            <a:spLocks/>
          </p:cNvSpPr>
          <p:nvPr/>
        </p:nvSpPr>
        <p:spPr bwMode="auto">
          <a:xfrm>
            <a:off x="6354171" y="3113056"/>
            <a:ext cx="4859221" cy="1145378"/>
          </a:xfrm>
          <a:custGeom>
            <a:avLst/>
            <a:gdLst>
              <a:gd name="T0" fmla="*/ 13835 w 14066"/>
              <a:gd name="T1" fmla="*/ 744 h 3315"/>
              <a:gd name="T2" fmla="*/ 13713 w 14066"/>
              <a:gd name="T3" fmla="*/ 454 h 3315"/>
              <a:gd name="T4" fmla="*/ 13456 w 14066"/>
              <a:gd name="T5" fmla="*/ 280 h 3315"/>
              <a:gd name="T6" fmla="*/ 2543 w 14066"/>
              <a:gd name="T7" fmla="*/ 257 h 3315"/>
              <a:gd name="T8" fmla="*/ 2291 w 14066"/>
              <a:gd name="T9" fmla="*/ 124 h 3315"/>
              <a:gd name="T10" fmla="*/ 1956 w 14066"/>
              <a:gd name="T11" fmla="*/ 26 h 3315"/>
              <a:gd name="T12" fmla="*/ 1658 w 14066"/>
              <a:gd name="T13" fmla="*/ 0 h 3315"/>
              <a:gd name="T14" fmla="*/ 1243 w 14066"/>
              <a:gd name="T15" fmla="*/ 52 h 3315"/>
              <a:gd name="T16" fmla="*/ 798 w 14066"/>
              <a:gd name="T17" fmla="*/ 240 h 3315"/>
              <a:gd name="T18" fmla="*/ 431 w 14066"/>
              <a:gd name="T19" fmla="*/ 543 h 3315"/>
              <a:gd name="T20" fmla="*/ 162 w 14066"/>
              <a:gd name="T21" fmla="*/ 938 h 3315"/>
              <a:gd name="T22" fmla="*/ 19 w 14066"/>
              <a:gd name="T23" fmla="*/ 1405 h 3315"/>
              <a:gd name="T24" fmla="*/ 0 w 14066"/>
              <a:gd name="T25" fmla="*/ 1720 h 3315"/>
              <a:gd name="T26" fmla="*/ 54 w 14066"/>
              <a:gd name="T27" fmla="*/ 2076 h 3315"/>
              <a:gd name="T28" fmla="*/ 177 w 14066"/>
              <a:gd name="T29" fmla="*/ 2404 h 3315"/>
              <a:gd name="T30" fmla="*/ 365 w 14066"/>
              <a:gd name="T31" fmla="*/ 2696 h 3315"/>
              <a:gd name="T32" fmla="*/ 607 w 14066"/>
              <a:gd name="T33" fmla="*/ 2941 h 3315"/>
              <a:gd name="T34" fmla="*/ 896 w 14066"/>
              <a:gd name="T35" fmla="*/ 3130 h 3315"/>
              <a:gd name="T36" fmla="*/ 1199 w 14066"/>
              <a:gd name="T37" fmla="*/ 3252 h 3315"/>
              <a:gd name="T38" fmla="*/ 1658 w 14066"/>
              <a:gd name="T39" fmla="*/ 3315 h 3315"/>
              <a:gd name="T40" fmla="*/ 1700 w 14066"/>
              <a:gd name="T41" fmla="*/ 3315 h 3315"/>
              <a:gd name="T42" fmla="*/ 1766 w 14066"/>
              <a:gd name="T43" fmla="*/ 3312 h 3315"/>
              <a:gd name="T44" fmla="*/ 1834 w 14066"/>
              <a:gd name="T45" fmla="*/ 3306 h 3315"/>
              <a:gd name="T46" fmla="*/ 1899 w 14066"/>
              <a:gd name="T47" fmla="*/ 3297 h 3315"/>
              <a:gd name="T48" fmla="*/ 1954 w 14066"/>
              <a:gd name="T49" fmla="*/ 3288 h 3315"/>
              <a:gd name="T50" fmla="*/ 2011 w 14066"/>
              <a:gd name="T51" fmla="*/ 3278 h 3315"/>
              <a:gd name="T52" fmla="*/ 2070 w 14066"/>
              <a:gd name="T53" fmla="*/ 3264 h 3315"/>
              <a:gd name="T54" fmla="*/ 2125 w 14066"/>
              <a:gd name="T55" fmla="*/ 3248 h 3315"/>
              <a:gd name="T56" fmla="*/ 2178 w 14066"/>
              <a:gd name="T57" fmla="*/ 3231 h 3315"/>
              <a:gd name="T58" fmla="*/ 2241 w 14066"/>
              <a:gd name="T59" fmla="*/ 3209 h 3315"/>
              <a:gd name="T60" fmla="*/ 2328 w 14066"/>
              <a:gd name="T61" fmla="*/ 3174 h 3315"/>
              <a:gd name="T62" fmla="*/ 2790 w 14066"/>
              <a:gd name="T63" fmla="*/ 2870 h 3315"/>
              <a:gd name="T64" fmla="*/ 2855 w 14066"/>
              <a:gd name="T65" fmla="*/ 2805 h 3315"/>
              <a:gd name="T66" fmla="*/ 2869 w 14066"/>
              <a:gd name="T67" fmla="*/ 2789 h 3315"/>
              <a:gd name="T68" fmla="*/ 2896 w 14066"/>
              <a:gd name="T69" fmla="*/ 2759 h 3315"/>
              <a:gd name="T70" fmla="*/ 2901 w 14066"/>
              <a:gd name="T71" fmla="*/ 2754 h 3315"/>
              <a:gd name="T72" fmla="*/ 2931 w 14066"/>
              <a:gd name="T73" fmla="*/ 2719 h 3315"/>
              <a:gd name="T74" fmla="*/ 2934 w 14066"/>
              <a:gd name="T75" fmla="*/ 2717 h 3315"/>
              <a:gd name="T76" fmla="*/ 2943 w 14066"/>
              <a:gd name="T77" fmla="*/ 2706 h 3315"/>
              <a:gd name="T78" fmla="*/ 2966 w 14066"/>
              <a:gd name="T79" fmla="*/ 2676 h 3315"/>
              <a:gd name="T80" fmla="*/ 2985 w 14066"/>
              <a:gd name="T81" fmla="*/ 2651 h 3315"/>
              <a:gd name="T82" fmla="*/ 3317 w 14066"/>
              <a:gd name="T83" fmla="*/ 2985 h 3315"/>
              <a:gd name="T84" fmla="*/ 3825 w 14066"/>
              <a:gd name="T85" fmla="*/ 3244 h 3315"/>
              <a:gd name="T86" fmla="*/ 4313 w 14066"/>
              <a:gd name="T87" fmla="*/ 3315 h 3315"/>
              <a:gd name="T88" fmla="*/ 13693 w 14066"/>
              <a:gd name="T89" fmla="*/ 3292 h 3315"/>
              <a:gd name="T90" fmla="*/ 13745 w 14066"/>
              <a:gd name="T91" fmla="*/ 3273 h 3315"/>
              <a:gd name="T92" fmla="*/ 13804 w 14066"/>
              <a:gd name="T93" fmla="*/ 3243 h 3315"/>
              <a:gd name="T94" fmla="*/ 13909 w 14066"/>
              <a:gd name="T95" fmla="*/ 3161 h 3315"/>
              <a:gd name="T96" fmla="*/ 14003 w 14066"/>
              <a:gd name="T97" fmla="*/ 3038 h 3315"/>
              <a:gd name="T98" fmla="*/ 14066 w 14066"/>
              <a:gd name="T99" fmla="*/ 2784 h 3315"/>
              <a:gd name="T100" fmla="*/ 14066 w 14066"/>
              <a:gd name="T101" fmla="*/ 2654 h 3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066" h="3315">
                <a:moveTo>
                  <a:pt x="13837" y="2654"/>
                </a:moveTo>
                <a:lnTo>
                  <a:pt x="13837" y="800"/>
                </a:lnTo>
                <a:lnTo>
                  <a:pt x="13835" y="744"/>
                </a:lnTo>
                <a:lnTo>
                  <a:pt x="13813" y="638"/>
                </a:lnTo>
                <a:lnTo>
                  <a:pt x="13772" y="540"/>
                </a:lnTo>
                <a:lnTo>
                  <a:pt x="13713" y="454"/>
                </a:lnTo>
                <a:lnTo>
                  <a:pt x="13640" y="380"/>
                </a:lnTo>
                <a:lnTo>
                  <a:pt x="13553" y="321"/>
                </a:lnTo>
                <a:lnTo>
                  <a:pt x="13456" y="280"/>
                </a:lnTo>
                <a:lnTo>
                  <a:pt x="13349" y="258"/>
                </a:lnTo>
                <a:lnTo>
                  <a:pt x="13294" y="257"/>
                </a:lnTo>
                <a:lnTo>
                  <a:pt x="2543" y="257"/>
                </a:lnTo>
                <a:lnTo>
                  <a:pt x="2494" y="227"/>
                </a:lnTo>
                <a:lnTo>
                  <a:pt x="2394" y="172"/>
                </a:lnTo>
                <a:lnTo>
                  <a:pt x="2291" y="124"/>
                </a:lnTo>
                <a:lnTo>
                  <a:pt x="2182" y="84"/>
                </a:lnTo>
                <a:lnTo>
                  <a:pt x="2070" y="52"/>
                </a:lnTo>
                <a:lnTo>
                  <a:pt x="1956" y="26"/>
                </a:lnTo>
                <a:lnTo>
                  <a:pt x="1838" y="9"/>
                </a:lnTo>
                <a:lnTo>
                  <a:pt x="1719" y="0"/>
                </a:lnTo>
                <a:lnTo>
                  <a:pt x="1658" y="0"/>
                </a:lnTo>
                <a:lnTo>
                  <a:pt x="1573" y="1"/>
                </a:lnTo>
                <a:lnTo>
                  <a:pt x="1405" y="18"/>
                </a:lnTo>
                <a:lnTo>
                  <a:pt x="1243" y="52"/>
                </a:lnTo>
                <a:lnTo>
                  <a:pt x="1088" y="100"/>
                </a:lnTo>
                <a:lnTo>
                  <a:pt x="939" y="163"/>
                </a:lnTo>
                <a:lnTo>
                  <a:pt x="798" y="240"/>
                </a:lnTo>
                <a:lnTo>
                  <a:pt x="665" y="329"/>
                </a:lnTo>
                <a:lnTo>
                  <a:pt x="542" y="430"/>
                </a:lnTo>
                <a:lnTo>
                  <a:pt x="431" y="543"/>
                </a:lnTo>
                <a:lnTo>
                  <a:pt x="328" y="665"/>
                </a:lnTo>
                <a:lnTo>
                  <a:pt x="239" y="797"/>
                </a:lnTo>
                <a:lnTo>
                  <a:pt x="162" y="938"/>
                </a:lnTo>
                <a:lnTo>
                  <a:pt x="100" y="1087"/>
                </a:lnTo>
                <a:lnTo>
                  <a:pt x="51" y="1243"/>
                </a:lnTo>
                <a:lnTo>
                  <a:pt x="19" y="1405"/>
                </a:lnTo>
                <a:lnTo>
                  <a:pt x="2" y="1572"/>
                </a:lnTo>
                <a:lnTo>
                  <a:pt x="0" y="1658"/>
                </a:lnTo>
                <a:lnTo>
                  <a:pt x="0" y="1720"/>
                </a:lnTo>
                <a:lnTo>
                  <a:pt x="10" y="1842"/>
                </a:lnTo>
                <a:lnTo>
                  <a:pt x="28" y="1961"/>
                </a:lnTo>
                <a:lnTo>
                  <a:pt x="54" y="2076"/>
                </a:lnTo>
                <a:lnTo>
                  <a:pt x="87" y="2190"/>
                </a:lnTo>
                <a:lnTo>
                  <a:pt x="129" y="2299"/>
                </a:lnTo>
                <a:lnTo>
                  <a:pt x="177" y="2404"/>
                </a:lnTo>
                <a:lnTo>
                  <a:pt x="234" y="2507"/>
                </a:lnTo>
                <a:lnTo>
                  <a:pt x="296" y="2604"/>
                </a:lnTo>
                <a:lnTo>
                  <a:pt x="365" y="2696"/>
                </a:lnTo>
                <a:lnTo>
                  <a:pt x="440" y="2783"/>
                </a:lnTo>
                <a:lnTo>
                  <a:pt x="520" y="2864"/>
                </a:lnTo>
                <a:lnTo>
                  <a:pt x="607" y="2941"/>
                </a:lnTo>
                <a:lnTo>
                  <a:pt x="699" y="3010"/>
                </a:lnTo>
                <a:lnTo>
                  <a:pt x="795" y="3073"/>
                </a:lnTo>
                <a:lnTo>
                  <a:pt x="896" y="3130"/>
                </a:lnTo>
                <a:lnTo>
                  <a:pt x="948" y="3156"/>
                </a:lnTo>
                <a:lnTo>
                  <a:pt x="1030" y="3192"/>
                </a:lnTo>
                <a:lnTo>
                  <a:pt x="1199" y="3252"/>
                </a:lnTo>
                <a:lnTo>
                  <a:pt x="1378" y="3293"/>
                </a:lnTo>
                <a:lnTo>
                  <a:pt x="1564" y="3314"/>
                </a:lnTo>
                <a:lnTo>
                  <a:pt x="1658" y="3315"/>
                </a:lnTo>
                <a:lnTo>
                  <a:pt x="1658" y="3315"/>
                </a:lnTo>
                <a:lnTo>
                  <a:pt x="1659" y="3315"/>
                </a:lnTo>
                <a:lnTo>
                  <a:pt x="1700" y="3315"/>
                </a:lnTo>
                <a:lnTo>
                  <a:pt x="1740" y="3313"/>
                </a:lnTo>
                <a:lnTo>
                  <a:pt x="1753" y="3313"/>
                </a:lnTo>
                <a:lnTo>
                  <a:pt x="1766" y="3312"/>
                </a:lnTo>
                <a:lnTo>
                  <a:pt x="1793" y="3310"/>
                </a:lnTo>
                <a:lnTo>
                  <a:pt x="1820" y="3308"/>
                </a:lnTo>
                <a:lnTo>
                  <a:pt x="1834" y="3306"/>
                </a:lnTo>
                <a:lnTo>
                  <a:pt x="1850" y="3304"/>
                </a:lnTo>
                <a:lnTo>
                  <a:pt x="1875" y="3301"/>
                </a:lnTo>
                <a:lnTo>
                  <a:pt x="1899" y="3297"/>
                </a:lnTo>
                <a:lnTo>
                  <a:pt x="1915" y="3296"/>
                </a:lnTo>
                <a:lnTo>
                  <a:pt x="1932" y="3292"/>
                </a:lnTo>
                <a:lnTo>
                  <a:pt x="1954" y="3288"/>
                </a:lnTo>
                <a:lnTo>
                  <a:pt x="1977" y="3284"/>
                </a:lnTo>
                <a:lnTo>
                  <a:pt x="1994" y="3282"/>
                </a:lnTo>
                <a:lnTo>
                  <a:pt x="2011" y="3278"/>
                </a:lnTo>
                <a:lnTo>
                  <a:pt x="2031" y="3273"/>
                </a:lnTo>
                <a:lnTo>
                  <a:pt x="2052" y="3268"/>
                </a:lnTo>
                <a:lnTo>
                  <a:pt x="2070" y="3264"/>
                </a:lnTo>
                <a:lnTo>
                  <a:pt x="2089" y="3258"/>
                </a:lnTo>
                <a:lnTo>
                  <a:pt x="2107" y="3253"/>
                </a:lnTo>
                <a:lnTo>
                  <a:pt x="2125" y="3248"/>
                </a:lnTo>
                <a:lnTo>
                  <a:pt x="2146" y="3243"/>
                </a:lnTo>
                <a:lnTo>
                  <a:pt x="2165" y="3236"/>
                </a:lnTo>
                <a:lnTo>
                  <a:pt x="2178" y="3231"/>
                </a:lnTo>
                <a:lnTo>
                  <a:pt x="2191" y="3227"/>
                </a:lnTo>
                <a:lnTo>
                  <a:pt x="2217" y="3218"/>
                </a:lnTo>
                <a:lnTo>
                  <a:pt x="2241" y="3209"/>
                </a:lnTo>
                <a:lnTo>
                  <a:pt x="2241" y="3209"/>
                </a:lnTo>
                <a:lnTo>
                  <a:pt x="2241" y="3209"/>
                </a:lnTo>
                <a:lnTo>
                  <a:pt x="2328" y="3174"/>
                </a:lnTo>
                <a:lnTo>
                  <a:pt x="2494" y="3090"/>
                </a:lnTo>
                <a:lnTo>
                  <a:pt x="2648" y="2989"/>
                </a:lnTo>
                <a:lnTo>
                  <a:pt x="2790" y="2870"/>
                </a:lnTo>
                <a:lnTo>
                  <a:pt x="2855" y="2805"/>
                </a:lnTo>
                <a:lnTo>
                  <a:pt x="2855" y="2805"/>
                </a:lnTo>
                <a:lnTo>
                  <a:pt x="2855" y="2805"/>
                </a:lnTo>
                <a:lnTo>
                  <a:pt x="2858" y="2801"/>
                </a:lnTo>
                <a:lnTo>
                  <a:pt x="2862" y="2797"/>
                </a:lnTo>
                <a:lnTo>
                  <a:pt x="2869" y="2789"/>
                </a:lnTo>
                <a:lnTo>
                  <a:pt x="2875" y="2783"/>
                </a:lnTo>
                <a:lnTo>
                  <a:pt x="2886" y="2771"/>
                </a:lnTo>
                <a:lnTo>
                  <a:pt x="2896" y="2759"/>
                </a:lnTo>
                <a:lnTo>
                  <a:pt x="2896" y="2759"/>
                </a:lnTo>
                <a:lnTo>
                  <a:pt x="2896" y="2759"/>
                </a:lnTo>
                <a:lnTo>
                  <a:pt x="2901" y="2754"/>
                </a:lnTo>
                <a:lnTo>
                  <a:pt x="2906" y="2748"/>
                </a:lnTo>
                <a:lnTo>
                  <a:pt x="2919" y="2734"/>
                </a:lnTo>
                <a:lnTo>
                  <a:pt x="2931" y="2719"/>
                </a:lnTo>
                <a:lnTo>
                  <a:pt x="2931" y="2719"/>
                </a:lnTo>
                <a:lnTo>
                  <a:pt x="2932" y="2718"/>
                </a:lnTo>
                <a:lnTo>
                  <a:pt x="2934" y="2717"/>
                </a:lnTo>
                <a:lnTo>
                  <a:pt x="2935" y="2715"/>
                </a:lnTo>
                <a:lnTo>
                  <a:pt x="2939" y="2710"/>
                </a:lnTo>
                <a:lnTo>
                  <a:pt x="2943" y="2706"/>
                </a:lnTo>
                <a:lnTo>
                  <a:pt x="2947" y="2701"/>
                </a:lnTo>
                <a:lnTo>
                  <a:pt x="2950" y="2696"/>
                </a:lnTo>
                <a:lnTo>
                  <a:pt x="2966" y="2676"/>
                </a:lnTo>
                <a:lnTo>
                  <a:pt x="2980" y="2658"/>
                </a:lnTo>
                <a:lnTo>
                  <a:pt x="2983" y="2654"/>
                </a:lnTo>
                <a:lnTo>
                  <a:pt x="2985" y="2651"/>
                </a:lnTo>
                <a:lnTo>
                  <a:pt x="3044" y="2726"/>
                </a:lnTo>
                <a:lnTo>
                  <a:pt x="3173" y="2863"/>
                </a:lnTo>
                <a:lnTo>
                  <a:pt x="3317" y="2985"/>
                </a:lnTo>
                <a:lnTo>
                  <a:pt x="3475" y="3090"/>
                </a:lnTo>
                <a:lnTo>
                  <a:pt x="3645" y="3177"/>
                </a:lnTo>
                <a:lnTo>
                  <a:pt x="3825" y="3244"/>
                </a:lnTo>
                <a:lnTo>
                  <a:pt x="4015" y="3290"/>
                </a:lnTo>
                <a:lnTo>
                  <a:pt x="4212" y="3313"/>
                </a:lnTo>
                <a:lnTo>
                  <a:pt x="4313" y="3315"/>
                </a:lnTo>
                <a:lnTo>
                  <a:pt x="13535" y="3315"/>
                </a:lnTo>
                <a:lnTo>
                  <a:pt x="13589" y="3314"/>
                </a:lnTo>
                <a:lnTo>
                  <a:pt x="13693" y="3292"/>
                </a:lnTo>
                <a:lnTo>
                  <a:pt x="13741" y="3274"/>
                </a:lnTo>
                <a:lnTo>
                  <a:pt x="13743" y="3273"/>
                </a:lnTo>
                <a:lnTo>
                  <a:pt x="13745" y="3273"/>
                </a:lnTo>
                <a:lnTo>
                  <a:pt x="13755" y="3268"/>
                </a:lnTo>
                <a:lnTo>
                  <a:pt x="13765" y="3264"/>
                </a:lnTo>
                <a:lnTo>
                  <a:pt x="13804" y="3243"/>
                </a:lnTo>
                <a:lnTo>
                  <a:pt x="13877" y="3192"/>
                </a:lnTo>
                <a:lnTo>
                  <a:pt x="13908" y="3161"/>
                </a:lnTo>
                <a:lnTo>
                  <a:pt x="13909" y="3161"/>
                </a:lnTo>
                <a:lnTo>
                  <a:pt x="13910" y="3160"/>
                </a:lnTo>
                <a:lnTo>
                  <a:pt x="13945" y="3122"/>
                </a:lnTo>
                <a:lnTo>
                  <a:pt x="14003" y="3038"/>
                </a:lnTo>
                <a:lnTo>
                  <a:pt x="14043" y="2942"/>
                </a:lnTo>
                <a:lnTo>
                  <a:pt x="14063" y="2839"/>
                </a:lnTo>
                <a:lnTo>
                  <a:pt x="14066" y="2784"/>
                </a:lnTo>
                <a:lnTo>
                  <a:pt x="14066" y="2784"/>
                </a:lnTo>
                <a:lnTo>
                  <a:pt x="14066" y="2654"/>
                </a:lnTo>
                <a:lnTo>
                  <a:pt x="14066" y="2654"/>
                </a:lnTo>
                <a:lnTo>
                  <a:pt x="13837" y="2654"/>
                </a:ln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2" name="Freeform 586">
            <a:extLst>
              <a:ext uri="{FF2B5EF4-FFF2-40B4-BE49-F238E27FC236}">
                <a16:creationId xmlns:a16="http://schemas.microsoft.com/office/drawing/2014/main" id="{AA7F05D7-3EE2-3D81-4EAA-34FD9251CD3C}"/>
              </a:ext>
            </a:extLst>
          </p:cNvPr>
          <p:cNvSpPr>
            <a:spLocks/>
          </p:cNvSpPr>
          <p:nvPr/>
        </p:nvSpPr>
        <p:spPr bwMode="auto">
          <a:xfrm>
            <a:off x="7213843" y="3103384"/>
            <a:ext cx="3900364" cy="899447"/>
          </a:xfrm>
          <a:custGeom>
            <a:avLst/>
            <a:gdLst>
              <a:gd name="T0" fmla="*/ 0 w 11294"/>
              <a:gd name="T1" fmla="*/ 0 h 2604"/>
              <a:gd name="T2" fmla="*/ 86 w 11294"/>
              <a:gd name="T3" fmla="*/ 56 h 2604"/>
              <a:gd name="T4" fmla="*/ 244 w 11294"/>
              <a:gd name="T5" fmla="*/ 187 h 2604"/>
              <a:gd name="T6" fmla="*/ 385 w 11294"/>
              <a:gd name="T7" fmla="*/ 336 h 2604"/>
              <a:gd name="T8" fmla="*/ 509 w 11294"/>
              <a:gd name="T9" fmla="*/ 500 h 2604"/>
              <a:gd name="T10" fmla="*/ 585 w 11294"/>
              <a:gd name="T11" fmla="*/ 634 h 2604"/>
              <a:gd name="T12" fmla="*/ 630 w 11294"/>
              <a:gd name="T13" fmla="*/ 727 h 2604"/>
              <a:gd name="T14" fmla="*/ 671 w 11294"/>
              <a:gd name="T15" fmla="*/ 824 h 2604"/>
              <a:gd name="T16" fmla="*/ 703 w 11294"/>
              <a:gd name="T17" fmla="*/ 923 h 2604"/>
              <a:gd name="T18" fmla="*/ 730 w 11294"/>
              <a:gd name="T19" fmla="*/ 1025 h 2604"/>
              <a:gd name="T20" fmla="*/ 751 w 11294"/>
              <a:gd name="T21" fmla="*/ 1130 h 2604"/>
              <a:gd name="T22" fmla="*/ 765 w 11294"/>
              <a:gd name="T23" fmla="*/ 1236 h 2604"/>
              <a:gd name="T24" fmla="*/ 772 w 11294"/>
              <a:gd name="T25" fmla="*/ 1345 h 2604"/>
              <a:gd name="T26" fmla="*/ 773 w 11294"/>
              <a:gd name="T27" fmla="*/ 1401 h 2604"/>
              <a:gd name="T28" fmla="*/ 773 w 11294"/>
              <a:gd name="T29" fmla="*/ 1407 h 2604"/>
              <a:gd name="T30" fmla="*/ 773 w 11294"/>
              <a:gd name="T31" fmla="*/ 1414 h 2604"/>
              <a:gd name="T32" fmla="*/ 774 w 11294"/>
              <a:gd name="T33" fmla="*/ 1466 h 2604"/>
              <a:gd name="T34" fmla="*/ 786 w 11294"/>
              <a:gd name="T35" fmla="*/ 1564 h 2604"/>
              <a:gd name="T36" fmla="*/ 807 w 11294"/>
              <a:gd name="T37" fmla="*/ 1660 h 2604"/>
              <a:gd name="T38" fmla="*/ 836 w 11294"/>
              <a:gd name="T39" fmla="*/ 1754 h 2604"/>
              <a:gd name="T40" fmla="*/ 874 w 11294"/>
              <a:gd name="T41" fmla="*/ 1842 h 2604"/>
              <a:gd name="T42" fmla="*/ 921 w 11294"/>
              <a:gd name="T43" fmla="*/ 1925 h 2604"/>
              <a:gd name="T44" fmla="*/ 975 w 11294"/>
              <a:gd name="T45" fmla="*/ 2004 h 2604"/>
              <a:gd name="T46" fmla="*/ 1036 w 11294"/>
              <a:gd name="T47" fmla="*/ 2076 h 2604"/>
              <a:gd name="T48" fmla="*/ 1103 w 11294"/>
              <a:gd name="T49" fmla="*/ 2144 h 2604"/>
              <a:gd name="T50" fmla="*/ 1177 w 11294"/>
              <a:gd name="T51" fmla="*/ 2203 h 2604"/>
              <a:gd name="T52" fmla="*/ 1256 w 11294"/>
              <a:gd name="T53" fmla="*/ 2256 h 2604"/>
              <a:gd name="T54" fmla="*/ 1341 w 11294"/>
              <a:gd name="T55" fmla="*/ 2302 h 2604"/>
              <a:gd name="T56" fmla="*/ 1429 w 11294"/>
              <a:gd name="T57" fmla="*/ 2338 h 2604"/>
              <a:gd name="T58" fmla="*/ 1522 w 11294"/>
              <a:gd name="T59" fmla="*/ 2368 h 2604"/>
              <a:gd name="T60" fmla="*/ 1619 w 11294"/>
              <a:gd name="T61" fmla="*/ 2387 h 2604"/>
              <a:gd name="T62" fmla="*/ 1719 w 11294"/>
              <a:gd name="T63" fmla="*/ 2396 h 2604"/>
              <a:gd name="T64" fmla="*/ 1770 w 11294"/>
              <a:gd name="T65" fmla="*/ 2398 h 2604"/>
              <a:gd name="T66" fmla="*/ 1770 w 11294"/>
              <a:gd name="T67" fmla="*/ 2604 h 2604"/>
              <a:gd name="T68" fmla="*/ 11294 w 11294"/>
              <a:gd name="T69" fmla="*/ 2604 h 2604"/>
              <a:gd name="T70" fmla="*/ 11294 w 11294"/>
              <a:gd name="T71" fmla="*/ 543 h 2604"/>
              <a:gd name="T72" fmla="*/ 11292 w 11294"/>
              <a:gd name="T73" fmla="*/ 487 h 2604"/>
              <a:gd name="T74" fmla="*/ 11270 w 11294"/>
              <a:gd name="T75" fmla="*/ 381 h 2604"/>
              <a:gd name="T76" fmla="*/ 11229 w 11294"/>
              <a:gd name="T77" fmla="*/ 284 h 2604"/>
              <a:gd name="T78" fmla="*/ 11170 w 11294"/>
              <a:gd name="T79" fmla="*/ 197 h 2604"/>
              <a:gd name="T80" fmla="*/ 11097 w 11294"/>
              <a:gd name="T81" fmla="*/ 123 h 2604"/>
              <a:gd name="T82" fmla="*/ 11010 w 11294"/>
              <a:gd name="T83" fmla="*/ 65 h 2604"/>
              <a:gd name="T84" fmla="*/ 10913 w 11294"/>
              <a:gd name="T85" fmla="*/ 23 h 2604"/>
              <a:gd name="T86" fmla="*/ 10806 w 11294"/>
              <a:gd name="T87" fmla="*/ 1 h 2604"/>
              <a:gd name="T88" fmla="*/ 10751 w 11294"/>
              <a:gd name="T89" fmla="*/ 0 h 2604"/>
              <a:gd name="T90" fmla="*/ 0 w 11294"/>
              <a:gd name="T91" fmla="*/ 0 h 2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294" h="2604">
                <a:moveTo>
                  <a:pt x="0" y="0"/>
                </a:moveTo>
                <a:lnTo>
                  <a:pt x="86" y="56"/>
                </a:lnTo>
                <a:lnTo>
                  <a:pt x="244" y="187"/>
                </a:lnTo>
                <a:lnTo>
                  <a:pt x="385" y="336"/>
                </a:lnTo>
                <a:lnTo>
                  <a:pt x="509" y="500"/>
                </a:lnTo>
                <a:lnTo>
                  <a:pt x="585" y="634"/>
                </a:lnTo>
                <a:lnTo>
                  <a:pt x="630" y="727"/>
                </a:lnTo>
                <a:lnTo>
                  <a:pt x="671" y="824"/>
                </a:lnTo>
                <a:lnTo>
                  <a:pt x="703" y="923"/>
                </a:lnTo>
                <a:lnTo>
                  <a:pt x="730" y="1025"/>
                </a:lnTo>
                <a:lnTo>
                  <a:pt x="751" y="1130"/>
                </a:lnTo>
                <a:lnTo>
                  <a:pt x="765" y="1236"/>
                </a:lnTo>
                <a:lnTo>
                  <a:pt x="772" y="1345"/>
                </a:lnTo>
                <a:lnTo>
                  <a:pt x="773" y="1401"/>
                </a:lnTo>
                <a:lnTo>
                  <a:pt x="773" y="1407"/>
                </a:lnTo>
                <a:lnTo>
                  <a:pt x="773" y="1414"/>
                </a:lnTo>
                <a:lnTo>
                  <a:pt x="774" y="1466"/>
                </a:lnTo>
                <a:lnTo>
                  <a:pt x="786" y="1564"/>
                </a:lnTo>
                <a:lnTo>
                  <a:pt x="807" y="1660"/>
                </a:lnTo>
                <a:lnTo>
                  <a:pt x="836" y="1754"/>
                </a:lnTo>
                <a:lnTo>
                  <a:pt x="874" y="1842"/>
                </a:lnTo>
                <a:lnTo>
                  <a:pt x="921" y="1925"/>
                </a:lnTo>
                <a:lnTo>
                  <a:pt x="975" y="2004"/>
                </a:lnTo>
                <a:lnTo>
                  <a:pt x="1036" y="2076"/>
                </a:lnTo>
                <a:lnTo>
                  <a:pt x="1103" y="2144"/>
                </a:lnTo>
                <a:lnTo>
                  <a:pt x="1177" y="2203"/>
                </a:lnTo>
                <a:lnTo>
                  <a:pt x="1256" y="2256"/>
                </a:lnTo>
                <a:lnTo>
                  <a:pt x="1341" y="2302"/>
                </a:lnTo>
                <a:lnTo>
                  <a:pt x="1429" y="2338"/>
                </a:lnTo>
                <a:lnTo>
                  <a:pt x="1522" y="2368"/>
                </a:lnTo>
                <a:lnTo>
                  <a:pt x="1619" y="2387"/>
                </a:lnTo>
                <a:lnTo>
                  <a:pt x="1719" y="2396"/>
                </a:lnTo>
                <a:lnTo>
                  <a:pt x="1770" y="2398"/>
                </a:lnTo>
                <a:lnTo>
                  <a:pt x="1770" y="2604"/>
                </a:lnTo>
                <a:lnTo>
                  <a:pt x="11294" y="2604"/>
                </a:lnTo>
                <a:lnTo>
                  <a:pt x="11294" y="543"/>
                </a:lnTo>
                <a:lnTo>
                  <a:pt x="11292" y="487"/>
                </a:lnTo>
                <a:lnTo>
                  <a:pt x="11270" y="381"/>
                </a:lnTo>
                <a:lnTo>
                  <a:pt x="11229" y="284"/>
                </a:lnTo>
                <a:lnTo>
                  <a:pt x="11170" y="197"/>
                </a:lnTo>
                <a:lnTo>
                  <a:pt x="11097" y="123"/>
                </a:lnTo>
                <a:lnTo>
                  <a:pt x="11010" y="65"/>
                </a:lnTo>
                <a:lnTo>
                  <a:pt x="10913" y="23"/>
                </a:lnTo>
                <a:lnTo>
                  <a:pt x="10806" y="1"/>
                </a:lnTo>
                <a:lnTo>
                  <a:pt x="10751" y="0"/>
                </a:lnTo>
                <a:lnTo>
                  <a:pt x="0" y="0"/>
                </a:lnTo>
                <a:close/>
              </a:path>
            </a:pathLst>
          </a:cu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3" name="Freeform 584">
            <a:extLst>
              <a:ext uri="{FF2B5EF4-FFF2-40B4-BE49-F238E27FC236}">
                <a16:creationId xmlns:a16="http://schemas.microsoft.com/office/drawing/2014/main" id="{7888F609-0F0B-D68C-206C-409FE4088D57}"/>
              </a:ext>
            </a:extLst>
          </p:cNvPr>
          <p:cNvSpPr>
            <a:spLocks/>
          </p:cNvSpPr>
          <p:nvPr/>
        </p:nvSpPr>
        <p:spPr bwMode="auto">
          <a:xfrm>
            <a:off x="6354171" y="4766365"/>
            <a:ext cx="4859221" cy="1145378"/>
          </a:xfrm>
          <a:custGeom>
            <a:avLst/>
            <a:gdLst>
              <a:gd name="T0" fmla="*/ 13835 w 14066"/>
              <a:gd name="T1" fmla="*/ 744 h 3315"/>
              <a:gd name="T2" fmla="*/ 13713 w 14066"/>
              <a:gd name="T3" fmla="*/ 454 h 3315"/>
              <a:gd name="T4" fmla="*/ 13456 w 14066"/>
              <a:gd name="T5" fmla="*/ 280 h 3315"/>
              <a:gd name="T6" fmla="*/ 2543 w 14066"/>
              <a:gd name="T7" fmla="*/ 257 h 3315"/>
              <a:gd name="T8" fmla="*/ 2291 w 14066"/>
              <a:gd name="T9" fmla="*/ 124 h 3315"/>
              <a:gd name="T10" fmla="*/ 1956 w 14066"/>
              <a:gd name="T11" fmla="*/ 26 h 3315"/>
              <a:gd name="T12" fmla="*/ 1658 w 14066"/>
              <a:gd name="T13" fmla="*/ 0 h 3315"/>
              <a:gd name="T14" fmla="*/ 1243 w 14066"/>
              <a:gd name="T15" fmla="*/ 52 h 3315"/>
              <a:gd name="T16" fmla="*/ 798 w 14066"/>
              <a:gd name="T17" fmla="*/ 240 h 3315"/>
              <a:gd name="T18" fmla="*/ 431 w 14066"/>
              <a:gd name="T19" fmla="*/ 543 h 3315"/>
              <a:gd name="T20" fmla="*/ 162 w 14066"/>
              <a:gd name="T21" fmla="*/ 938 h 3315"/>
              <a:gd name="T22" fmla="*/ 19 w 14066"/>
              <a:gd name="T23" fmla="*/ 1405 h 3315"/>
              <a:gd name="T24" fmla="*/ 0 w 14066"/>
              <a:gd name="T25" fmla="*/ 1720 h 3315"/>
              <a:gd name="T26" fmla="*/ 54 w 14066"/>
              <a:gd name="T27" fmla="*/ 2076 h 3315"/>
              <a:gd name="T28" fmla="*/ 177 w 14066"/>
              <a:gd name="T29" fmla="*/ 2404 h 3315"/>
              <a:gd name="T30" fmla="*/ 365 w 14066"/>
              <a:gd name="T31" fmla="*/ 2696 h 3315"/>
              <a:gd name="T32" fmla="*/ 607 w 14066"/>
              <a:gd name="T33" fmla="*/ 2941 h 3315"/>
              <a:gd name="T34" fmla="*/ 896 w 14066"/>
              <a:gd name="T35" fmla="*/ 3130 h 3315"/>
              <a:gd name="T36" fmla="*/ 1199 w 14066"/>
              <a:gd name="T37" fmla="*/ 3252 h 3315"/>
              <a:gd name="T38" fmla="*/ 1658 w 14066"/>
              <a:gd name="T39" fmla="*/ 3315 h 3315"/>
              <a:gd name="T40" fmla="*/ 1700 w 14066"/>
              <a:gd name="T41" fmla="*/ 3315 h 3315"/>
              <a:gd name="T42" fmla="*/ 1766 w 14066"/>
              <a:gd name="T43" fmla="*/ 3312 h 3315"/>
              <a:gd name="T44" fmla="*/ 1834 w 14066"/>
              <a:gd name="T45" fmla="*/ 3306 h 3315"/>
              <a:gd name="T46" fmla="*/ 1899 w 14066"/>
              <a:gd name="T47" fmla="*/ 3297 h 3315"/>
              <a:gd name="T48" fmla="*/ 1954 w 14066"/>
              <a:gd name="T49" fmla="*/ 3288 h 3315"/>
              <a:gd name="T50" fmla="*/ 2011 w 14066"/>
              <a:gd name="T51" fmla="*/ 3278 h 3315"/>
              <a:gd name="T52" fmla="*/ 2070 w 14066"/>
              <a:gd name="T53" fmla="*/ 3264 h 3315"/>
              <a:gd name="T54" fmla="*/ 2125 w 14066"/>
              <a:gd name="T55" fmla="*/ 3248 h 3315"/>
              <a:gd name="T56" fmla="*/ 2178 w 14066"/>
              <a:gd name="T57" fmla="*/ 3231 h 3315"/>
              <a:gd name="T58" fmla="*/ 2241 w 14066"/>
              <a:gd name="T59" fmla="*/ 3209 h 3315"/>
              <a:gd name="T60" fmla="*/ 2328 w 14066"/>
              <a:gd name="T61" fmla="*/ 3174 h 3315"/>
              <a:gd name="T62" fmla="*/ 2790 w 14066"/>
              <a:gd name="T63" fmla="*/ 2870 h 3315"/>
              <a:gd name="T64" fmla="*/ 2855 w 14066"/>
              <a:gd name="T65" fmla="*/ 2805 h 3315"/>
              <a:gd name="T66" fmla="*/ 2869 w 14066"/>
              <a:gd name="T67" fmla="*/ 2789 h 3315"/>
              <a:gd name="T68" fmla="*/ 2896 w 14066"/>
              <a:gd name="T69" fmla="*/ 2759 h 3315"/>
              <a:gd name="T70" fmla="*/ 2901 w 14066"/>
              <a:gd name="T71" fmla="*/ 2754 h 3315"/>
              <a:gd name="T72" fmla="*/ 2931 w 14066"/>
              <a:gd name="T73" fmla="*/ 2719 h 3315"/>
              <a:gd name="T74" fmla="*/ 2934 w 14066"/>
              <a:gd name="T75" fmla="*/ 2717 h 3315"/>
              <a:gd name="T76" fmla="*/ 2943 w 14066"/>
              <a:gd name="T77" fmla="*/ 2706 h 3315"/>
              <a:gd name="T78" fmla="*/ 2966 w 14066"/>
              <a:gd name="T79" fmla="*/ 2676 h 3315"/>
              <a:gd name="T80" fmla="*/ 2985 w 14066"/>
              <a:gd name="T81" fmla="*/ 2651 h 3315"/>
              <a:gd name="T82" fmla="*/ 3317 w 14066"/>
              <a:gd name="T83" fmla="*/ 2985 h 3315"/>
              <a:gd name="T84" fmla="*/ 3825 w 14066"/>
              <a:gd name="T85" fmla="*/ 3244 h 3315"/>
              <a:gd name="T86" fmla="*/ 4313 w 14066"/>
              <a:gd name="T87" fmla="*/ 3315 h 3315"/>
              <a:gd name="T88" fmla="*/ 13693 w 14066"/>
              <a:gd name="T89" fmla="*/ 3292 h 3315"/>
              <a:gd name="T90" fmla="*/ 13745 w 14066"/>
              <a:gd name="T91" fmla="*/ 3273 h 3315"/>
              <a:gd name="T92" fmla="*/ 13804 w 14066"/>
              <a:gd name="T93" fmla="*/ 3243 h 3315"/>
              <a:gd name="T94" fmla="*/ 13909 w 14066"/>
              <a:gd name="T95" fmla="*/ 3161 h 3315"/>
              <a:gd name="T96" fmla="*/ 14003 w 14066"/>
              <a:gd name="T97" fmla="*/ 3038 h 3315"/>
              <a:gd name="T98" fmla="*/ 14066 w 14066"/>
              <a:gd name="T99" fmla="*/ 2784 h 3315"/>
              <a:gd name="T100" fmla="*/ 14066 w 14066"/>
              <a:gd name="T101" fmla="*/ 2654 h 3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066" h="3315">
                <a:moveTo>
                  <a:pt x="13837" y="2654"/>
                </a:moveTo>
                <a:lnTo>
                  <a:pt x="13837" y="800"/>
                </a:lnTo>
                <a:lnTo>
                  <a:pt x="13835" y="744"/>
                </a:lnTo>
                <a:lnTo>
                  <a:pt x="13813" y="638"/>
                </a:lnTo>
                <a:lnTo>
                  <a:pt x="13772" y="540"/>
                </a:lnTo>
                <a:lnTo>
                  <a:pt x="13713" y="454"/>
                </a:lnTo>
                <a:lnTo>
                  <a:pt x="13640" y="380"/>
                </a:lnTo>
                <a:lnTo>
                  <a:pt x="13553" y="321"/>
                </a:lnTo>
                <a:lnTo>
                  <a:pt x="13456" y="280"/>
                </a:lnTo>
                <a:lnTo>
                  <a:pt x="13349" y="258"/>
                </a:lnTo>
                <a:lnTo>
                  <a:pt x="13294" y="257"/>
                </a:lnTo>
                <a:lnTo>
                  <a:pt x="2543" y="257"/>
                </a:lnTo>
                <a:lnTo>
                  <a:pt x="2494" y="227"/>
                </a:lnTo>
                <a:lnTo>
                  <a:pt x="2394" y="172"/>
                </a:lnTo>
                <a:lnTo>
                  <a:pt x="2291" y="124"/>
                </a:lnTo>
                <a:lnTo>
                  <a:pt x="2182" y="84"/>
                </a:lnTo>
                <a:lnTo>
                  <a:pt x="2070" y="52"/>
                </a:lnTo>
                <a:lnTo>
                  <a:pt x="1956" y="26"/>
                </a:lnTo>
                <a:lnTo>
                  <a:pt x="1838" y="9"/>
                </a:lnTo>
                <a:lnTo>
                  <a:pt x="1719" y="0"/>
                </a:lnTo>
                <a:lnTo>
                  <a:pt x="1658" y="0"/>
                </a:lnTo>
                <a:lnTo>
                  <a:pt x="1573" y="1"/>
                </a:lnTo>
                <a:lnTo>
                  <a:pt x="1405" y="18"/>
                </a:lnTo>
                <a:lnTo>
                  <a:pt x="1243" y="52"/>
                </a:lnTo>
                <a:lnTo>
                  <a:pt x="1088" y="100"/>
                </a:lnTo>
                <a:lnTo>
                  <a:pt x="939" y="163"/>
                </a:lnTo>
                <a:lnTo>
                  <a:pt x="798" y="240"/>
                </a:lnTo>
                <a:lnTo>
                  <a:pt x="665" y="329"/>
                </a:lnTo>
                <a:lnTo>
                  <a:pt x="542" y="430"/>
                </a:lnTo>
                <a:lnTo>
                  <a:pt x="431" y="543"/>
                </a:lnTo>
                <a:lnTo>
                  <a:pt x="328" y="665"/>
                </a:lnTo>
                <a:lnTo>
                  <a:pt x="239" y="797"/>
                </a:lnTo>
                <a:lnTo>
                  <a:pt x="162" y="938"/>
                </a:lnTo>
                <a:lnTo>
                  <a:pt x="100" y="1087"/>
                </a:lnTo>
                <a:lnTo>
                  <a:pt x="51" y="1243"/>
                </a:lnTo>
                <a:lnTo>
                  <a:pt x="19" y="1405"/>
                </a:lnTo>
                <a:lnTo>
                  <a:pt x="2" y="1572"/>
                </a:lnTo>
                <a:lnTo>
                  <a:pt x="0" y="1658"/>
                </a:lnTo>
                <a:lnTo>
                  <a:pt x="0" y="1720"/>
                </a:lnTo>
                <a:lnTo>
                  <a:pt x="10" y="1842"/>
                </a:lnTo>
                <a:lnTo>
                  <a:pt x="28" y="1961"/>
                </a:lnTo>
                <a:lnTo>
                  <a:pt x="54" y="2076"/>
                </a:lnTo>
                <a:lnTo>
                  <a:pt x="87" y="2190"/>
                </a:lnTo>
                <a:lnTo>
                  <a:pt x="129" y="2299"/>
                </a:lnTo>
                <a:lnTo>
                  <a:pt x="177" y="2404"/>
                </a:lnTo>
                <a:lnTo>
                  <a:pt x="234" y="2507"/>
                </a:lnTo>
                <a:lnTo>
                  <a:pt x="296" y="2604"/>
                </a:lnTo>
                <a:lnTo>
                  <a:pt x="365" y="2696"/>
                </a:lnTo>
                <a:lnTo>
                  <a:pt x="440" y="2783"/>
                </a:lnTo>
                <a:lnTo>
                  <a:pt x="520" y="2864"/>
                </a:lnTo>
                <a:lnTo>
                  <a:pt x="607" y="2941"/>
                </a:lnTo>
                <a:lnTo>
                  <a:pt x="699" y="3010"/>
                </a:lnTo>
                <a:lnTo>
                  <a:pt x="795" y="3073"/>
                </a:lnTo>
                <a:lnTo>
                  <a:pt x="896" y="3130"/>
                </a:lnTo>
                <a:lnTo>
                  <a:pt x="948" y="3156"/>
                </a:lnTo>
                <a:lnTo>
                  <a:pt x="1030" y="3192"/>
                </a:lnTo>
                <a:lnTo>
                  <a:pt x="1199" y="3252"/>
                </a:lnTo>
                <a:lnTo>
                  <a:pt x="1378" y="3293"/>
                </a:lnTo>
                <a:lnTo>
                  <a:pt x="1564" y="3314"/>
                </a:lnTo>
                <a:lnTo>
                  <a:pt x="1658" y="3315"/>
                </a:lnTo>
                <a:lnTo>
                  <a:pt x="1658" y="3315"/>
                </a:lnTo>
                <a:lnTo>
                  <a:pt x="1659" y="3315"/>
                </a:lnTo>
                <a:lnTo>
                  <a:pt x="1700" y="3315"/>
                </a:lnTo>
                <a:lnTo>
                  <a:pt x="1740" y="3313"/>
                </a:lnTo>
                <a:lnTo>
                  <a:pt x="1753" y="3313"/>
                </a:lnTo>
                <a:lnTo>
                  <a:pt x="1766" y="3312"/>
                </a:lnTo>
                <a:lnTo>
                  <a:pt x="1793" y="3310"/>
                </a:lnTo>
                <a:lnTo>
                  <a:pt x="1820" y="3308"/>
                </a:lnTo>
                <a:lnTo>
                  <a:pt x="1834" y="3306"/>
                </a:lnTo>
                <a:lnTo>
                  <a:pt x="1850" y="3304"/>
                </a:lnTo>
                <a:lnTo>
                  <a:pt x="1875" y="3301"/>
                </a:lnTo>
                <a:lnTo>
                  <a:pt x="1899" y="3297"/>
                </a:lnTo>
                <a:lnTo>
                  <a:pt x="1915" y="3296"/>
                </a:lnTo>
                <a:lnTo>
                  <a:pt x="1932" y="3292"/>
                </a:lnTo>
                <a:lnTo>
                  <a:pt x="1954" y="3288"/>
                </a:lnTo>
                <a:lnTo>
                  <a:pt x="1977" y="3284"/>
                </a:lnTo>
                <a:lnTo>
                  <a:pt x="1994" y="3282"/>
                </a:lnTo>
                <a:lnTo>
                  <a:pt x="2011" y="3278"/>
                </a:lnTo>
                <a:lnTo>
                  <a:pt x="2031" y="3273"/>
                </a:lnTo>
                <a:lnTo>
                  <a:pt x="2052" y="3268"/>
                </a:lnTo>
                <a:lnTo>
                  <a:pt x="2070" y="3264"/>
                </a:lnTo>
                <a:lnTo>
                  <a:pt x="2089" y="3258"/>
                </a:lnTo>
                <a:lnTo>
                  <a:pt x="2107" y="3253"/>
                </a:lnTo>
                <a:lnTo>
                  <a:pt x="2125" y="3248"/>
                </a:lnTo>
                <a:lnTo>
                  <a:pt x="2146" y="3243"/>
                </a:lnTo>
                <a:lnTo>
                  <a:pt x="2165" y="3236"/>
                </a:lnTo>
                <a:lnTo>
                  <a:pt x="2178" y="3231"/>
                </a:lnTo>
                <a:lnTo>
                  <a:pt x="2191" y="3227"/>
                </a:lnTo>
                <a:lnTo>
                  <a:pt x="2217" y="3218"/>
                </a:lnTo>
                <a:lnTo>
                  <a:pt x="2241" y="3209"/>
                </a:lnTo>
                <a:lnTo>
                  <a:pt x="2241" y="3209"/>
                </a:lnTo>
                <a:lnTo>
                  <a:pt x="2241" y="3209"/>
                </a:lnTo>
                <a:lnTo>
                  <a:pt x="2328" y="3174"/>
                </a:lnTo>
                <a:lnTo>
                  <a:pt x="2494" y="3090"/>
                </a:lnTo>
                <a:lnTo>
                  <a:pt x="2648" y="2989"/>
                </a:lnTo>
                <a:lnTo>
                  <a:pt x="2790" y="2870"/>
                </a:lnTo>
                <a:lnTo>
                  <a:pt x="2855" y="2805"/>
                </a:lnTo>
                <a:lnTo>
                  <a:pt x="2855" y="2805"/>
                </a:lnTo>
                <a:lnTo>
                  <a:pt x="2855" y="2805"/>
                </a:lnTo>
                <a:lnTo>
                  <a:pt x="2858" y="2801"/>
                </a:lnTo>
                <a:lnTo>
                  <a:pt x="2862" y="2797"/>
                </a:lnTo>
                <a:lnTo>
                  <a:pt x="2869" y="2789"/>
                </a:lnTo>
                <a:lnTo>
                  <a:pt x="2875" y="2783"/>
                </a:lnTo>
                <a:lnTo>
                  <a:pt x="2886" y="2771"/>
                </a:lnTo>
                <a:lnTo>
                  <a:pt x="2896" y="2759"/>
                </a:lnTo>
                <a:lnTo>
                  <a:pt x="2896" y="2759"/>
                </a:lnTo>
                <a:lnTo>
                  <a:pt x="2896" y="2759"/>
                </a:lnTo>
                <a:lnTo>
                  <a:pt x="2901" y="2754"/>
                </a:lnTo>
                <a:lnTo>
                  <a:pt x="2906" y="2748"/>
                </a:lnTo>
                <a:lnTo>
                  <a:pt x="2919" y="2734"/>
                </a:lnTo>
                <a:lnTo>
                  <a:pt x="2931" y="2719"/>
                </a:lnTo>
                <a:lnTo>
                  <a:pt x="2931" y="2719"/>
                </a:lnTo>
                <a:lnTo>
                  <a:pt x="2932" y="2718"/>
                </a:lnTo>
                <a:lnTo>
                  <a:pt x="2934" y="2717"/>
                </a:lnTo>
                <a:lnTo>
                  <a:pt x="2935" y="2715"/>
                </a:lnTo>
                <a:lnTo>
                  <a:pt x="2939" y="2710"/>
                </a:lnTo>
                <a:lnTo>
                  <a:pt x="2943" y="2706"/>
                </a:lnTo>
                <a:lnTo>
                  <a:pt x="2947" y="2701"/>
                </a:lnTo>
                <a:lnTo>
                  <a:pt x="2950" y="2696"/>
                </a:lnTo>
                <a:lnTo>
                  <a:pt x="2966" y="2676"/>
                </a:lnTo>
                <a:lnTo>
                  <a:pt x="2980" y="2658"/>
                </a:lnTo>
                <a:lnTo>
                  <a:pt x="2983" y="2654"/>
                </a:lnTo>
                <a:lnTo>
                  <a:pt x="2985" y="2651"/>
                </a:lnTo>
                <a:lnTo>
                  <a:pt x="3044" y="2726"/>
                </a:lnTo>
                <a:lnTo>
                  <a:pt x="3173" y="2863"/>
                </a:lnTo>
                <a:lnTo>
                  <a:pt x="3317" y="2985"/>
                </a:lnTo>
                <a:lnTo>
                  <a:pt x="3475" y="3090"/>
                </a:lnTo>
                <a:lnTo>
                  <a:pt x="3645" y="3177"/>
                </a:lnTo>
                <a:lnTo>
                  <a:pt x="3825" y="3244"/>
                </a:lnTo>
                <a:lnTo>
                  <a:pt x="4015" y="3290"/>
                </a:lnTo>
                <a:lnTo>
                  <a:pt x="4212" y="3313"/>
                </a:lnTo>
                <a:lnTo>
                  <a:pt x="4313" y="3315"/>
                </a:lnTo>
                <a:lnTo>
                  <a:pt x="13535" y="3315"/>
                </a:lnTo>
                <a:lnTo>
                  <a:pt x="13589" y="3314"/>
                </a:lnTo>
                <a:lnTo>
                  <a:pt x="13693" y="3292"/>
                </a:lnTo>
                <a:lnTo>
                  <a:pt x="13741" y="3274"/>
                </a:lnTo>
                <a:lnTo>
                  <a:pt x="13743" y="3273"/>
                </a:lnTo>
                <a:lnTo>
                  <a:pt x="13745" y="3273"/>
                </a:lnTo>
                <a:lnTo>
                  <a:pt x="13755" y="3268"/>
                </a:lnTo>
                <a:lnTo>
                  <a:pt x="13765" y="3264"/>
                </a:lnTo>
                <a:lnTo>
                  <a:pt x="13804" y="3243"/>
                </a:lnTo>
                <a:lnTo>
                  <a:pt x="13877" y="3192"/>
                </a:lnTo>
                <a:lnTo>
                  <a:pt x="13908" y="3161"/>
                </a:lnTo>
                <a:lnTo>
                  <a:pt x="13909" y="3161"/>
                </a:lnTo>
                <a:lnTo>
                  <a:pt x="13910" y="3160"/>
                </a:lnTo>
                <a:lnTo>
                  <a:pt x="13945" y="3122"/>
                </a:lnTo>
                <a:lnTo>
                  <a:pt x="14003" y="3038"/>
                </a:lnTo>
                <a:lnTo>
                  <a:pt x="14043" y="2942"/>
                </a:lnTo>
                <a:lnTo>
                  <a:pt x="14063" y="2839"/>
                </a:lnTo>
                <a:lnTo>
                  <a:pt x="14066" y="2784"/>
                </a:lnTo>
                <a:lnTo>
                  <a:pt x="14066" y="2784"/>
                </a:lnTo>
                <a:lnTo>
                  <a:pt x="14066" y="2654"/>
                </a:lnTo>
                <a:lnTo>
                  <a:pt x="14066" y="2654"/>
                </a:lnTo>
                <a:lnTo>
                  <a:pt x="13837" y="2654"/>
                </a:ln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4" name="Freeform 586">
            <a:extLst>
              <a:ext uri="{FF2B5EF4-FFF2-40B4-BE49-F238E27FC236}">
                <a16:creationId xmlns:a16="http://schemas.microsoft.com/office/drawing/2014/main" id="{21CDD62F-01F8-DCC0-29B9-A58864593B32}"/>
              </a:ext>
            </a:extLst>
          </p:cNvPr>
          <p:cNvSpPr>
            <a:spLocks/>
          </p:cNvSpPr>
          <p:nvPr/>
        </p:nvSpPr>
        <p:spPr bwMode="auto">
          <a:xfrm>
            <a:off x="7213843" y="4756693"/>
            <a:ext cx="3900364" cy="899447"/>
          </a:xfrm>
          <a:custGeom>
            <a:avLst/>
            <a:gdLst>
              <a:gd name="T0" fmla="*/ 0 w 11294"/>
              <a:gd name="T1" fmla="*/ 0 h 2604"/>
              <a:gd name="T2" fmla="*/ 86 w 11294"/>
              <a:gd name="T3" fmla="*/ 56 h 2604"/>
              <a:gd name="T4" fmla="*/ 244 w 11294"/>
              <a:gd name="T5" fmla="*/ 187 h 2604"/>
              <a:gd name="T6" fmla="*/ 385 w 11294"/>
              <a:gd name="T7" fmla="*/ 336 h 2604"/>
              <a:gd name="T8" fmla="*/ 509 w 11294"/>
              <a:gd name="T9" fmla="*/ 500 h 2604"/>
              <a:gd name="T10" fmla="*/ 585 w 11294"/>
              <a:gd name="T11" fmla="*/ 634 h 2604"/>
              <a:gd name="T12" fmla="*/ 630 w 11294"/>
              <a:gd name="T13" fmla="*/ 727 h 2604"/>
              <a:gd name="T14" fmla="*/ 671 w 11294"/>
              <a:gd name="T15" fmla="*/ 824 h 2604"/>
              <a:gd name="T16" fmla="*/ 703 w 11294"/>
              <a:gd name="T17" fmla="*/ 923 h 2604"/>
              <a:gd name="T18" fmla="*/ 730 w 11294"/>
              <a:gd name="T19" fmla="*/ 1025 h 2604"/>
              <a:gd name="T20" fmla="*/ 751 w 11294"/>
              <a:gd name="T21" fmla="*/ 1130 h 2604"/>
              <a:gd name="T22" fmla="*/ 765 w 11294"/>
              <a:gd name="T23" fmla="*/ 1236 h 2604"/>
              <a:gd name="T24" fmla="*/ 772 w 11294"/>
              <a:gd name="T25" fmla="*/ 1345 h 2604"/>
              <a:gd name="T26" fmla="*/ 773 w 11294"/>
              <a:gd name="T27" fmla="*/ 1401 h 2604"/>
              <a:gd name="T28" fmla="*/ 773 w 11294"/>
              <a:gd name="T29" fmla="*/ 1407 h 2604"/>
              <a:gd name="T30" fmla="*/ 773 w 11294"/>
              <a:gd name="T31" fmla="*/ 1414 h 2604"/>
              <a:gd name="T32" fmla="*/ 774 w 11294"/>
              <a:gd name="T33" fmla="*/ 1466 h 2604"/>
              <a:gd name="T34" fmla="*/ 786 w 11294"/>
              <a:gd name="T35" fmla="*/ 1564 h 2604"/>
              <a:gd name="T36" fmla="*/ 807 w 11294"/>
              <a:gd name="T37" fmla="*/ 1660 h 2604"/>
              <a:gd name="T38" fmla="*/ 836 w 11294"/>
              <a:gd name="T39" fmla="*/ 1754 h 2604"/>
              <a:gd name="T40" fmla="*/ 874 w 11294"/>
              <a:gd name="T41" fmla="*/ 1842 h 2604"/>
              <a:gd name="T42" fmla="*/ 921 w 11294"/>
              <a:gd name="T43" fmla="*/ 1925 h 2604"/>
              <a:gd name="T44" fmla="*/ 975 w 11294"/>
              <a:gd name="T45" fmla="*/ 2004 h 2604"/>
              <a:gd name="T46" fmla="*/ 1036 w 11294"/>
              <a:gd name="T47" fmla="*/ 2076 h 2604"/>
              <a:gd name="T48" fmla="*/ 1103 w 11294"/>
              <a:gd name="T49" fmla="*/ 2144 h 2604"/>
              <a:gd name="T50" fmla="*/ 1177 w 11294"/>
              <a:gd name="T51" fmla="*/ 2203 h 2604"/>
              <a:gd name="T52" fmla="*/ 1256 w 11294"/>
              <a:gd name="T53" fmla="*/ 2256 h 2604"/>
              <a:gd name="T54" fmla="*/ 1341 w 11294"/>
              <a:gd name="T55" fmla="*/ 2302 h 2604"/>
              <a:gd name="T56" fmla="*/ 1429 w 11294"/>
              <a:gd name="T57" fmla="*/ 2338 h 2604"/>
              <a:gd name="T58" fmla="*/ 1522 w 11294"/>
              <a:gd name="T59" fmla="*/ 2368 h 2604"/>
              <a:gd name="T60" fmla="*/ 1619 w 11294"/>
              <a:gd name="T61" fmla="*/ 2387 h 2604"/>
              <a:gd name="T62" fmla="*/ 1719 w 11294"/>
              <a:gd name="T63" fmla="*/ 2396 h 2604"/>
              <a:gd name="T64" fmla="*/ 1770 w 11294"/>
              <a:gd name="T65" fmla="*/ 2398 h 2604"/>
              <a:gd name="T66" fmla="*/ 1770 w 11294"/>
              <a:gd name="T67" fmla="*/ 2604 h 2604"/>
              <a:gd name="T68" fmla="*/ 11294 w 11294"/>
              <a:gd name="T69" fmla="*/ 2604 h 2604"/>
              <a:gd name="T70" fmla="*/ 11294 w 11294"/>
              <a:gd name="T71" fmla="*/ 543 h 2604"/>
              <a:gd name="T72" fmla="*/ 11292 w 11294"/>
              <a:gd name="T73" fmla="*/ 487 h 2604"/>
              <a:gd name="T74" fmla="*/ 11270 w 11294"/>
              <a:gd name="T75" fmla="*/ 381 h 2604"/>
              <a:gd name="T76" fmla="*/ 11229 w 11294"/>
              <a:gd name="T77" fmla="*/ 284 h 2604"/>
              <a:gd name="T78" fmla="*/ 11170 w 11294"/>
              <a:gd name="T79" fmla="*/ 197 h 2604"/>
              <a:gd name="T80" fmla="*/ 11097 w 11294"/>
              <a:gd name="T81" fmla="*/ 123 h 2604"/>
              <a:gd name="T82" fmla="*/ 11010 w 11294"/>
              <a:gd name="T83" fmla="*/ 65 h 2604"/>
              <a:gd name="T84" fmla="*/ 10913 w 11294"/>
              <a:gd name="T85" fmla="*/ 23 h 2604"/>
              <a:gd name="T86" fmla="*/ 10806 w 11294"/>
              <a:gd name="T87" fmla="*/ 1 h 2604"/>
              <a:gd name="T88" fmla="*/ 10751 w 11294"/>
              <a:gd name="T89" fmla="*/ 0 h 2604"/>
              <a:gd name="T90" fmla="*/ 0 w 11294"/>
              <a:gd name="T91" fmla="*/ 0 h 2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294" h="2604">
                <a:moveTo>
                  <a:pt x="0" y="0"/>
                </a:moveTo>
                <a:lnTo>
                  <a:pt x="86" y="56"/>
                </a:lnTo>
                <a:lnTo>
                  <a:pt x="244" y="187"/>
                </a:lnTo>
                <a:lnTo>
                  <a:pt x="385" y="336"/>
                </a:lnTo>
                <a:lnTo>
                  <a:pt x="509" y="500"/>
                </a:lnTo>
                <a:lnTo>
                  <a:pt x="585" y="634"/>
                </a:lnTo>
                <a:lnTo>
                  <a:pt x="630" y="727"/>
                </a:lnTo>
                <a:lnTo>
                  <a:pt x="671" y="824"/>
                </a:lnTo>
                <a:lnTo>
                  <a:pt x="703" y="923"/>
                </a:lnTo>
                <a:lnTo>
                  <a:pt x="730" y="1025"/>
                </a:lnTo>
                <a:lnTo>
                  <a:pt x="751" y="1130"/>
                </a:lnTo>
                <a:lnTo>
                  <a:pt x="765" y="1236"/>
                </a:lnTo>
                <a:lnTo>
                  <a:pt x="772" y="1345"/>
                </a:lnTo>
                <a:lnTo>
                  <a:pt x="773" y="1401"/>
                </a:lnTo>
                <a:lnTo>
                  <a:pt x="773" y="1407"/>
                </a:lnTo>
                <a:lnTo>
                  <a:pt x="773" y="1414"/>
                </a:lnTo>
                <a:lnTo>
                  <a:pt x="774" y="1466"/>
                </a:lnTo>
                <a:lnTo>
                  <a:pt x="786" y="1564"/>
                </a:lnTo>
                <a:lnTo>
                  <a:pt x="807" y="1660"/>
                </a:lnTo>
                <a:lnTo>
                  <a:pt x="836" y="1754"/>
                </a:lnTo>
                <a:lnTo>
                  <a:pt x="874" y="1842"/>
                </a:lnTo>
                <a:lnTo>
                  <a:pt x="921" y="1925"/>
                </a:lnTo>
                <a:lnTo>
                  <a:pt x="975" y="2004"/>
                </a:lnTo>
                <a:lnTo>
                  <a:pt x="1036" y="2076"/>
                </a:lnTo>
                <a:lnTo>
                  <a:pt x="1103" y="2144"/>
                </a:lnTo>
                <a:lnTo>
                  <a:pt x="1177" y="2203"/>
                </a:lnTo>
                <a:lnTo>
                  <a:pt x="1256" y="2256"/>
                </a:lnTo>
                <a:lnTo>
                  <a:pt x="1341" y="2302"/>
                </a:lnTo>
                <a:lnTo>
                  <a:pt x="1429" y="2338"/>
                </a:lnTo>
                <a:lnTo>
                  <a:pt x="1522" y="2368"/>
                </a:lnTo>
                <a:lnTo>
                  <a:pt x="1619" y="2387"/>
                </a:lnTo>
                <a:lnTo>
                  <a:pt x="1719" y="2396"/>
                </a:lnTo>
                <a:lnTo>
                  <a:pt x="1770" y="2398"/>
                </a:lnTo>
                <a:lnTo>
                  <a:pt x="1770" y="2604"/>
                </a:lnTo>
                <a:lnTo>
                  <a:pt x="11294" y="2604"/>
                </a:lnTo>
                <a:lnTo>
                  <a:pt x="11294" y="543"/>
                </a:lnTo>
                <a:lnTo>
                  <a:pt x="11292" y="487"/>
                </a:lnTo>
                <a:lnTo>
                  <a:pt x="11270" y="381"/>
                </a:lnTo>
                <a:lnTo>
                  <a:pt x="11229" y="284"/>
                </a:lnTo>
                <a:lnTo>
                  <a:pt x="11170" y="197"/>
                </a:lnTo>
                <a:lnTo>
                  <a:pt x="11097" y="123"/>
                </a:lnTo>
                <a:lnTo>
                  <a:pt x="11010" y="65"/>
                </a:lnTo>
                <a:lnTo>
                  <a:pt x="10913" y="23"/>
                </a:lnTo>
                <a:lnTo>
                  <a:pt x="10806" y="1"/>
                </a:lnTo>
                <a:lnTo>
                  <a:pt x="10751" y="0"/>
                </a:lnTo>
                <a:lnTo>
                  <a:pt x="0" y="0"/>
                </a:lnTo>
                <a:close/>
              </a:path>
            </a:pathLst>
          </a:custGeom>
          <a:solidFill>
            <a:schemeClr val="accent6">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5" name="Group 14">
            <a:extLst>
              <a:ext uri="{FF2B5EF4-FFF2-40B4-BE49-F238E27FC236}">
                <a16:creationId xmlns:a16="http://schemas.microsoft.com/office/drawing/2014/main" id="{5CC791A5-BAD5-9C57-624D-8C0F119F8D7A}"/>
              </a:ext>
            </a:extLst>
          </p:cNvPr>
          <p:cNvGrpSpPr/>
          <p:nvPr/>
        </p:nvGrpSpPr>
        <p:grpSpPr>
          <a:xfrm>
            <a:off x="2272506" y="1476755"/>
            <a:ext cx="3397869" cy="793515"/>
            <a:chOff x="2273057" y="1475285"/>
            <a:chExt cx="2940629" cy="793515"/>
          </a:xfrm>
        </p:grpSpPr>
        <p:sp>
          <p:nvSpPr>
            <p:cNvPr id="16" name="TextBox 15">
              <a:extLst>
                <a:ext uri="{FF2B5EF4-FFF2-40B4-BE49-F238E27FC236}">
                  <a16:creationId xmlns:a16="http://schemas.microsoft.com/office/drawing/2014/main" id="{D54FEB0C-61E9-DAB4-EEB5-F771EC57C5DA}"/>
                </a:ext>
              </a:extLst>
            </p:cNvPr>
            <p:cNvSpPr txBox="1"/>
            <p:nvPr/>
          </p:nvSpPr>
          <p:spPr>
            <a:xfrm>
              <a:off x="2276598" y="1475285"/>
              <a:ext cx="2937088" cy="369332"/>
            </a:xfrm>
            <a:prstGeom prst="rect">
              <a:avLst/>
            </a:prstGeom>
            <a:noFill/>
          </p:spPr>
          <p:txBody>
            <a:bodyPr wrap="square" lIns="0" rIns="0" rtlCol="0" anchor="b">
              <a:spAutoFit/>
            </a:bodyPr>
            <a:lstStyle/>
            <a:p>
              <a:r>
                <a:rPr lang="en-US" b="1"/>
                <a:t>How AI Agents Take Action</a:t>
              </a:r>
            </a:p>
          </p:txBody>
        </p:sp>
        <p:sp>
          <p:nvSpPr>
            <p:cNvPr id="17" name="TextBox 16">
              <a:extLst>
                <a:ext uri="{FF2B5EF4-FFF2-40B4-BE49-F238E27FC236}">
                  <a16:creationId xmlns:a16="http://schemas.microsoft.com/office/drawing/2014/main" id="{7BCDE0AF-1AA7-9B79-6CA4-636996FBBE10}"/>
                </a:ext>
              </a:extLst>
            </p:cNvPr>
            <p:cNvSpPr txBox="1"/>
            <p:nvPr/>
          </p:nvSpPr>
          <p:spPr>
            <a:xfrm>
              <a:off x="2273057" y="1807135"/>
              <a:ext cx="2571091" cy="461665"/>
            </a:xfrm>
            <a:prstGeom prst="rect">
              <a:avLst/>
            </a:prstGeom>
            <a:noFill/>
          </p:spPr>
          <p:txBody>
            <a:bodyPr wrap="square" lIns="0" rIns="0" rtlCol="0" anchor="t">
              <a:spAutoFit/>
            </a:bodyPr>
            <a:lstStyle/>
            <a:p>
              <a:pPr algn="just"/>
              <a:r>
                <a:rPr lang="en-US" sz="1200">
                  <a:solidFill>
                    <a:schemeClr val="tx1">
                      <a:lumMod val="65000"/>
                      <a:lumOff val="35000"/>
                    </a:schemeClr>
                  </a:solidFill>
                </a:rPr>
                <a:t>Explore the decision-making process that guide AI agents in selecting and using tools.</a:t>
              </a:r>
            </a:p>
          </p:txBody>
        </p:sp>
      </p:grpSp>
      <p:grpSp>
        <p:nvGrpSpPr>
          <p:cNvPr id="18" name="Group 17">
            <a:extLst>
              <a:ext uri="{FF2B5EF4-FFF2-40B4-BE49-F238E27FC236}">
                <a16:creationId xmlns:a16="http://schemas.microsoft.com/office/drawing/2014/main" id="{DF8F9D75-60F7-16BA-82F2-A26D44740FC0}"/>
              </a:ext>
            </a:extLst>
          </p:cNvPr>
          <p:cNvGrpSpPr/>
          <p:nvPr/>
        </p:nvGrpSpPr>
        <p:grpSpPr>
          <a:xfrm>
            <a:off x="2276598" y="3141018"/>
            <a:ext cx="2937088" cy="763344"/>
            <a:chOff x="2276598" y="1475285"/>
            <a:chExt cx="2937088" cy="763344"/>
          </a:xfrm>
        </p:grpSpPr>
        <p:sp>
          <p:nvSpPr>
            <p:cNvPr id="19" name="TextBox 18">
              <a:extLst>
                <a:ext uri="{FF2B5EF4-FFF2-40B4-BE49-F238E27FC236}">
                  <a16:creationId xmlns:a16="http://schemas.microsoft.com/office/drawing/2014/main" id="{F660E563-8AE8-C3A3-CAD2-6EEA07741487}"/>
                </a:ext>
              </a:extLst>
            </p:cNvPr>
            <p:cNvSpPr txBox="1"/>
            <p:nvPr/>
          </p:nvSpPr>
          <p:spPr>
            <a:xfrm>
              <a:off x="2276598" y="1475285"/>
              <a:ext cx="2937088" cy="369332"/>
            </a:xfrm>
            <a:prstGeom prst="rect">
              <a:avLst/>
            </a:prstGeom>
            <a:noFill/>
          </p:spPr>
          <p:txBody>
            <a:bodyPr wrap="square" lIns="0" rIns="0" rtlCol="0" anchor="b">
              <a:spAutoFit/>
            </a:bodyPr>
            <a:lstStyle/>
            <a:p>
              <a:r>
                <a:rPr lang="en-US" b="1"/>
                <a:t>An Agents Toolkit</a:t>
              </a:r>
            </a:p>
          </p:txBody>
        </p:sp>
        <p:sp>
          <p:nvSpPr>
            <p:cNvPr id="20" name="TextBox 19">
              <a:extLst>
                <a:ext uri="{FF2B5EF4-FFF2-40B4-BE49-F238E27FC236}">
                  <a16:creationId xmlns:a16="http://schemas.microsoft.com/office/drawing/2014/main" id="{59F16E2A-9484-45D8-C533-D923B3CC58B5}"/>
                </a:ext>
              </a:extLst>
            </p:cNvPr>
            <p:cNvSpPr txBox="1"/>
            <p:nvPr/>
          </p:nvSpPr>
          <p:spPr>
            <a:xfrm>
              <a:off x="2284393" y="1776964"/>
              <a:ext cx="2929293" cy="461665"/>
            </a:xfrm>
            <a:prstGeom prst="rect">
              <a:avLst/>
            </a:prstGeom>
            <a:noFill/>
          </p:spPr>
          <p:txBody>
            <a:bodyPr wrap="square" lIns="0" rIns="0" rtlCol="0" anchor="t">
              <a:spAutoFit/>
            </a:bodyPr>
            <a:lstStyle/>
            <a:p>
              <a:pPr algn="just"/>
              <a:r>
                <a:rPr lang="en-US" sz="1200">
                  <a:solidFill>
                    <a:schemeClr val="tx1">
                      <a:lumMod val="65000"/>
                      <a:lumOff val="35000"/>
                    </a:schemeClr>
                  </a:solidFill>
                </a:rPr>
                <a:t>Discover the essential set of tools and capabilities that empower AI agents.</a:t>
              </a:r>
            </a:p>
          </p:txBody>
        </p:sp>
      </p:grpSp>
      <p:grpSp>
        <p:nvGrpSpPr>
          <p:cNvPr id="21" name="Group 20">
            <a:extLst>
              <a:ext uri="{FF2B5EF4-FFF2-40B4-BE49-F238E27FC236}">
                <a16:creationId xmlns:a16="http://schemas.microsoft.com/office/drawing/2014/main" id="{A46748F3-8261-0B71-0CDE-A1C687CFF617}"/>
              </a:ext>
            </a:extLst>
          </p:cNvPr>
          <p:cNvGrpSpPr/>
          <p:nvPr/>
        </p:nvGrpSpPr>
        <p:grpSpPr>
          <a:xfrm>
            <a:off x="2276598" y="4805281"/>
            <a:ext cx="2937088" cy="763344"/>
            <a:chOff x="2276598" y="1475285"/>
            <a:chExt cx="2937088" cy="763344"/>
          </a:xfrm>
        </p:grpSpPr>
        <p:sp>
          <p:nvSpPr>
            <p:cNvPr id="22" name="TextBox 21">
              <a:extLst>
                <a:ext uri="{FF2B5EF4-FFF2-40B4-BE49-F238E27FC236}">
                  <a16:creationId xmlns:a16="http://schemas.microsoft.com/office/drawing/2014/main" id="{114B1B54-74CD-C5D6-E9EC-48EDCA824FA9}"/>
                </a:ext>
              </a:extLst>
            </p:cNvPr>
            <p:cNvSpPr txBox="1"/>
            <p:nvPr/>
          </p:nvSpPr>
          <p:spPr>
            <a:xfrm>
              <a:off x="2276598" y="1475285"/>
              <a:ext cx="2937088" cy="369332"/>
            </a:xfrm>
            <a:prstGeom prst="rect">
              <a:avLst/>
            </a:prstGeom>
            <a:noFill/>
          </p:spPr>
          <p:txBody>
            <a:bodyPr wrap="square" lIns="0" rIns="0" rtlCol="0" anchor="b">
              <a:spAutoFit/>
            </a:bodyPr>
            <a:lstStyle/>
            <a:p>
              <a:r>
                <a:rPr lang="en-US" b="1"/>
                <a:t>Tool Resilience</a:t>
              </a:r>
            </a:p>
          </p:txBody>
        </p:sp>
        <p:sp>
          <p:nvSpPr>
            <p:cNvPr id="23" name="TextBox 22">
              <a:extLst>
                <a:ext uri="{FF2B5EF4-FFF2-40B4-BE49-F238E27FC236}">
                  <a16:creationId xmlns:a16="http://schemas.microsoft.com/office/drawing/2014/main" id="{B3A958CC-562B-BE52-CFB3-7EB4F5A65EC6}"/>
                </a:ext>
              </a:extLst>
            </p:cNvPr>
            <p:cNvSpPr txBox="1"/>
            <p:nvPr/>
          </p:nvSpPr>
          <p:spPr>
            <a:xfrm>
              <a:off x="2284393" y="1776964"/>
              <a:ext cx="2929293" cy="461665"/>
            </a:xfrm>
            <a:prstGeom prst="rect">
              <a:avLst/>
            </a:prstGeom>
            <a:noFill/>
          </p:spPr>
          <p:txBody>
            <a:bodyPr wrap="square" lIns="0" rIns="0" rtlCol="0" anchor="t">
              <a:spAutoFit/>
            </a:bodyPr>
            <a:lstStyle/>
            <a:p>
              <a:pPr algn="just"/>
              <a:r>
                <a:rPr lang="en-US" sz="1200">
                  <a:solidFill>
                    <a:schemeClr val="tx1">
                      <a:lumMod val="65000"/>
                      <a:lumOff val="35000"/>
                    </a:schemeClr>
                  </a:solidFill>
                </a:rPr>
                <a:t>See how agents adapt when tools fail change or produce unexpected results.</a:t>
              </a:r>
            </a:p>
          </p:txBody>
        </p:sp>
      </p:grpSp>
      <p:grpSp>
        <p:nvGrpSpPr>
          <p:cNvPr id="24" name="Group 23">
            <a:extLst>
              <a:ext uri="{FF2B5EF4-FFF2-40B4-BE49-F238E27FC236}">
                <a16:creationId xmlns:a16="http://schemas.microsoft.com/office/drawing/2014/main" id="{14D9C953-F8F3-B511-2F3B-D8BCE40EFCD3}"/>
              </a:ext>
            </a:extLst>
          </p:cNvPr>
          <p:cNvGrpSpPr/>
          <p:nvPr/>
        </p:nvGrpSpPr>
        <p:grpSpPr>
          <a:xfrm>
            <a:off x="7635155" y="1507533"/>
            <a:ext cx="3422076" cy="917232"/>
            <a:chOff x="2276598" y="1506063"/>
            <a:chExt cx="2937088" cy="917232"/>
          </a:xfrm>
        </p:grpSpPr>
        <p:sp>
          <p:nvSpPr>
            <p:cNvPr id="25" name="TextBox 24">
              <a:extLst>
                <a:ext uri="{FF2B5EF4-FFF2-40B4-BE49-F238E27FC236}">
                  <a16:creationId xmlns:a16="http://schemas.microsoft.com/office/drawing/2014/main" id="{2C8CD5A9-0409-BB99-A7D9-3743AEF5390B}"/>
                </a:ext>
              </a:extLst>
            </p:cNvPr>
            <p:cNvSpPr txBox="1"/>
            <p:nvPr/>
          </p:nvSpPr>
          <p:spPr>
            <a:xfrm>
              <a:off x="2276598" y="1506063"/>
              <a:ext cx="2937088" cy="338554"/>
            </a:xfrm>
            <a:prstGeom prst="rect">
              <a:avLst/>
            </a:prstGeom>
            <a:noFill/>
          </p:spPr>
          <p:txBody>
            <a:bodyPr wrap="square" lIns="0" rIns="0" rtlCol="0" anchor="b">
              <a:spAutoFit/>
            </a:bodyPr>
            <a:lstStyle/>
            <a:p>
              <a:r>
                <a:rPr lang="en-US" sz="1600" b="1"/>
                <a:t>Simple &amp; Complex Tool Usage</a:t>
              </a:r>
            </a:p>
          </p:txBody>
        </p:sp>
        <p:sp>
          <p:nvSpPr>
            <p:cNvPr id="26" name="TextBox 25">
              <a:extLst>
                <a:ext uri="{FF2B5EF4-FFF2-40B4-BE49-F238E27FC236}">
                  <a16:creationId xmlns:a16="http://schemas.microsoft.com/office/drawing/2014/main" id="{F1C16748-BF5D-21D7-C7E3-71EDCF92A606}"/>
                </a:ext>
              </a:extLst>
            </p:cNvPr>
            <p:cNvSpPr txBox="1"/>
            <p:nvPr/>
          </p:nvSpPr>
          <p:spPr>
            <a:xfrm>
              <a:off x="2284393" y="1776964"/>
              <a:ext cx="2929293" cy="646331"/>
            </a:xfrm>
            <a:prstGeom prst="rect">
              <a:avLst/>
            </a:prstGeom>
            <a:noFill/>
          </p:spPr>
          <p:txBody>
            <a:bodyPr wrap="square" lIns="0" rIns="0" rtlCol="0" anchor="t">
              <a:spAutoFit/>
            </a:bodyPr>
            <a:lstStyle/>
            <a:p>
              <a:r>
                <a:rPr lang="en-US" sz="1200">
                  <a:solidFill>
                    <a:schemeClr val="tx1">
                      <a:lumMod val="65000"/>
                      <a:lumOff val="35000"/>
                    </a:schemeClr>
                  </a:solidFill>
                </a:rPr>
                <a:t>Learn how agents handle both straightforward and multi-step tool operations effectively.</a:t>
              </a:r>
            </a:p>
          </p:txBody>
        </p:sp>
      </p:grpSp>
      <p:grpSp>
        <p:nvGrpSpPr>
          <p:cNvPr id="27" name="Group 26">
            <a:extLst>
              <a:ext uri="{FF2B5EF4-FFF2-40B4-BE49-F238E27FC236}">
                <a16:creationId xmlns:a16="http://schemas.microsoft.com/office/drawing/2014/main" id="{A75A2EEB-DE34-B9AF-B5A3-19B72090F393}"/>
              </a:ext>
            </a:extLst>
          </p:cNvPr>
          <p:cNvGrpSpPr/>
          <p:nvPr/>
        </p:nvGrpSpPr>
        <p:grpSpPr>
          <a:xfrm>
            <a:off x="7635155" y="3141018"/>
            <a:ext cx="2937088" cy="763344"/>
            <a:chOff x="2276598" y="1475285"/>
            <a:chExt cx="2937088" cy="763344"/>
          </a:xfrm>
        </p:grpSpPr>
        <p:sp>
          <p:nvSpPr>
            <p:cNvPr id="28" name="TextBox 27">
              <a:extLst>
                <a:ext uri="{FF2B5EF4-FFF2-40B4-BE49-F238E27FC236}">
                  <a16:creationId xmlns:a16="http://schemas.microsoft.com/office/drawing/2014/main" id="{DD8CF9F7-2228-C8C7-6F2F-5D253282C2C0}"/>
                </a:ext>
              </a:extLst>
            </p:cNvPr>
            <p:cNvSpPr txBox="1"/>
            <p:nvPr/>
          </p:nvSpPr>
          <p:spPr>
            <a:xfrm>
              <a:off x="2276598" y="1475285"/>
              <a:ext cx="2937088" cy="369332"/>
            </a:xfrm>
            <a:prstGeom prst="rect">
              <a:avLst/>
            </a:prstGeom>
            <a:noFill/>
          </p:spPr>
          <p:txBody>
            <a:bodyPr wrap="square" lIns="0" rIns="0" rtlCol="0" anchor="b">
              <a:spAutoFit/>
            </a:bodyPr>
            <a:lstStyle/>
            <a:p>
              <a:r>
                <a:rPr lang="en-US" b="1"/>
                <a:t>Pitfalls and Fault Logic</a:t>
              </a:r>
            </a:p>
          </p:txBody>
        </p:sp>
        <p:sp>
          <p:nvSpPr>
            <p:cNvPr id="29" name="TextBox 28">
              <a:extLst>
                <a:ext uri="{FF2B5EF4-FFF2-40B4-BE49-F238E27FC236}">
                  <a16:creationId xmlns:a16="http://schemas.microsoft.com/office/drawing/2014/main" id="{8EF34AF3-B452-515D-0295-5AAAD8CA2023}"/>
                </a:ext>
              </a:extLst>
            </p:cNvPr>
            <p:cNvSpPr txBox="1"/>
            <p:nvPr/>
          </p:nvSpPr>
          <p:spPr>
            <a:xfrm>
              <a:off x="2284393" y="1776964"/>
              <a:ext cx="2929293" cy="461665"/>
            </a:xfrm>
            <a:prstGeom prst="rect">
              <a:avLst/>
            </a:prstGeom>
            <a:noFill/>
          </p:spPr>
          <p:txBody>
            <a:bodyPr wrap="square" lIns="0" rIns="0" rtlCol="0" anchor="t">
              <a:spAutoFit/>
            </a:bodyPr>
            <a:lstStyle/>
            <a:p>
              <a:pPr algn="just"/>
              <a:r>
                <a:rPr lang="en-US" sz="1200">
                  <a:solidFill>
                    <a:schemeClr val="tx1">
                      <a:lumMod val="65000"/>
                      <a:lumOff val="35000"/>
                    </a:schemeClr>
                  </a:solidFill>
                </a:rPr>
                <a:t>Understand common reasoning errors and how to avoid them in AI-Driven Workflows.</a:t>
              </a:r>
            </a:p>
          </p:txBody>
        </p:sp>
      </p:grpSp>
      <p:grpSp>
        <p:nvGrpSpPr>
          <p:cNvPr id="30" name="Group 29">
            <a:extLst>
              <a:ext uri="{FF2B5EF4-FFF2-40B4-BE49-F238E27FC236}">
                <a16:creationId xmlns:a16="http://schemas.microsoft.com/office/drawing/2014/main" id="{25B61F92-6B01-DFFB-28B3-A1A75AFBB8CE}"/>
              </a:ext>
            </a:extLst>
          </p:cNvPr>
          <p:cNvGrpSpPr/>
          <p:nvPr/>
        </p:nvGrpSpPr>
        <p:grpSpPr>
          <a:xfrm>
            <a:off x="7635155" y="4805281"/>
            <a:ext cx="3422076" cy="763344"/>
            <a:chOff x="2276598" y="1475285"/>
            <a:chExt cx="2937088" cy="763344"/>
          </a:xfrm>
        </p:grpSpPr>
        <p:sp>
          <p:nvSpPr>
            <p:cNvPr id="31" name="TextBox 30">
              <a:extLst>
                <a:ext uri="{FF2B5EF4-FFF2-40B4-BE49-F238E27FC236}">
                  <a16:creationId xmlns:a16="http://schemas.microsoft.com/office/drawing/2014/main" id="{05FE8003-8BF2-5D06-5BD0-4084AB1DE6D1}"/>
                </a:ext>
              </a:extLst>
            </p:cNvPr>
            <p:cNvSpPr txBox="1"/>
            <p:nvPr/>
          </p:nvSpPr>
          <p:spPr>
            <a:xfrm>
              <a:off x="2276598" y="1475285"/>
              <a:ext cx="2937088" cy="369332"/>
            </a:xfrm>
            <a:prstGeom prst="rect">
              <a:avLst/>
            </a:prstGeom>
            <a:noFill/>
          </p:spPr>
          <p:txBody>
            <a:bodyPr wrap="square" lIns="0" rIns="0" rtlCol="0" anchor="b">
              <a:spAutoFit/>
            </a:bodyPr>
            <a:lstStyle/>
            <a:p>
              <a:r>
                <a:rPr lang="en-US" b="1"/>
                <a:t>Building Trust</a:t>
              </a:r>
            </a:p>
          </p:txBody>
        </p:sp>
        <p:sp>
          <p:nvSpPr>
            <p:cNvPr id="32" name="TextBox 31">
              <a:extLst>
                <a:ext uri="{FF2B5EF4-FFF2-40B4-BE49-F238E27FC236}">
                  <a16:creationId xmlns:a16="http://schemas.microsoft.com/office/drawing/2014/main" id="{189D56BB-4CD7-9F40-53DC-3A651B263F61}"/>
                </a:ext>
              </a:extLst>
            </p:cNvPr>
            <p:cNvSpPr txBox="1"/>
            <p:nvPr/>
          </p:nvSpPr>
          <p:spPr>
            <a:xfrm>
              <a:off x="2284393" y="1776964"/>
              <a:ext cx="2929293" cy="461665"/>
            </a:xfrm>
            <a:prstGeom prst="rect">
              <a:avLst/>
            </a:prstGeom>
            <a:noFill/>
          </p:spPr>
          <p:txBody>
            <a:bodyPr wrap="square" lIns="0" rIns="0" rtlCol="0" anchor="t">
              <a:spAutoFit/>
            </a:bodyPr>
            <a:lstStyle/>
            <a:p>
              <a:pPr algn="just"/>
              <a:r>
                <a:rPr lang="en-US" sz="1200">
                  <a:solidFill>
                    <a:schemeClr val="tx1">
                      <a:lumMod val="65000"/>
                      <a:lumOff val="35000"/>
                    </a:schemeClr>
                  </a:solidFill>
                </a:rPr>
                <a:t>Examine strategies for ensuring reliability, transparency, and user confidence in AI Agents.</a:t>
              </a:r>
            </a:p>
          </p:txBody>
        </p:sp>
      </p:grpSp>
      <p:pic>
        <p:nvPicPr>
          <p:cNvPr id="33" name="Graphic 32" descr="Family with boy">
            <a:extLst>
              <a:ext uri="{FF2B5EF4-FFF2-40B4-BE49-F238E27FC236}">
                <a16:creationId xmlns:a16="http://schemas.microsoft.com/office/drawing/2014/main" id="{1BB59A63-9C8B-7AC5-5ED6-43E029AAEEF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243377" y="1479134"/>
            <a:ext cx="426998" cy="426998"/>
          </a:xfrm>
          <a:prstGeom prst="rect">
            <a:avLst/>
          </a:prstGeom>
        </p:spPr>
      </p:pic>
      <p:pic>
        <p:nvPicPr>
          <p:cNvPr id="34" name="Graphic 33" descr="Send">
            <a:extLst>
              <a:ext uri="{FF2B5EF4-FFF2-40B4-BE49-F238E27FC236}">
                <a16:creationId xmlns:a16="http://schemas.microsoft.com/office/drawing/2014/main" id="{FF870557-2391-E138-E429-9A8755E9FF6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243377" y="3122749"/>
            <a:ext cx="426998" cy="426998"/>
          </a:xfrm>
          <a:prstGeom prst="rect">
            <a:avLst/>
          </a:prstGeom>
        </p:spPr>
      </p:pic>
      <p:pic>
        <p:nvPicPr>
          <p:cNvPr id="35" name="Graphic 34" descr="Chat">
            <a:extLst>
              <a:ext uri="{FF2B5EF4-FFF2-40B4-BE49-F238E27FC236}">
                <a16:creationId xmlns:a16="http://schemas.microsoft.com/office/drawing/2014/main" id="{55A84F3C-69E1-BA49-4DFD-96BA210A3C8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579152" y="1479134"/>
            <a:ext cx="426998" cy="426998"/>
          </a:xfrm>
          <a:prstGeom prst="rect">
            <a:avLst/>
          </a:prstGeom>
        </p:spPr>
      </p:pic>
      <p:pic>
        <p:nvPicPr>
          <p:cNvPr id="36" name="Graphic 35" descr="Briefcase">
            <a:extLst>
              <a:ext uri="{FF2B5EF4-FFF2-40B4-BE49-F238E27FC236}">
                <a16:creationId xmlns:a16="http://schemas.microsoft.com/office/drawing/2014/main" id="{FD7969D2-9FCF-AA2B-A060-352C5B8200C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621383" y="4766365"/>
            <a:ext cx="426998" cy="426998"/>
          </a:xfrm>
          <a:prstGeom prst="rect">
            <a:avLst/>
          </a:prstGeom>
        </p:spPr>
      </p:pic>
      <p:pic>
        <p:nvPicPr>
          <p:cNvPr id="37" name="Graphic 36" descr="Single gear">
            <a:extLst>
              <a:ext uri="{FF2B5EF4-FFF2-40B4-BE49-F238E27FC236}">
                <a16:creationId xmlns:a16="http://schemas.microsoft.com/office/drawing/2014/main" id="{ECC62516-9622-9FE0-4A67-D155BCD59F8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630233" y="3122750"/>
            <a:ext cx="426998" cy="426998"/>
          </a:xfrm>
          <a:prstGeom prst="rect">
            <a:avLst/>
          </a:prstGeom>
        </p:spPr>
      </p:pic>
      <p:pic>
        <p:nvPicPr>
          <p:cNvPr id="38" name="Graphic 37" descr="Bar chart">
            <a:extLst>
              <a:ext uri="{FF2B5EF4-FFF2-40B4-BE49-F238E27FC236}">
                <a16:creationId xmlns:a16="http://schemas.microsoft.com/office/drawing/2014/main" id="{4CF2960A-8C64-282C-D688-2E6BC5EB9D74}"/>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243377" y="4766365"/>
            <a:ext cx="426998" cy="426998"/>
          </a:xfrm>
          <a:prstGeom prst="rect">
            <a:avLst/>
          </a:prstGeom>
        </p:spPr>
      </p:pic>
      <p:sp>
        <p:nvSpPr>
          <p:cNvPr id="39" name="Freeform 588">
            <a:extLst>
              <a:ext uri="{FF2B5EF4-FFF2-40B4-BE49-F238E27FC236}">
                <a16:creationId xmlns:a16="http://schemas.microsoft.com/office/drawing/2014/main" id="{41C5D7C2-1903-7683-C711-C56E3AE7E3AF}"/>
              </a:ext>
            </a:extLst>
          </p:cNvPr>
          <p:cNvSpPr>
            <a:spLocks/>
          </p:cNvSpPr>
          <p:nvPr/>
        </p:nvSpPr>
        <p:spPr bwMode="auto">
          <a:xfrm>
            <a:off x="978608" y="3014959"/>
            <a:ext cx="1145378" cy="1143996"/>
          </a:xfrm>
          <a:custGeom>
            <a:avLst/>
            <a:gdLst>
              <a:gd name="T0" fmla="*/ 1573 w 3316"/>
              <a:gd name="T1" fmla="*/ 2 h 3316"/>
              <a:gd name="T2" fmla="*/ 1243 w 3316"/>
              <a:gd name="T3" fmla="*/ 52 h 3316"/>
              <a:gd name="T4" fmla="*/ 939 w 3316"/>
              <a:gd name="T5" fmla="*/ 162 h 3316"/>
              <a:gd name="T6" fmla="*/ 665 w 3316"/>
              <a:gd name="T7" fmla="*/ 328 h 3316"/>
              <a:gd name="T8" fmla="*/ 431 w 3316"/>
              <a:gd name="T9" fmla="*/ 542 h 3316"/>
              <a:gd name="T10" fmla="*/ 240 w 3316"/>
              <a:gd name="T11" fmla="*/ 797 h 3316"/>
              <a:gd name="T12" fmla="*/ 100 w 3316"/>
              <a:gd name="T13" fmla="*/ 1088 h 3316"/>
              <a:gd name="T14" fmla="*/ 19 w 3316"/>
              <a:gd name="T15" fmla="*/ 1405 h 3316"/>
              <a:gd name="T16" fmla="*/ 0 w 3316"/>
              <a:gd name="T17" fmla="*/ 1658 h 3316"/>
              <a:gd name="T18" fmla="*/ 19 w 3316"/>
              <a:gd name="T19" fmla="*/ 1911 h 3316"/>
              <a:gd name="T20" fmla="*/ 100 w 3316"/>
              <a:gd name="T21" fmla="*/ 2228 h 3316"/>
              <a:gd name="T22" fmla="*/ 240 w 3316"/>
              <a:gd name="T23" fmla="*/ 2517 h 3316"/>
              <a:gd name="T24" fmla="*/ 431 w 3316"/>
              <a:gd name="T25" fmla="*/ 2773 h 3316"/>
              <a:gd name="T26" fmla="*/ 665 w 3316"/>
              <a:gd name="T27" fmla="*/ 2987 h 3316"/>
              <a:gd name="T28" fmla="*/ 939 w 3316"/>
              <a:gd name="T29" fmla="*/ 3152 h 3316"/>
              <a:gd name="T30" fmla="*/ 1243 w 3316"/>
              <a:gd name="T31" fmla="*/ 3264 h 3316"/>
              <a:gd name="T32" fmla="*/ 1573 w 3316"/>
              <a:gd name="T33" fmla="*/ 3314 h 3316"/>
              <a:gd name="T34" fmla="*/ 1744 w 3316"/>
              <a:gd name="T35" fmla="*/ 3314 h 3316"/>
              <a:gd name="T36" fmla="*/ 2073 w 3316"/>
              <a:gd name="T37" fmla="*/ 3264 h 3316"/>
              <a:gd name="T38" fmla="*/ 2378 w 3316"/>
              <a:gd name="T39" fmla="*/ 3152 h 3316"/>
              <a:gd name="T40" fmla="*/ 2650 w 3316"/>
              <a:gd name="T41" fmla="*/ 2987 h 3316"/>
              <a:gd name="T42" fmla="*/ 2886 w 3316"/>
              <a:gd name="T43" fmla="*/ 2773 h 3316"/>
              <a:gd name="T44" fmla="*/ 3076 w 3316"/>
              <a:gd name="T45" fmla="*/ 2517 h 3316"/>
              <a:gd name="T46" fmla="*/ 3216 w 3316"/>
              <a:gd name="T47" fmla="*/ 2228 h 3316"/>
              <a:gd name="T48" fmla="*/ 3298 w 3316"/>
              <a:gd name="T49" fmla="*/ 1911 h 3316"/>
              <a:gd name="T50" fmla="*/ 3316 w 3316"/>
              <a:gd name="T51" fmla="*/ 1658 h 3316"/>
              <a:gd name="T52" fmla="*/ 3298 w 3316"/>
              <a:gd name="T53" fmla="*/ 1405 h 3316"/>
              <a:gd name="T54" fmla="*/ 3216 w 3316"/>
              <a:gd name="T55" fmla="*/ 1088 h 3316"/>
              <a:gd name="T56" fmla="*/ 3076 w 3316"/>
              <a:gd name="T57" fmla="*/ 797 h 3316"/>
              <a:gd name="T58" fmla="*/ 2886 w 3316"/>
              <a:gd name="T59" fmla="*/ 542 h 3316"/>
              <a:gd name="T60" fmla="*/ 2650 w 3316"/>
              <a:gd name="T61" fmla="*/ 328 h 3316"/>
              <a:gd name="T62" fmla="*/ 2378 w 3316"/>
              <a:gd name="T63" fmla="*/ 162 h 3316"/>
              <a:gd name="T64" fmla="*/ 2073 w 3316"/>
              <a:gd name="T65" fmla="*/ 52 h 3316"/>
              <a:gd name="T66" fmla="*/ 1744 w 3316"/>
              <a:gd name="T67" fmla="*/ 2 h 3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16" h="3316">
                <a:moveTo>
                  <a:pt x="1658" y="0"/>
                </a:moveTo>
                <a:lnTo>
                  <a:pt x="1573" y="2"/>
                </a:lnTo>
                <a:lnTo>
                  <a:pt x="1405" y="18"/>
                </a:lnTo>
                <a:lnTo>
                  <a:pt x="1243" y="52"/>
                </a:lnTo>
                <a:lnTo>
                  <a:pt x="1088" y="100"/>
                </a:lnTo>
                <a:lnTo>
                  <a:pt x="939" y="162"/>
                </a:lnTo>
                <a:lnTo>
                  <a:pt x="798" y="239"/>
                </a:lnTo>
                <a:lnTo>
                  <a:pt x="665" y="328"/>
                </a:lnTo>
                <a:lnTo>
                  <a:pt x="542" y="431"/>
                </a:lnTo>
                <a:lnTo>
                  <a:pt x="431" y="542"/>
                </a:lnTo>
                <a:lnTo>
                  <a:pt x="328" y="665"/>
                </a:lnTo>
                <a:lnTo>
                  <a:pt x="240" y="797"/>
                </a:lnTo>
                <a:lnTo>
                  <a:pt x="162" y="939"/>
                </a:lnTo>
                <a:lnTo>
                  <a:pt x="100" y="1088"/>
                </a:lnTo>
                <a:lnTo>
                  <a:pt x="52" y="1243"/>
                </a:lnTo>
                <a:lnTo>
                  <a:pt x="19" y="1405"/>
                </a:lnTo>
                <a:lnTo>
                  <a:pt x="2" y="1572"/>
                </a:lnTo>
                <a:lnTo>
                  <a:pt x="0" y="1658"/>
                </a:lnTo>
                <a:lnTo>
                  <a:pt x="2" y="1744"/>
                </a:lnTo>
                <a:lnTo>
                  <a:pt x="19" y="1911"/>
                </a:lnTo>
                <a:lnTo>
                  <a:pt x="52" y="2073"/>
                </a:lnTo>
                <a:lnTo>
                  <a:pt x="100" y="2228"/>
                </a:lnTo>
                <a:lnTo>
                  <a:pt x="162" y="2377"/>
                </a:lnTo>
                <a:lnTo>
                  <a:pt x="240" y="2517"/>
                </a:lnTo>
                <a:lnTo>
                  <a:pt x="328" y="2650"/>
                </a:lnTo>
                <a:lnTo>
                  <a:pt x="431" y="2773"/>
                </a:lnTo>
                <a:lnTo>
                  <a:pt x="542" y="2885"/>
                </a:lnTo>
                <a:lnTo>
                  <a:pt x="665" y="2987"/>
                </a:lnTo>
                <a:lnTo>
                  <a:pt x="798" y="3076"/>
                </a:lnTo>
                <a:lnTo>
                  <a:pt x="939" y="3152"/>
                </a:lnTo>
                <a:lnTo>
                  <a:pt x="1088" y="3216"/>
                </a:lnTo>
                <a:lnTo>
                  <a:pt x="1243" y="3264"/>
                </a:lnTo>
                <a:lnTo>
                  <a:pt x="1405" y="3298"/>
                </a:lnTo>
                <a:lnTo>
                  <a:pt x="1573" y="3314"/>
                </a:lnTo>
                <a:lnTo>
                  <a:pt x="1658" y="3316"/>
                </a:lnTo>
                <a:lnTo>
                  <a:pt x="1744" y="3314"/>
                </a:lnTo>
                <a:lnTo>
                  <a:pt x="1911" y="3298"/>
                </a:lnTo>
                <a:lnTo>
                  <a:pt x="2073" y="3264"/>
                </a:lnTo>
                <a:lnTo>
                  <a:pt x="2228" y="3216"/>
                </a:lnTo>
                <a:lnTo>
                  <a:pt x="2378" y="3152"/>
                </a:lnTo>
                <a:lnTo>
                  <a:pt x="2518" y="3076"/>
                </a:lnTo>
                <a:lnTo>
                  <a:pt x="2650" y="2987"/>
                </a:lnTo>
                <a:lnTo>
                  <a:pt x="2773" y="2885"/>
                </a:lnTo>
                <a:lnTo>
                  <a:pt x="2886" y="2773"/>
                </a:lnTo>
                <a:lnTo>
                  <a:pt x="2987" y="2650"/>
                </a:lnTo>
                <a:lnTo>
                  <a:pt x="3076" y="2517"/>
                </a:lnTo>
                <a:lnTo>
                  <a:pt x="3153" y="2377"/>
                </a:lnTo>
                <a:lnTo>
                  <a:pt x="3216" y="2228"/>
                </a:lnTo>
                <a:lnTo>
                  <a:pt x="3264" y="2073"/>
                </a:lnTo>
                <a:lnTo>
                  <a:pt x="3298" y="1911"/>
                </a:lnTo>
                <a:lnTo>
                  <a:pt x="3315" y="1744"/>
                </a:lnTo>
                <a:lnTo>
                  <a:pt x="3316" y="1658"/>
                </a:lnTo>
                <a:lnTo>
                  <a:pt x="3315" y="1572"/>
                </a:lnTo>
                <a:lnTo>
                  <a:pt x="3298" y="1405"/>
                </a:lnTo>
                <a:lnTo>
                  <a:pt x="3264" y="1243"/>
                </a:lnTo>
                <a:lnTo>
                  <a:pt x="3216" y="1088"/>
                </a:lnTo>
                <a:lnTo>
                  <a:pt x="3153" y="939"/>
                </a:lnTo>
                <a:lnTo>
                  <a:pt x="3076" y="797"/>
                </a:lnTo>
                <a:lnTo>
                  <a:pt x="2987" y="665"/>
                </a:lnTo>
                <a:lnTo>
                  <a:pt x="2886" y="542"/>
                </a:lnTo>
                <a:lnTo>
                  <a:pt x="2773" y="431"/>
                </a:lnTo>
                <a:lnTo>
                  <a:pt x="2650" y="328"/>
                </a:lnTo>
                <a:lnTo>
                  <a:pt x="2518" y="239"/>
                </a:lnTo>
                <a:lnTo>
                  <a:pt x="2378" y="162"/>
                </a:lnTo>
                <a:lnTo>
                  <a:pt x="2228" y="100"/>
                </a:lnTo>
                <a:lnTo>
                  <a:pt x="2073" y="52"/>
                </a:lnTo>
                <a:lnTo>
                  <a:pt x="1911" y="18"/>
                </a:lnTo>
                <a:lnTo>
                  <a:pt x="1744" y="2"/>
                </a:lnTo>
                <a:lnTo>
                  <a:pt x="1658" y="0"/>
                </a:ln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40" name="Freeform 587">
            <a:extLst>
              <a:ext uri="{FF2B5EF4-FFF2-40B4-BE49-F238E27FC236}">
                <a16:creationId xmlns:a16="http://schemas.microsoft.com/office/drawing/2014/main" id="{0926BDDD-CD9C-7FB8-7ACF-BF3ACF3A4CDB}"/>
              </a:ext>
            </a:extLst>
          </p:cNvPr>
          <p:cNvSpPr>
            <a:spLocks/>
          </p:cNvSpPr>
          <p:nvPr/>
        </p:nvSpPr>
        <p:spPr bwMode="auto">
          <a:xfrm>
            <a:off x="1206578" y="3241548"/>
            <a:ext cx="689438" cy="689438"/>
          </a:xfrm>
          <a:custGeom>
            <a:avLst/>
            <a:gdLst>
              <a:gd name="T0" fmla="*/ 946 w 1995"/>
              <a:gd name="T1" fmla="*/ 1993 h 1995"/>
              <a:gd name="T2" fmla="*/ 748 w 1995"/>
              <a:gd name="T3" fmla="*/ 1964 h 1995"/>
              <a:gd name="T4" fmla="*/ 565 w 1995"/>
              <a:gd name="T5" fmla="*/ 1898 h 1995"/>
              <a:gd name="T6" fmla="*/ 401 w 1995"/>
              <a:gd name="T7" fmla="*/ 1798 h 1995"/>
              <a:gd name="T8" fmla="*/ 259 w 1995"/>
              <a:gd name="T9" fmla="*/ 1668 h 1995"/>
              <a:gd name="T10" fmla="*/ 145 w 1995"/>
              <a:gd name="T11" fmla="*/ 1515 h 1995"/>
              <a:gd name="T12" fmla="*/ 61 w 1995"/>
              <a:gd name="T13" fmla="*/ 1340 h 1995"/>
              <a:gd name="T14" fmla="*/ 12 w 1995"/>
              <a:gd name="T15" fmla="*/ 1150 h 1995"/>
              <a:gd name="T16" fmla="*/ 0 w 1995"/>
              <a:gd name="T17" fmla="*/ 998 h 1995"/>
              <a:gd name="T18" fmla="*/ 12 w 1995"/>
              <a:gd name="T19" fmla="*/ 846 h 1995"/>
              <a:gd name="T20" fmla="*/ 61 w 1995"/>
              <a:gd name="T21" fmla="*/ 655 h 1995"/>
              <a:gd name="T22" fmla="*/ 145 w 1995"/>
              <a:gd name="T23" fmla="*/ 481 h 1995"/>
              <a:gd name="T24" fmla="*/ 259 w 1995"/>
              <a:gd name="T25" fmla="*/ 327 h 1995"/>
              <a:gd name="T26" fmla="*/ 401 w 1995"/>
              <a:gd name="T27" fmla="*/ 198 h 1995"/>
              <a:gd name="T28" fmla="*/ 565 w 1995"/>
              <a:gd name="T29" fmla="*/ 98 h 1995"/>
              <a:gd name="T30" fmla="*/ 748 w 1995"/>
              <a:gd name="T31" fmla="*/ 31 h 1995"/>
              <a:gd name="T32" fmla="*/ 946 w 1995"/>
              <a:gd name="T33" fmla="*/ 1 h 1995"/>
              <a:gd name="T34" fmla="*/ 1049 w 1995"/>
              <a:gd name="T35" fmla="*/ 1 h 1995"/>
              <a:gd name="T36" fmla="*/ 1247 w 1995"/>
              <a:gd name="T37" fmla="*/ 31 h 1995"/>
              <a:gd name="T38" fmla="*/ 1431 w 1995"/>
              <a:gd name="T39" fmla="*/ 98 h 1995"/>
              <a:gd name="T40" fmla="*/ 1594 w 1995"/>
              <a:gd name="T41" fmla="*/ 198 h 1995"/>
              <a:gd name="T42" fmla="*/ 1737 w 1995"/>
              <a:gd name="T43" fmla="*/ 327 h 1995"/>
              <a:gd name="T44" fmla="*/ 1851 w 1995"/>
              <a:gd name="T45" fmla="*/ 481 h 1995"/>
              <a:gd name="T46" fmla="*/ 1935 w 1995"/>
              <a:gd name="T47" fmla="*/ 655 h 1995"/>
              <a:gd name="T48" fmla="*/ 1985 w 1995"/>
              <a:gd name="T49" fmla="*/ 846 h 1995"/>
              <a:gd name="T50" fmla="*/ 1995 w 1995"/>
              <a:gd name="T51" fmla="*/ 998 h 1995"/>
              <a:gd name="T52" fmla="*/ 1985 w 1995"/>
              <a:gd name="T53" fmla="*/ 1150 h 1995"/>
              <a:gd name="T54" fmla="*/ 1935 w 1995"/>
              <a:gd name="T55" fmla="*/ 1340 h 1995"/>
              <a:gd name="T56" fmla="*/ 1851 w 1995"/>
              <a:gd name="T57" fmla="*/ 1515 h 1995"/>
              <a:gd name="T58" fmla="*/ 1737 w 1995"/>
              <a:gd name="T59" fmla="*/ 1668 h 1995"/>
              <a:gd name="T60" fmla="*/ 1594 w 1995"/>
              <a:gd name="T61" fmla="*/ 1798 h 1995"/>
              <a:gd name="T62" fmla="*/ 1431 w 1995"/>
              <a:gd name="T63" fmla="*/ 1898 h 1995"/>
              <a:gd name="T64" fmla="*/ 1247 w 1995"/>
              <a:gd name="T65" fmla="*/ 1964 h 1995"/>
              <a:gd name="T66" fmla="*/ 1049 w 1995"/>
              <a:gd name="T67" fmla="*/ 1993 h 1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95" h="1995">
                <a:moveTo>
                  <a:pt x="998" y="1995"/>
                </a:moveTo>
                <a:lnTo>
                  <a:pt x="946" y="1993"/>
                </a:lnTo>
                <a:lnTo>
                  <a:pt x="847" y="1984"/>
                </a:lnTo>
                <a:lnTo>
                  <a:pt x="748" y="1964"/>
                </a:lnTo>
                <a:lnTo>
                  <a:pt x="655" y="1935"/>
                </a:lnTo>
                <a:lnTo>
                  <a:pt x="565" y="1898"/>
                </a:lnTo>
                <a:lnTo>
                  <a:pt x="481" y="1851"/>
                </a:lnTo>
                <a:lnTo>
                  <a:pt x="401" y="1798"/>
                </a:lnTo>
                <a:lnTo>
                  <a:pt x="327" y="1735"/>
                </a:lnTo>
                <a:lnTo>
                  <a:pt x="259" y="1668"/>
                </a:lnTo>
                <a:lnTo>
                  <a:pt x="198" y="1594"/>
                </a:lnTo>
                <a:lnTo>
                  <a:pt x="145" y="1515"/>
                </a:lnTo>
                <a:lnTo>
                  <a:pt x="99" y="1430"/>
                </a:lnTo>
                <a:lnTo>
                  <a:pt x="61" y="1340"/>
                </a:lnTo>
                <a:lnTo>
                  <a:pt x="31" y="1247"/>
                </a:lnTo>
                <a:lnTo>
                  <a:pt x="12" y="1150"/>
                </a:lnTo>
                <a:lnTo>
                  <a:pt x="1" y="1049"/>
                </a:lnTo>
                <a:lnTo>
                  <a:pt x="0" y="998"/>
                </a:lnTo>
                <a:lnTo>
                  <a:pt x="1" y="946"/>
                </a:lnTo>
                <a:lnTo>
                  <a:pt x="12" y="846"/>
                </a:lnTo>
                <a:lnTo>
                  <a:pt x="31" y="748"/>
                </a:lnTo>
                <a:lnTo>
                  <a:pt x="61" y="655"/>
                </a:lnTo>
                <a:lnTo>
                  <a:pt x="99" y="565"/>
                </a:lnTo>
                <a:lnTo>
                  <a:pt x="145" y="481"/>
                </a:lnTo>
                <a:lnTo>
                  <a:pt x="198" y="400"/>
                </a:lnTo>
                <a:lnTo>
                  <a:pt x="259" y="327"/>
                </a:lnTo>
                <a:lnTo>
                  <a:pt x="327" y="259"/>
                </a:lnTo>
                <a:lnTo>
                  <a:pt x="401" y="198"/>
                </a:lnTo>
                <a:lnTo>
                  <a:pt x="481" y="145"/>
                </a:lnTo>
                <a:lnTo>
                  <a:pt x="565" y="98"/>
                </a:lnTo>
                <a:lnTo>
                  <a:pt x="655" y="61"/>
                </a:lnTo>
                <a:lnTo>
                  <a:pt x="748" y="31"/>
                </a:lnTo>
                <a:lnTo>
                  <a:pt x="847" y="12"/>
                </a:lnTo>
                <a:lnTo>
                  <a:pt x="946" y="1"/>
                </a:lnTo>
                <a:lnTo>
                  <a:pt x="998" y="0"/>
                </a:lnTo>
                <a:lnTo>
                  <a:pt x="1049" y="1"/>
                </a:lnTo>
                <a:lnTo>
                  <a:pt x="1150" y="12"/>
                </a:lnTo>
                <a:lnTo>
                  <a:pt x="1247" y="31"/>
                </a:lnTo>
                <a:lnTo>
                  <a:pt x="1340" y="61"/>
                </a:lnTo>
                <a:lnTo>
                  <a:pt x="1431" y="98"/>
                </a:lnTo>
                <a:lnTo>
                  <a:pt x="1515" y="145"/>
                </a:lnTo>
                <a:lnTo>
                  <a:pt x="1594" y="198"/>
                </a:lnTo>
                <a:lnTo>
                  <a:pt x="1668" y="259"/>
                </a:lnTo>
                <a:lnTo>
                  <a:pt x="1737" y="327"/>
                </a:lnTo>
                <a:lnTo>
                  <a:pt x="1798" y="400"/>
                </a:lnTo>
                <a:lnTo>
                  <a:pt x="1851" y="481"/>
                </a:lnTo>
                <a:lnTo>
                  <a:pt x="1898" y="565"/>
                </a:lnTo>
                <a:lnTo>
                  <a:pt x="1935" y="655"/>
                </a:lnTo>
                <a:lnTo>
                  <a:pt x="1964" y="748"/>
                </a:lnTo>
                <a:lnTo>
                  <a:pt x="1985" y="846"/>
                </a:lnTo>
                <a:lnTo>
                  <a:pt x="1995" y="946"/>
                </a:lnTo>
                <a:lnTo>
                  <a:pt x="1995" y="998"/>
                </a:lnTo>
                <a:lnTo>
                  <a:pt x="1995" y="1049"/>
                </a:lnTo>
                <a:lnTo>
                  <a:pt x="1985" y="1150"/>
                </a:lnTo>
                <a:lnTo>
                  <a:pt x="1964" y="1247"/>
                </a:lnTo>
                <a:lnTo>
                  <a:pt x="1935" y="1340"/>
                </a:lnTo>
                <a:lnTo>
                  <a:pt x="1898" y="1430"/>
                </a:lnTo>
                <a:lnTo>
                  <a:pt x="1851" y="1515"/>
                </a:lnTo>
                <a:lnTo>
                  <a:pt x="1798" y="1594"/>
                </a:lnTo>
                <a:lnTo>
                  <a:pt x="1737" y="1668"/>
                </a:lnTo>
                <a:lnTo>
                  <a:pt x="1668" y="1735"/>
                </a:lnTo>
                <a:lnTo>
                  <a:pt x="1594" y="1798"/>
                </a:lnTo>
                <a:lnTo>
                  <a:pt x="1515" y="1851"/>
                </a:lnTo>
                <a:lnTo>
                  <a:pt x="1431" y="1898"/>
                </a:lnTo>
                <a:lnTo>
                  <a:pt x="1340" y="1935"/>
                </a:lnTo>
                <a:lnTo>
                  <a:pt x="1247" y="1964"/>
                </a:lnTo>
                <a:lnTo>
                  <a:pt x="1150" y="1984"/>
                </a:lnTo>
                <a:lnTo>
                  <a:pt x="1049" y="1993"/>
                </a:lnTo>
                <a:lnTo>
                  <a:pt x="998" y="199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589">
            <a:extLst>
              <a:ext uri="{FF2B5EF4-FFF2-40B4-BE49-F238E27FC236}">
                <a16:creationId xmlns:a16="http://schemas.microsoft.com/office/drawing/2014/main" id="{5EBCB48A-E343-9110-B027-4FA35A3B1CB5}"/>
              </a:ext>
            </a:extLst>
          </p:cNvPr>
          <p:cNvSpPr>
            <a:spLocks/>
          </p:cNvSpPr>
          <p:nvPr/>
        </p:nvSpPr>
        <p:spPr bwMode="auto">
          <a:xfrm>
            <a:off x="1850421" y="3591103"/>
            <a:ext cx="160270" cy="392385"/>
          </a:xfrm>
          <a:custGeom>
            <a:avLst/>
            <a:gdLst>
              <a:gd name="T0" fmla="*/ 462 w 462"/>
              <a:gd name="T1" fmla="*/ 981 h 1135"/>
              <a:gd name="T2" fmla="*/ 460 w 462"/>
              <a:gd name="T3" fmla="*/ 985 h 1135"/>
              <a:gd name="T4" fmla="*/ 457 w 462"/>
              <a:gd name="T5" fmla="*/ 989 h 1135"/>
              <a:gd name="T6" fmla="*/ 443 w 462"/>
              <a:gd name="T7" fmla="*/ 1007 h 1135"/>
              <a:gd name="T8" fmla="*/ 427 w 462"/>
              <a:gd name="T9" fmla="*/ 1025 h 1135"/>
              <a:gd name="T10" fmla="*/ 418 w 462"/>
              <a:gd name="T11" fmla="*/ 1037 h 1135"/>
              <a:gd name="T12" fmla="*/ 409 w 462"/>
              <a:gd name="T13" fmla="*/ 1048 h 1135"/>
              <a:gd name="T14" fmla="*/ 408 w 462"/>
              <a:gd name="T15" fmla="*/ 1050 h 1135"/>
              <a:gd name="T16" fmla="*/ 408 w 462"/>
              <a:gd name="T17" fmla="*/ 1050 h 1135"/>
              <a:gd name="T18" fmla="*/ 396 w 462"/>
              <a:gd name="T19" fmla="*/ 1064 h 1135"/>
              <a:gd name="T20" fmla="*/ 383 w 462"/>
              <a:gd name="T21" fmla="*/ 1078 h 1135"/>
              <a:gd name="T22" fmla="*/ 369 w 462"/>
              <a:gd name="T23" fmla="*/ 1095 h 1135"/>
              <a:gd name="T24" fmla="*/ 355 w 462"/>
              <a:gd name="T25" fmla="*/ 1110 h 1135"/>
              <a:gd name="T26" fmla="*/ 343 w 462"/>
              <a:gd name="T27" fmla="*/ 1123 h 1135"/>
              <a:gd name="T28" fmla="*/ 332 w 462"/>
              <a:gd name="T29" fmla="*/ 1135 h 1135"/>
              <a:gd name="T30" fmla="*/ 276 w 462"/>
              <a:gd name="T31" fmla="*/ 1062 h 1135"/>
              <a:gd name="T32" fmla="*/ 177 w 462"/>
              <a:gd name="T33" fmla="*/ 908 h 1135"/>
              <a:gd name="T34" fmla="*/ 94 w 462"/>
              <a:gd name="T35" fmla="*/ 745 h 1135"/>
              <a:gd name="T36" fmla="*/ 27 w 462"/>
              <a:gd name="T37" fmla="*/ 573 h 1135"/>
              <a:gd name="T38" fmla="*/ 0 w 462"/>
              <a:gd name="T39" fmla="*/ 483 h 1135"/>
              <a:gd name="T40" fmla="*/ 36 w 462"/>
              <a:gd name="T41" fmla="*/ 417 h 1135"/>
              <a:gd name="T42" fmla="*/ 65 w 462"/>
              <a:gd name="T43" fmla="*/ 348 h 1135"/>
              <a:gd name="T44" fmla="*/ 68 w 462"/>
              <a:gd name="T45" fmla="*/ 341 h 1135"/>
              <a:gd name="T46" fmla="*/ 71 w 462"/>
              <a:gd name="T47" fmla="*/ 333 h 1135"/>
              <a:gd name="T48" fmla="*/ 81 w 462"/>
              <a:gd name="T49" fmla="*/ 303 h 1135"/>
              <a:gd name="T50" fmla="*/ 90 w 462"/>
              <a:gd name="T51" fmla="*/ 273 h 1135"/>
              <a:gd name="T52" fmla="*/ 94 w 462"/>
              <a:gd name="T53" fmla="*/ 263 h 1135"/>
              <a:gd name="T54" fmla="*/ 97 w 462"/>
              <a:gd name="T55" fmla="*/ 252 h 1135"/>
              <a:gd name="T56" fmla="*/ 100 w 462"/>
              <a:gd name="T57" fmla="*/ 242 h 1135"/>
              <a:gd name="T58" fmla="*/ 102 w 462"/>
              <a:gd name="T59" fmla="*/ 232 h 1135"/>
              <a:gd name="T60" fmla="*/ 105 w 462"/>
              <a:gd name="T61" fmla="*/ 223 h 1135"/>
              <a:gd name="T62" fmla="*/ 106 w 462"/>
              <a:gd name="T63" fmla="*/ 214 h 1135"/>
              <a:gd name="T64" fmla="*/ 110 w 462"/>
              <a:gd name="T65" fmla="*/ 201 h 1135"/>
              <a:gd name="T66" fmla="*/ 112 w 462"/>
              <a:gd name="T67" fmla="*/ 189 h 1135"/>
              <a:gd name="T68" fmla="*/ 112 w 462"/>
              <a:gd name="T69" fmla="*/ 182 h 1135"/>
              <a:gd name="T70" fmla="*/ 114 w 462"/>
              <a:gd name="T71" fmla="*/ 177 h 1135"/>
              <a:gd name="T72" fmla="*/ 116 w 462"/>
              <a:gd name="T73" fmla="*/ 166 h 1135"/>
              <a:gd name="T74" fmla="*/ 119 w 462"/>
              <a:gd name="T75" fmla="*/ 153 h 1135"/>
              <a:gd name="T76" fmla="*/ 125 w 462"/>
              <a:gd name="T77" fmla="*/ 109 h 1135"/>
              <a:gd name="T78" fmla="*/ 129 w 462"/>
              <a:gd name="T79" fmla="*/ 64 h 1135"/>
              <a:gd name="T80" fmla="*/ 131 w 462"/>
              <a:gd name="T81" fmla="*/ 53 h 1135"/>
              <a:gd name="T82" fmla="*/ 131 w 462"/>
              <a:gd name="T83" fmla="*/ 41 h 1135"/>
              <a:gd name="T84" fmla="*/ 131 w 462"/>
              <a:gd name="T85" fmla="*/ 39 h 1135"/>
              <a:gd name="T86" fmla="*/ 131 w 462"/>
              <a:gd name="T87" fmla="*/ 35 h 1135"/>
              <a:gd name="T88" fmla="*/ 132 w 462"/>
              <a:gd name="T89" fmla="*/ 26 h 1135"/>
              <a:gd name="T90" fmla="*/ 132 w 462"/>
              <a:gd name="T91" fmla="*/ 17 h 1135"/>
              <a:gd name="T92" fmla="*/ 132 w 462"/>
              <a:gd name="T93" fmla="*/ 7 h 1135"/>
              <a:gd name="T94" fmla="*/ 132 w 462"/>
              <a:gd name="T95" fmla="*/ 0 h 1135"/>
              <a:gd name="T96" fmla="*/ 133 w 462"/>
              <a:gd name="T97" fmla="*/ 68 h 1135"/>
              <a:gd name="T98" fmla="*/ 145 w 462"/>
              <a:gd name="T99" fmla="*/ 204 h 1135"/>
              <a:gd name="T100" fmla="*/ 168 w 462"/>
              <a:gd name="T101" fmla="*/ 335 h 1135"/>
              <a:gd name="T102" fmla="*/ 201 w 462"/>
              <a:gd name="T103" fmla="*/ 464 h 1135"/>
              <a:gd name="T104" fmla="*/ 243 w 462"/>
              <a:gd name="T105" fmla="*/ 587 h 1135"/>
              <a:gd name="T106" fmla="*/ 295 w 462"/>
              <a:gd name="T107" fmla="*/ 706 h 1135"/>
              <a:gd name="T108" fmla="*/ 355 w 462"/>
              <a:gd name="T109" fmla="*/ 820 h 1135"/>
              <a:gd name="T110" fmla="*/ 425 w 462"/>
              <a:gd name="T111" fmla="*/ 929 h 1135"/>
              <a:gd name="T112" fmla="*/ 462 w 462"/>
              <a:gd name="T113" fmla="*/ 981 h 1135"/>
              <a:gd name="T114" fmla="*/ 462 w 462"/>
              <a:gd name="T115" fmla="*/ 981 h 1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62" h="1135">
                <a:moveTo>
                  <a:pt x="462" y="981"/>
                </a:moveTo>
                <a:lnTo>
                  <a:pt x="460" y="985"/>
                </a:lnTo>
                <a:lnTo>
                  <a:pt x="457" y="989"/>
                </a:lnTo>
                <a:lnTo>
                  <a:pt x="443" y="1007"/>
                </a:lnTo>
                <a:lnTo>
                  <a:pt x="427" y="1025"/>
                </a:lnTo>
                <a:lnTo>
                  <a:pt x="418" y="1037"/>
                </a:lnTo>
                <a:lnTo>
                  <a:pt x="409" y="1048"/>
                </a:lnTo>
                <a:lnTo>
                  <a:pt x="408" y="1050"/>
                </a:lnTo>
                <a:lnTo>
                  <a:pt x="408" y="1050"/>
                </a:lnTo>
                <a:lnTo>
                  <a:pt x="396" y="1064"/>
                </a:lnTo>
                <a:lnTo>
                  <a:pt x="383" y="1078"/>
                </a:lnTo>
                <a:lnTo>
                  <a:pt x="369" y="1095"/>
                </a:lnTo>
                <a:lnTo>
                  <a:pt x="355" y="1110"/>
                </a:lnTo>
                <a:lnTo>
                  <a:pt x="343" y="1123"/>
                </a:lnTo>
                <a:lnTo>
                  <a:pt x="332" y="1135"/>
                </a:lnTo>
                <a:lnTo>
                  <a:pt x="276" y="1062"/>
                </a:lnTo>
                <a:lnTo>
                  <a:pt x="177" y="908"/>
                </a:lnTo>
                <a:lnTo>
                  <a:pt x="94" y="745"/>
                </a:lnTo>
                <a:lnTo>
                  <a:pt x="27" y="573"/>
                </a:lnTo>
                <a:lnTo>
                  <a:pt x="0" y="483"/>
                </a:lnTo>
                <a:lnTo>
                  <a:pt x="36" y="417"/>
                </a:lnTo>
                <a:lnTo>
                  <a:pt x="65" y="348"/>
                </a:lnTo>
                <a:lnTo>
                  <a:pt x="68" y="341"/>
                </a:lnTo>
                <a:lnTo>
                  <a:pt x="71" y="333"/>
                </a:lnTo>
                <a:lnTo>
                  <a:pt x="81" y="303"/>
                </a:lnTo>
                <a:lnTo>
                  <a:pt x="90" y="273"/>
                </a:lnTo>
                <a:lnTo>
                  <a:pt x="94" y="263"/>
                </a:lnTo>
                <a:lnTo>
                  <a:pt x="97" y="252"/>
                </a:lnTo>
                <a:lnTo>
                  <a:pt x="100" y="242"/>
                </a:lnTo>
                <a:lnTo>
                  <a:pt x="102" y="232"/>
                </a:lnTo>
                <a:lnTo>
                  <a:pt x="105" y="223"/>
                </a:lnTo>
                <a:lnTo>
                  <a:pt x="106" y="214"/>
                </a:lnTo>
                <a:lnTo>
                  <a:pt x="110" y="201"/>
                </a:lnTo>
                <a:lnTo>
                  <a:pt x="112" y="189"/>
                </a:lnTo>
                <a:lnTo>
                  <a:pt x="112" y="182"/>
                </a:lnTo>
                <a:lnTo>
                  <a:pt x="114" y="177"/>
                </a:lnTo>
                <a:lnTo>
                  <a:pt x="116" y="166"/>
                </a:lnTo>
                <a:lnTo>
                  <a:pt x="119" y="153"/>
                </a:lnTo>
                <a:lnTo>
                  <a:pt x="125" y="109"/>
                </a:lnTo>
                <a:lnTo>
                  <a:pt x="129" y="64"/>
                </a:lnTo>
                <a:lnTo>
                  <a:pt x="131" y="53"/>
                </a:lnTo>
                <a:lnTo>
                  <a:pt x="131" y="41"/>
                </a:lnTo>
                <a:lnTo>
                  <a:pt x="131" y="39"/>
                </a:lnTo>
                <a:lnTo>
                  <a:pt x="131" y="35"/>
                </a:lnTo>
                <a:lnTo>
                  <a:pt x="132" y="26"/>
                </a:lnTo>
                <a:lnTo>
                  <a:pt x="132" y="17"/>
                </a:lnTo>
                <a:lnTo>
                  <a:pt x="132" y="7"/>
                </a:lnTo>
                <a:lnTo>
                  <a:pt x="132" y="0"/>
                </a:lnTo>
                <a:lnTo>
                  <a:pt x="133" y="68"/>
                </a:lnTo>
                <a:lnTo>
                  <a:pt x="145" y="204"/>
                </a:lnTo>
                <a:lnTo>
                  <a:pt x="168" y="335"/>
                </a:lnTo>
                <a:lnTo>
                  <a:pt x="201" y="464"/>
                </a:lnTo>
                <a:lnTo>
                  <a:pt x="243" y="587"/>
                </a:lnTo>
                <a:lnTo>
                  <a:pt x="295" y="706"/>
                </a:lnTo>
                <a:lnTo>
                  <a:pt x="355" y="820"/>
                </a:lnTo>
                <a:lnTo>
                  <a:pt x="425" y="929"/>
                </a:lnTo>
                <a:lnTo>
                  <a:pt x="462" y="981"/>
                </a:lnTo>
                <a:lnTo>
                  <a:pt x="462" y="981"/>
                </a:lnTo>
                <a:close/>
              </a:path>
            </a:pathLst>
          </a:cu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2" name="Freeform 590">
            <a:extLst>
              <a:ext uri="{FF2B5EF4-FFF2-40B4-BE49-F238E27FC236}">
                <a16:creationId xmlns:a16="http://schemas.microsoft.com/office/drawing/2014/main" id="{B54CCC29-DECE-2456-36C9-C04707A9C30A}"/>
              </a:ext>
            </a:extLst>
          </p:cNvPr>
          <p:cNvSpPr>
            <a:spLocks/>
          </p:cNvSpPr>
          <p:nvPr/>
        </p:nvSpPr>
        <p:spPr bwMode="auto">
          <a:xfrm>
            <a:off x="1850421" y="3591103"/>
            <a:ext cx="160270" cy="392385"/>
          </a:xfrm>
          <a:custGeom>
            <a:avLst/>
            <a:gdLst>
              <a:gd name="T0" fmla="*/ 132 w 462"/>
              <a:gd name="T1" fmla="*/ 0 h 1135"/>
              <a:gd name="T2" fmla="*/ 132 w 462"/>
              <a:gd name="T3" fmla="*/ 7 h 1135"/>
              <a:gd name="T4" fmla="*/ 132 w 462"/>
              <a:gd name="T5" fmla="*/ 17 h 1135"/>
              <a:gd name="T6" fmla="*/ 132 w 462"/>
              <a:gd name="T7" fmla="*/ 26 h 1135"/>
              <a:gd name="T8" fmla="*/ 131 w 462"/>
              <a:gd name="T9" fmla="*/ 35 h 1135"/>
              <a:gd name="T10" fmla="*/ 131 w 462"/>
              <a:gd name="T11" fmla="*/ 39 h 1135"/>
              <a:gd name="T12" fmla="*/ 131 w 462"/>
              <a:gd name="T13" fmla="*/ 41 h 1135"/>
              <a:gd name="T14" fmla="*/ 131 w 462"/>
              <a:gd name="T15" fmla="*/ 53 h 1135"/>
              <a:gd name="T16" fmla="*/ 129 w 462"/>
              <a:gd name="T17" fmla="*/ 64 h 1135"/>
              <a:gd name="T18" fmla="*/ 125 w 462"/>
              <a:gd name="T19" fmla="*/ 109 h 1135"/>
              <a:gd name="T20" fmla="*/ 119 w 462"/>
              <a:gd name="T21" fmla="*/ 153 h 1135"/>
              <a:gd name="T22" fmla="*/ 116 w 462"/>
              <a:gd name="T23" fmla="*/ 166 h 1135"/>
              <a:gd name="T24" fmla="*/ 114 w 462"/>
              <a:gd name="T25" fmla="*/ 177 h 1135"/>
              <a:gd name="T26" fmla="*/ 112 w 462"/>
              <a:gd name="T27" fmla="*/ 182 h 1135"/>
              <a:gd name="T28" fmla="*/ 112 w 462"/>
              <a:gd name="T29" fmla="*/ 189 h 1135"/>
              <a:gd name="T30" fmla="*/ 110 w 462"/>
              <a:gd name="T31" fmla="*/ 201 h 1135"/>
              <a:gd name="T32" fmla="*/ 106 w 462"/>
              <a:gd name="T33" fmla="*/ 214 h 1135"/>
              <a:gd name="T34" fmla="*/ 105 w 462"/>
              <a:gd name="T35" fmla="*/ 223 h 1135"/>
              <a:gd name="T36" fmla="*/ 102 w 462"/>
              <a:gd name="T37" fmla="*/ 232 h 1135"/>
              <a:gd name="T38" fmla="*/ 100 w 462"/>
              <a:gd name="T39" fmla="*/ 242 h 1135"/>
              <a:gd name="T40" fmla="*/ 97 w 462"/>
              <a:gd name="T41" fmla="*/ 252 h 1135"/>
              <a:gd name="T42" fmla="*/ 94 w 462"/>
              <a:gd name="T43" fmla="*/ 263 h 1135"/>
              <a:gd name="T44" fmla="*/ 90 w 462"/>
              <a:gd name="T45" fmla="*/ 273 h 1135"/>
              <a:gd name="T46" fmla="*/ 81 w 462"/>
              <a:gd name="T47" fmla="*/ 303 h 1135"/>
              <a:gd name="T48" fmla="*/ 71 w 462"/>
              <a:gd name="T49" fmla="*/ 333 h 1135"/>
              <a:gd name="T50" fmla="*/ 65 w 462"/>
              <a:gd name="T51" fmla="*/ 348 h 1135"/>
              <a:gd name="T52" fmla="*/ 36 w 462"/>
              <a:gd name="T53" fmla="*/ 417 h 1135"/>
              <a:gd name="T54" fmla="*/ 0 w 462"/>
              <a:gd name="T55" fmla="*/ 483 h 1135"/>
              <a:gd name="T56" fmla="*/ 27 w 462"/>
              <a:gd name="T57" fmla="*/ 573 h 1135"/>
              <a:gd name="T58" fmla="*/ 94 w 462"/>
              <a:gd name="T59" fmla="*/ 745 h 1135"/>
              <a:gd name="T60" fmla="*/ 177 w 462"/>
              <a:gd name="T61" fmla="*/ 908 h 1135"/>
              <a:gd name="T62" fmla="*/ 276 w 462"/>
              <a:gd name="T63" fmla="*/ 1062 h 1135"/>
              <a:gd name="T64" fmla="*/ 332 w 462"/>
              <a:gd name="T65" fmla="*/ 1135 h 1135"/>
              <a:gd name="T66" fmla="*/ 343 w 462"/>
              <a:gd name="T67" fmla="*/ 1123 h 1135"/>
              <a:gd name="T68" fmla="*/ 355 w 462"/>
              <a:gd name="T69" fmla="*/ 1110 h 1135"/>
              <a:gd name="T70" fmla="*/ 369 w 462"/>
              <a:gd name="T71" fmla="*/ 1095 h 1135"/>
              <a:gd name="T72" fmla="*/ 383 w 462"/>
              <a:gd name="T73" fmla="*/ 1078 h 1135"/>
              <a:gd name="T74" fmla="*/ 396 w 462"/>
              <a:gd name="T75" fmla="*/ 1064 h 1135"/>
              <a:gd name="T76" fmla="*/ 408 w 462"/>
              <a:gd name="T77" fmla="*/ 1050 h 1135"/>
              <a:gd name="T78" fmla="*/ 408 w 462"/>
              <a:gd name="T79" fmla="*/ 1050 h 1135"/>
              <a:gd name="T80" fmla="*/ 409 w 462"/>
              <a:gd name="T81" fmla="*/ 1048 h 1135"/>
              <a:gd name="T82" fmla="*/ 418 w 462"/>
              <a:gd name="T83" fmla="*/ 1037 h 1135"/>
              <a:gd name="T84" fmla="*/ 427 w 462"/>
              <a:gd name="T85" fmla="*/ 1025 h 1135"/>
              <a:gd name="T86" fmla="*/ 443 w 462"/>
              <a:gd name="T87" fmla="*/ 1007 h 1135"/>
              <a:gd name="T88" fmla="*/ 457 w 462"/>
              <a:gd name="T89" fmla="*/ 989 h 1135"/>
              <a:gd name="T90" fmla="*/ 460 w 462"/>
              <a:gd name="T91" fmla="*/ 985 h 1135"/>
              <a:gd name="T92" fmla="*/ 462 w 462"/>
              <a:gd name="T93" fmla="*/ 981 h 1135"/>
              <a:gd name="T94" fmla="*/ 425 w 462"/>
              <a:gd name="T95" fmla="*/ 929 h 1135"/>
              <a:gd name="T96" fmla="*/ 355 w 462"/>
              <a:gd name="T97" fmla="*/ 820 h 1135"/>
              <a:gd name="T98" fmla="*/ 295 w 462"/>
              <a:gd name="T99" fmla="*/ 706 h 1135"/>
              <a:gd name="T100" fmla="*/ 243 w 462"/>
              <a:gd name="T101" fmla="*/ 587 h 1135"/>
              <a:gd name="T102" fmla="*/ 201 w 462"/>
              <a:gd name="T103" fmla="*/ 464 h 1135"/>
              <a:gd name="T104" fmla="*/ 168 w 462"/>
              <a:gd name="T105" fmla="*/ 335 h 1135"/>
              <a:gd name="T106" fmla="*/ 145 w 462"/>
              <a:gd name="T107" fmla="*/ 204 h 1135"/>
              <a:gd name="T108" fmla="*/ 133 w 462"/>
              <a:gd name="T109" fmla="*/ 68 h 1135"/>
              <a:gd name="T110" fmla="*/ 132 w 462"/>
              <a:gd name="T111" fmla="*/ 0 h 1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62" h="1135">
                <a:moveTo>
                  <a:pt x="132" y="0"/>
                </a:moveTo>
                <a:lnTo>
                  <a:pt x="132" y="7"/>
                </a:lnTo>
                <a:lnTo>
                  <a:pt x="132" y="17"/>
                </a:lnTo>
                <a:lnTo>
                  <a:pt x="132" y="26"/>
                </a:lnTo>
                <a:lnTo>
                  <a:pt x="131" y="35"/>
                </a:lnTo>
                <a:lnTo>
                  <a:pt x="131" y="39"/>
                </a:lnTo>
                <a:lnTo>
                  <a:pt x="131" y="41"/>
                </a:lnTo>
                <a:lnTo>
                  <a:pt x="131" y="53"/>
                </a:lnTo>
                <a:lnTo>
                  <a:pt x="129" y="64"/>
                </a:lnTo>
                <a:lnTo>
                  <a:pt x="125" y="109"/>
                </a:lnTo>
                <a:lnTo>
                  <a:pt x="119" y="153"/>
                </a:lnTo>
                <a:lnTo>
                  <a:pt x="116" y="166"/>
                </a:lnTo>
                <a:lnTo>
                  <a:pt x="114" y="177"/>
                </a:lnTo>
                <a:lnTo>
                  <a:pt x="112" y="182"/>
                </a:lnTo>
                <a:lnTo>
                  <a:pt x="112" y="189"/>
                </a:lnTo>
                <a:lnTo>
                  <a:pt x="110" y="201"/>
                </a:lnTo>
                <a:lnTo>
                  <a:pt x="106" y="214"/>
                </a:lnTo>
                <a:lnTo>
                  <a:pt x="105" y="223"/>
                </a:lnTo>
                <a:lnTo>
                  <a:pt x="102" y="232"/>
                </a:lnTo>
                <a:lnTo>
                  <a:pt x="100" y="242"/>
                </a:lnTo>
                <a:lnTo>
                  <a:pt x="97" y="252"/>
                </a:lnTo>
                <a:lnTo>
                  <a:pt x="94" y="263"/>
                </a:lnTo>
                <a:lnTo>
                  <a:pt x="90" y="273"/>
                </a:lnTo>
                <a:lnTo>
                  <a:pt x="81" y="303"/>
                </a:lnTo>
                <a:lnTo>
                  <a:pt x="71" y="333"/>
                </a:lnTo>
                <a:lnTo>
                  <a:pt x="65" y="348"/>
                </a:lnTo>
                <a:lnTo>
                  <a:pt x="36" y="417"/>
                </a:lnTo>
                <a:lnTo>
                  <a:pt x="0" y="483"/>
                </a:lnTo>
                <a:lnTo>
                  <a:pt x="27" y="573"/>
                </a:lnTo>
                <a:lnTo>
                  <a:pt x="94" y="745"/>
                </a:lnTo>
                <a:lnTo>
                  <a:pt x="177" y="908"/>
                </a:lnTo>
                <a:lnTo>
                  <a:pt x="276" y="1062"/>
                </a:lnTo>
                <a:lnTo>
                  <a:pt x="332" y="1135"/>
                </a:lnTo>
                <a:lnTo>
                  <a:pt x="343" y="1123"/>
                </a:lnTo>
                <a:lnTo>
                  <a:pt x="355" y="1110"/>
                </a:lnTo>
                <a:lnTo>
                  <a:pt x="369" y="1095"/>
                </a:lnTo>
                <a:lnTo>
                  <a:pt x="383" y="1078"/>
                </a:lnTo>
                <a:lnTo>
                  <a:pt x="396" y="1064"/>
                </a:lnTo>
                <a:lnTo>
                  <a:pt x="408" y="1050"/>
                </a:lnTo>
                <a:lnTo>
                  <a:pt x="408" y="1050"/>
                </a:lnTo>
                <a:lnTo>
                  <a:pt x="409" y="1048"/>
                </a:lnTo>
                <a:lnTo>
                  <a:pt x="418" y="1037"/>
                </a:lnTo>
                <a:lnTo>
                  <a:pt x="427" y="1025"/>
                </a:lnTo>
                <a:lnTo>
                  <a:pt x="443" y="1007"/>
                </a:lnTo>
                <a:lnTo>
                  <a:pt x="457" y="989"/>
                </a:lnTo>
                <a:lnTo>
                  <a:pt x="460" y="985"/>
                </a:lnTo>
                <a:lnTo>
                  <a:pt x="462" y="981"/>
                </a:lnTo>
                <a:lnTo>
                  <a:pt x="425" y="929"/>
                </a:lnTo>
                <a:lnTo>
                  <a:pt x="355" y="820"/>
                </a:lnTo>
                <a:lnTo>
                  <a:pt x="295" y="706"/>
                </a:lnTo>
                <a:lnTo>
                  <a:pt x="243" y="587"/>
                </a:lnTo>
                <a:lnTo>
                  <a:pt x="201" y="464"/>
                </a:lnTo>
                <a:lnTo>
                  <a:pt x="168" y="335"/>
                </a:lnTo>
                <a:lnTo>
                  <a:pt x="145" y="204"/>
                </a:lnTo>
                <a:lnTo>
                  <a:pt x="133" y="68"/>
                </a:lnTo>
                <a:lnTo>
                  <a:pt x="132" y="0"/>
                </a:lnTo>
                <a:close/>
              </a:path>
            </a:pathLst>
          </a:cu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3" name="Freeform: Shape 108">
            <a:extLst>
              <a:ext uri="{FF2B5EF4-FFF2-40B4-BE49-F238E27FC236}">
                <a16:creationId xmlns:a16="http://schemas.microsoft.com/office/drawing/2014/main" id="{04729776-A630-10E1-21AC-7B8102913C9A}"/>
              </a:ext>
            </a:extLst>
          </p:cNvPr>
          <p:cNvSpPr>
            <a:spLocks/>
          </p:cNvSpPr>
          <p:nvPr/>
        </p:nvSpPr>
        <p:spPr bwMode="auto">
          <a:xfrm>
            <a:off x="1896016" y="3586957"/>
            <a:ext cx="3941813" cy="571998"/>
          </a:xfrm>
          <a:custGeom>
            <a:avLst/>
            <a:gdLst>
              <a:gd name="connsiteX0" fmla="*/ 0 w 3941813"/>
              <a:gd name="connsiteY0" fmla="*/ 0 h 571998"/>
              <a:gd name="connsiteX1" fmla="*/ 228336 w 3941813"/>
              <a:gd name="connsiteY1" fmla="*/ 0 h 571998"/>
              <a:gd name="connsiteX2" fmla="*/ 228336 w 3941813"/>
              <a:gd name="connsiteY2" fmla="*/ 1035 h 571998"/>
              <a:gd name="connsiteX3" fmla="*/ 228336 w 3941813"/>
              <a:gd name="connsiteY3" fmla="*/ 2070 h 571998"/>
              <a:gd name="connsiteX4" fmla="*/ 228336 w 3941813"/>
              <a:gd name="connsiteY4" fmla="*/ 3450 h 571998"/>
              <a:gd name="connsiteX5" fmla="*/ 228336 w 3941813"/>
              <a:gd name="connsiteY5" fmla="*/ 4485 h 571998"/>
              <a:gd name="connsiteX6" fmla="*/ 228336 w 3941813"/>
              <a:gd name="connsiteY6" fmla="*/ 6555 h 571998"/>
              <a:gd name="connsiteX7" fmla="*/ 228336 w 3941813"/>
              <a:gd name="connsiteY7" fmla="*/ 8625 h 571998"/>
              <a:gd name="connsiteX8" fmla="*/ 228336 w 3941813"/>
              <a:gd name="connsiteY8" fmla="*/ 13110 h 571998"/>
              <a:gd name="connsiteX9" fmla="*/ 228681 w 3941813"/>
              <a:gd name="connsiteY9" fmla="*/ 17595 h 571998"/>
              <a:gd name="connsiteX10" fmla="*/ 228681 w 3941813"/>
              <a:gd name="connsiteY10" fmla="*/ 21045 h 571998"/>
              <a:gd name="connsiteX11" fmla="*/ 229372 w 3941813"/>
              <a:gd name="connsiteY11" fmla="*/ 24495 h 571998"/>
              <a:gd name="connsiteX12" fmla="*/ 229561 w 3941813"/>
              <a:gd name="connsiteY12" fmla="*/ 29949 h 571998"/>
              <a:gd name="connsiteX13" fmla="*/ 230860 w 3941813"/>
              <a:gd name="connsiteY13" fmla="*/ 43059 h 571998"/>
              <a:gd name="connsiteX14" fmla="*/ 231099 w 3941813"/>
              <a:gd name="connsiteY14" fmla="*/ 44849 h 571998"/>
              <a:gd name="connsiteX15" fmla="*/ 231445 w 3941813"/>
              <a:gd name="connsiteY15" fmla="*/ 47954 h 571998"/>
              <a:gd name="connsiteX16" fmla="*/ 231790 w 3941813"/>
              <a:gd name="connsiteY16" fmla="*/ 51059 h 571998"/>
              <a:gd name="connsiteX17" fmla="*/ 232439 w 3941813"/>
              <a:gd name="connsiteY17" fmla="*/ 55431 h 571998"/>
              <a:gd name="connsiteX18" fmla="*/ 237460 w 3941813"/>
              <a:gd name="connsiteY18" fmla="*/ 78594 h 571998"/>
              <a:gd name="connsiteX19" fmla="*/ 239935 w 3941813"/>
              <a:gd name="connsiteY19" fmla="*/ 88754 h 571998"/>
              <a:gd name="connsiteX20" fmla="*/ 249062 w 3941813"/>
              <a:gd name="connsiteY20" fmla="*/ 117988 h 571998"/>
              <a:gd name="connsiteX21" fmla="*/ 258766 w 3941813"/>
              <a:gd name="connsiteY21" fmla="*/ 141560 h 571998"/>
              <a:gd name="connsiteX22" fmla="*/ 260462 w 3941813"/>
              <a:gd name="connsiteY22" fmla="*/ 145242 h 571998"/>
              <a:gd name="connsiteX23" fmla="*/ 261844 w 3941813"/>
              <a:gd name="connsiteY23" fmla="*/ 148347 h 571998"/>
              <a:gd name="connsiteX24" fmla="*/ 263571 w 3941813"/>
              <a:gd name="connsiteY24" fmla="*/ 152142 h 571998"/>
              <a:gd name="connsiteX25" fmla="*/ 265643 w 3941813"/>
              <a:gd name="connsiteY25" fmla="*/ 155592 h 571998"/>
              <a:gd name="connsiteX26" fmla="*/ 267371 w 3941813"/>
              <a:gd name="connsiteY26" fmla="*/ 158697 h 571998"/>
              <a:gd name="connsiteX27" fmla="*/ 269060 w 3941813"/>
              <a:gd name="connsiteY27" fmla="*/ 162072 h 571998"/>
              <a:gd name="connsiteX28" fmla="*/ 276558 w 3941813"/>
              <a:gd name="connsiteY28" fmla="*/ 175613 h 571998"/>
              <a:gd name="connsiteX29" fmla="*/ 277043 w 3941813"/>
              <a:gd name="connsiteY29" fmla="*/ 176291 h 571998"/>
              <a:gd name="connsiteX30" fmla="*/ 278368 w 3941813"/>
              <a:gd name="connsiteY30" fmla="*/ 178791 h 571998"/>
              <a:gd name="connsiteX31" fmla="*/ 295536 w 3941813"/>
              <a:gd name="connsiteY31" fmla="*/ 204348 h 571998"/>
              <a:gd name="connsiteX32" fmla="*/ 296042 w 3941813"/>
              <a:gd name="connsiteY32" fmla="*/ 204926 h 571998"/>
              <a:gd name="connsiteX33" fmla="*/ 298303 w 3941813"/>
              <a:gd name="connsiteY33" fmla="*/ 207936 h 571998"/>
              <a:gd name="connsiteX34" fmla="*/ 316635 w 3941813"/>
              <a:gd name="connsiteY34" fmla="*/ 230146 h 571998"/>
              <a:gd name="connsiteX35" fmla="*/ 318158 w 3941813"/>
              <a:gd name="connsiteY35" fmla="*/ 231823 h 571998"/>
              <a:gd name="connsiteX36" fmla="*/ 341295 w 3941813"/>
              <a:gd name="connsiteY36" fmla="*/ 254260 h 571998"/>
              <a:gd name="connsiteX37" fmla="*/ 364855 w 3941813"/>
              <a:gd name="connsiteY37" fmla="*/ 274566 h 571998"/>
              <a:gd name="connsiteX38" fmla="*/ 383255 w 3941813"/>
              <a:gd name="connsiteY38" fmla="*/ 287072 h 571998"/>
              <a:gd name="connsiteX39" fmla="*/ 390494 w 3941813"/>
              <a:gd name="connsiteY39" fmla="*/ 291862 h 571998"/>
              <a:gd name="connsiteX40" fmla="*/ 396550 w 3941813"/>
              <a:gd name="connsiteY40" fmla="*/ 295622 h 571998"/>
              <a:gd name="connsiteX41" fmla="*/ 409034 w 3941813"/>
              <a:gd name="connsiteY41" fmla="*/ 302598 h 571998"/>
              <a:gd name="connsiteX42" fmla="*/ 419364 w 3941813"/>
              <a:gd name="connsiteY42" fmla="*/ 308079 h 571998"/>
              <a:gd name="connsiteX43" fmla="*/ 431109 w 3941813"/>
              <a:gd name="connsiteY43" fmla="*/ 313598 h 571998"/>
              <a:gd name="connsiteX44" fmla="*/ 433413 w 3941813"/>
              <a:gd name="connsiteY44" fmla="*/ 314749 h 571998"/>
              <a:gd name="connsiteX45" fmla="*/ 445124 w 3941813"/>
              <a:gd name="connsiteY45" fmla="*/ 319611 h 571998"/>
              <a:gd name="connsiteX46" fmla="*/ 450799 w 3941813"/>
              <a:gd name="connsiteY46" fmla="*/ 321878 h 571998"/>
              <a:gd name="connsiteX47" fmla="*/ 462312 w 3941813"/>
              <a:gd name="connsiteY47" fmla="*/ 325820 h 571998"/>
              <a:gd name="connsiteX48" fmla="*/ 480775 w 3941813"/>
              <a:gd name="connsiteY48" fmla="*/ 331449 h 571998"/>
              <a:gd name="connsiteX49" fmla="*/ 490525 w 3941813"/>
              <a:gd name="connsiteY49" fmla="*/ 333953 h 571998"/>
              <a:gd name="connsiteX50" fmla="*/ 499752 w 3941813"/>
              <a:gd name="connsiteY50" fmla="*/ 335946 h 571998"/>
              <a:gd name="connsiteX51" fmla="*/ 520232 w 3941813"/>
              <a:gd name="connsiteY51" fmla="*/ 340163 h 571998"/>
              <a:gd name="connsiteX52" fmla="*/ 554124 w 3941813"/>
              <a:gd name="connsiteY52" fmla="*/ 343209 h 571998"/>
              <a:gd name="connsiteX53" fmla="*/ 555122 w 3941813"/>
              <a:gd name="connsiteY53" fmla="*/ 343268 h 571998"/>
              <a:gd name="connsiteX54" fmla="*/ 555467 w 3941813"/>
              <a:gd name="connsiteY54" fmla="*/ 343294 h 571998"/>
              <a:gd name="connsiteX55" fmla="*/ 572739 w 3941813"/>
              <a:gd name="connsiteY55" fmla="*/ 343958 h 571998"/>
              <a:gd name="connsiteX56" fmla="*/ 3862707 w 3941813"/>
              <a:gd name="connsiteY56" fmla="*/ 343958 h 571998"/>
              <a:gd name="connsiteX57" fmla="*/ 3941813 w 3941813"/>
              <a:gd name="connsiteY57" fmla="*/ 343958 h 571998"/>
              <a:gd name="connsiteX58" fmla="*/ 3941813 w 3941813"/>
              <a:gd name="connsiteY58" fmla="*/ 388462 h 571998"/>
              <a:gd name="connsiteX59" fmla="*/ 3940777 w 3941813"/>
              <a:gd name="connsiteY59" fmla="*/ 407437 h 571998"/>
              <a:gd name="connsiteX60" fmla="*/ 3933868 w 3941813"/>
              <a:gd name="connsiteY60" fmla="*/ 442971 h 571998"/>
              <a:gd name="connsiteX61" fmla="*/ 3920050 w 3941813"/>
              <a:gd name="connsiteY61" fmla="*/ 476090 h 571998"/>
              <a:gd name="connsiteX62" fmla="*/ 3900015 w 3941813"/>
              <a:gd name="connsiteY62" fmla="*/ 505415 h 571998"/>
              <a:gd name="connsiteX63" fmla="*/ 3875143 w 3941813"/>
              <a:gd name="connsiteY63" fmla="*/ 530254 h 571998"/>
              <a:gd name="connsiteX64" fmla="*/ 3846126 w 3941813"/>
              <a:gd name="connsiteY64" fmla="*/ 549919 h 571998"/>
              <a:gd name="connsiteX65" fmla="*/ 3812964 w 3941813"/>
              <a:gd name="connsiteY65" fmla="*/ 563718 h 571998"/>
              <a:gd name="connsiteX66" fmla="*/ 3777038 w 3941813"/>
              <a:gd name="connsiteY66" fmla="*/ 570963 h 571998"/>
              <a:gd name="connsiteX67" fmla="*/ 3758385 w 3941813"/>
              <a:gd name="connsiteY67" fmla="*/ 571998 h 571998"/>
              <a:gd name="connsiteX68" fmla="*/ 572739 w 3941813"/>
              <a:gd name="connsiteY68" fmla="*/ 571998 h 571998"/>
              <a:gd name="connsiteX69" fmla="*/ 543032 w 3941813"/>
              <a:gd name="connsiteY69" fmla="*/ 571308 h 571998"/>
              <a:gd name="connsiteX70" fmla="*/ 485343 w 3941813"/>
              <a:gd name="connsiteY70" fmla="*/ 565788 h 571998"/>
              <a:gd name="connsiteX71" fmla="*/ 429382 w 3941813"/>
              <a:gd name="connsiteY71" fmla="*/ 554059 h 571998"/>
              <a:gd name="connsiteX72" fmla="*/ 375493 w 3941813"/>
              <a:gd name="connsiteY72" fmla="*/ 537499 h 571998"/>
              <a:gd name="connsiteX73" fmla="*/ 324023 w 3941813"/>
              <a:gd name="connsiteY73" fmla="*/ 515419 h 571998"/>
              <a:gd name="connsiteX74" fmla="*/ 275661 w 3941813"/>
              <a:gd name="connsiteY74" fmla="*/ 489200 h 571998"/>
              <a:gd name="connsiteX75" fmla="*/ 229718 w 3941813"/>
              <a:gd name="connsiteY75" fmla="*/ 458495 h 571998"/>
              <a:gd name="connsiteX76" fmla="*/ 187574 w 3941813"/>
              <a:gd name="connsiteY76" fmla="*/ 423306 h 571998"/>
              <a:gd name="connsiteX77" fmla="*/ 148539 w 3941813"/>
              <a:gd name="connsiteY77" fmla="*/ 384667 h 571998"/>
              <a:gd name="connsiteX78" fmla="*/ 113650 w 3941813"/>
              <a:gd name="connsiteY78" fmla="*/ 342233 h 571998"/>
              <a:gd name="connsiteX79" fmla="*/ 82906 w 3941813"/>
              <a:gd name="connsiteY79" fmla="*/ 296349 h 571998"/>
              <a:gd name="connsiteX80" fmla="*/ 56307 w 3941813"/>
              <a:gd name="connsiteY80" fmla="*/ 248050 h 571998"/>
              <a:gd name="connsiteX81" fmla="*/ 34544 w 3941813"/>
              <a:gd name="connsiteY81" fmla="*/ 196646 h 571998"/>
              <a:gd name="connsiteX82" fmla="*/ 17963 w 3941813"/>
              <a:gd name="connsiteY82" fmla="*/ 143172 h 571998"/>
              <a:gd name="connsiteX83" fmla="*/ 6218 w 3941813"/>
              <a:gd name="connsiteY83" fmla="*/ 87283 h 571998"/>
              <a:gd name="connsiteX84" fmla="*/ 346 w 3941813"/>
              <a:gd name="connsiteY84" fmla="*/ 29669 h 571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3941813" h="571998">
                <a:moveTo>
                  <a:pt x="0" y="0"/>
                </a:moveTo>
                <a:lnTo>
                  <a:pt x="228336" y="0"/>
                </a:lnTo>
                <a:lnTo>
                  <a:pt x="228336" y="1035"/>
                </a:lnTo>
                <a:lnTo>
                  <a:pt x="228336" y="2070"/>
                </a:lnTo>
                <a:lnTo>
                  <a:pt x="228336" y="3450"/>
                </a:lnTo>
                <a:lnTo>
                  <a:pt x="228336" y="4485"/>
                </a:lnTo>
                <a:lnTo>
                  <a:pt x="228336" y="6555"/>
                </a:lnTo>
                <a:lnTo>
                  <a:pt x="228336" y="8625"/>
                </a:lnTo>
                <a:lnTo>
                  <a:pt x="228336" y="13110"/>
                </a:lnTo>
                <a:lnTo>
                  <a:pt x="228681" y="17595"/>
                </a:lnTo>
                <a:lnTo>
                  <a:pt x="228681" y="21045"/>
                </a:lnTo>
                <a:lnTo>
                  <a:pt x="229372" y="24495"/>
                </a:lnTo>
                <a:lnTo>
                  <a:pt x="229561" y="29949"/>
                </a:lnTo>
                <a:lnTo>
                  <a:pt x="230860" y="43059"/>
                </a:lnTo>
                <a:lnTo>
                  <a:pt x="231099" y="44849"/>
                </a:lnTo>
                <a:lnTo>
                  <a:pt x="231445" y="47954"/>
                </a:lnTo>
                <a:lnTo>
                  <a:pt x="231790" y="51059"/>
                </a:lnTo>
                <a:lnTo>
                  <a:pt x="232439" y="55431"/>
                </a:lnTo>
                <a:lnTo>
                  <a:pt x="237460" y="78594"/>
                </a:lnTo>
                <a:lnTo>
                  <a:pt x="239935" y="88754"/>
                </a:lnTo>
                <a:lnTo>
                  <a:pt x="249062" y="117988"/>
                </a:lnTo>
                <a:lnTo>
                  <a:pt x="258766" y="141560"/>
                </a:lnTo>
                <a:lnTo>
                  <a:pt x="260462" y="145242"/>
                </a:lnTo>
                <a:lnTo>
                  <a:pt x="261844" y="148347"/>
                </a:lnTo>
                <a:lnTo>
                  <a:pt x="263571" y="152142"/>
                </a:lnTo>
                <a:lnTo>
                  <a:pt x="265643" y="155592"/>
                </a:lnTo>
                <a:lnTo>
                  <a:pt x="267371" y="158697"/>
                </a:lnTo>
                <a:lnTo>
                  <a:pt x="269060" y="162072"/>
                </a:lnTo>
                <a:lnTo>
                  <a:pt x="276558" y="175613"/>
                </a:lnTo>
                <a:lnTo>
                  <a:pt x="277043" y="176291"/>
                </a:lnTo>
                <a:lnTo>
                  <a:pt x="278368" y="178791"/>
                </a:lnTo>
                <a:lnTo>
                  <a:pt x="295536" y="204348"/>
                </a:lnTo>
                <a:lnTo>
                  <a:pt x="296042" y="204926"/>
                </a:lnTo>
                <a:lnTo>
                  <a:pt x="298303" y="207936"/>
                </a:lnTo>
                <a:lnTo>
                  <a:pt x="316635" y="230146"/>
                </a:lnTo>
                <a:lnTo>
                  <a:pt x="318158" y="231823"/>
                </a:lnTo>
                <a:lnTo>
                  <a:pt x="341295" y="254260"/>
                </a:lnTo>
                <a:lnTo>
                  <a:pt x="364855" y="274566"/>
                </a:lnTo>
                <a:lnTo>
                  <a:pt x="383255" y="287072"/>
                </a:lnTo>
                <a:lnTo>
                  <a:pt x="390494" y="291862"/>
                </a:lnTo>
                <a:lnTo>
                  <a:pt x="396550" y="295622"/>
                </a:lnTo>
                <a:lnTo>
                  <a:pt x="409034" y="302598"/>
                </a:lnTo>
                <a:lnTo>
                  <a:pt x="419364" y="308079"/>
                </a:lnTo>
                <a:lnTo>
                  <a:pt x="431109" y="313598"/>
                </a:lnTo>
                <a:lnTo>
                  <a:pt x="433413" y="314749"/>
                </a:lnTo>
                <a:lnTo>
                  <a:pt x="445124" y="319611"/>
                </a:lnTo>
                <a:lnTo>
                  <a:pt x="450799" y="321878"/>
                </a:lnTo>
                <a:lnTo>
                  <a:pt x="462312" y="325820"/>
                </a:lnTo>
                <a:lnTo>
                  <a:pt x="480775" y="331449"/>
                </a:lnTo>
                <a:lnTo>
                  <a:pt x="490525" y="333953"/>
                </a:lnTo>
                <a:lnTo>
                  <a:pt x="499752" y="335946"/>
                </a:lnTo>
                <a:lnTo>
                  <a:pt x="520232" y="340163"/>
                </a:lnTo>
                <a:lnTo>
                  <a:pt x="554124" y="343209"/>
                </a:lnTo>
                <a:lnTo>
                  <a:pt x="555122" y="343268"/>
                </a:lnTo>
                <a:lnTo>
                  <a:pt x="555467" y="343294"/>
                </a:lnTo>
                <a:lnTo>
                  <a:pt x="572739" y="343958"/>
                </a:lnTo>
                <a:lnTo>
                  <a:pt x="3862707" y="343958"/>
                </a:lnTo>
                <a:lnTo>
                  <a:pt x="3941813" y="343958"/>
                </a:lnTo>
                <a:lnTo>
                  <a:pt x="3941813" y="388462"/>
                </a:lnTo>
                <a:lnTo>
                  <a:pt x="3940777" y="407437"/>
                </a:lnTo>
                <a:lnTo>
                  <a:pt x="3933868" y="442971"/>
                </a:lnTo>
                <a:lnTo>
                  <a:pt x="3920050" y="476090"/>
                </a:lnTo>
                <a:lnTo>
                  <a:pt x="3900015" y="505415"/>
                </a:lnTo>
                <a:lnTo>
                  <a:pt x="3875143" y="530254"/>
                </a:lnTo>
                <a:lnTo>
                  <a:pt x="3846126" y="549919"/>
                </a:lnTo>
                <a:lnTo>
                  <a:pt x="3812964" y="563718"/>
                </a:lnTo>
                <a:lnTo>
                  <a:pt x="3777038" y="570963"/>
                </a:lnTo>
                <a:lnTo>
                  <a:pt x="3758385" y="571998"/>
                </a:lnTo>
                <a:lnTo>
                  <a:pt x="572739" y="571998"/>
                </a:lnTo>
                <a:lnTo>
                  <a:pt x="543032" y="571308"/>
                </a:lnTo>
                <a:lnTo>
                  <a:pt x="485343" y="565788"/>
                </a:lnTo>
                <a:lnTo>
                  <a:pt x="429382" y="554059"/>
                </a:lnTo>
                <a:lnTo>
                  <a:pt x="375493" y="537499"/>
                </a:lnTo>
                <a:lnTo>
                  <a:pt x="324023" y="515419"/>
                </a:lnTo>
                <a:lnTo>
                  <a:pt x="275661" y="489200"/>
                </a:lnTo>
                <a:lnTo>
                  <a:pt x="229718" y="458495"/>
                </a:lnTo>
                <a:lnTo>
                  <a:pt x="187574" y="423306"/>
                </a:lnTo>
                <a:lnTo>
                  <a:pt x="148539" y="384667"/>
                </a:lnTo>
                <a:lnTo>
                  <a:pt x="113650" y="342233"/>
                </a:lnTo>
                <a:lnTo>
                  <a:pt x="82906" y="296349"/>
                </a:lnTo>
                <a:lnTo>
                  <a:pt x="56307" y="248050"/>
                </a:lnTo>
                <a:lnTo>
                  <a:pt x="34544" y="196646"/>
                </a:lnTo>
                <a:lnTo>
                  <a:pt x="17963" y="143172"/>
                </a:lnTo>
                <a:lnTo>
                  <a:pt x="6218" y="87283"/>
                </a:lnTo>
                <a:lnTo>
                  <a:pt x="346" y="29669"/>
                </a:ln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44" name="Freeform 585">
            <a:extLst>
              <a:ext uri="{FF2B5EF4-FFF2-40B4-BE49-F238E27FC236}">
                <a16:creationId xmlns:a16="http://schemas.microsoft.com/office/drawing/2014/main" id="{903CFD27-CA8C-4E82-11F3-FF299C53C033}"/>
              </a:ext>
            </a:extLst>
          </p:cNvPr>
          <p:cNvSpPr>
            <a:spLocks/>
          </p:cNvSpPr>
          <p:nvPr/>
        </p:nvSpPr>
        <p:spPr bwMode="auto">
          <a:xfrm>
            <a:off x="1206578" y="3241548"/>
            <a:ext cx="689438" cy="68943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r>
              <a:rPr lang="en-US" sz="4400" b="1">
                <a:solidFill>
                  <a:srgbClr val="191C21"/>
                </a:solidFill>
              </a:rPr>
              <a:t>3</a:t>
            </a:r>
          </a:p>
        </p:txBody>
      </p:sp>
      <p:sp>
        <p:nvSpPr>
          <p:cNvPr id="45" name="Freeform 588">
            <a:extLst>
              <a:ext uri="{FF2B5EF4-FFF2-40B4-BE49-F238E27FC236}">
                <a16:creationId xmlns:a16="http://schemas.microsoft.com/office/drawing/2014/main" id="{6F20C3CB-A476-1FDA-8810-6BF8074056EE}"/>
              </a:ext>
            </a:extLst>
          </p:cNvPr>
          <p:cNvSpPr>
            <a:spLocks/>
          </p:cNvSpPr>
          <p:nvPr/>
        </p:nvSpPr>
        <p:spPr bwMode="auto">
          <a:xfrm>
            <a:off x="978608" y="1361650"/>
            <a:ext cx="1145378" cy="1143996"/>
          </a:xfrm>
          <a:custGeom>
            <a:avLst/>
            <a:gdLst>
              <a:gd name="T0" fmla="*/ 1573 w 3316"/>
              <a:gd name="T1" fmla="*/ 2 h 3316"/>
              <a:gd name="T2" fmla="*/ 1243 w 3316"/>
              <a:gd name="T3" fmla="*/ 52 h 3316"/>
              <a:gd name="T4" fmla="*/ 939 w 3316"/>
              <a:gd name="T5" fmla="*/ 162 h 3316"/>
              <a:gd name="T6" fmla="*/ 665 w 3316"/>
              <a:gd name="T7" fmla="*/ 328 h 3316"/>
              <a:gd name="T8" fmla="*/ 431 w 3316"/>
              <a:gd name="T9" fmla="*/ 542 h 3316"/>
              <a:gd name="T10" fmla="*/ 240 w 3316"/>
              <a:gd name="T11" fmla="*/ 797 h 3316"/>
              <a:gd name="T12" fmla="*/ 100 w 3316"/>
              <a:gd name="T13" fmla="*/ 1088 h 3316"/>
              <a:gd name="T14" fmla="*/ 19 w 3316"/>
              <a:gd name="T15" fmla="*/ 1405 h 3316"/>
              <a:gd name="T16" fmla="*/ 0 w 3316"/>
              <a:gd name="T17" fmla="*/ 1658 h 3316"/>
              <a:gd name="T18" fmla="*/ 19 w 3316"/>
              <a:gd name="T19" fmla="*/ 1911 h 3316"/>
              <a:gd name="T20" fmla="*/ 100 w 3316"/>
              <a:gd name="T21" fmla="*/ 2228 h 3316"/>
              <a:gd name="T22" fmla="*/ 240 w 3316"/>
              <a:gd name="T23" fmla="*/ 2517 h 3316"/>
              <a:gd name="T24" fmla="*/ 431 w 3316"/>
              <a:gd name="T25" fmla="*/ 2773 h 3316"/>
              <a:gd name="T26" fmla="*/ 665 w 3316"/>
              <a:gd name="T27" fmla="*/ 2987 h 3316"/>
              <a:gd name="T28" fmla="*/ 939 w 3316"/>
              <a:gd name="T29" fmla="*/ 3152 h 3316"/>
              <a:gd name="T30" fmla="*/ 1243 w 3316"/>
              <a:gd name="T31" fmla="*/ 3264 h 3316"/>
              <a:gd name="T32" fmla="*/ 1573 w 3316"/>
              <a:gd name="T33" fmla="*/ 3314 h 3316"/>
              <a:gd name="T34" fmla="*/ 1744 w 3316"/>
              <a:gd name="T35" fmla="*/ 3314 h 3316"/>
              <a:gd name="T36" fmla="*/ 2073 w 3316"/>
              <a:gd name="T37" fmla="*/ 3264 h 3316"/>
              <a:gd name="T38" fmla="*/ 2378 w 3316"/>
              <a:gd name="T39" fmla="*/ 3152 h 3316"/>
              <a:gd name="T40" fmla="*/ 2650 w 3316"/>
              <a:gd name="T41" fmla="*/ 2987 h 3316"/>
              <a:gd name="T42" fmla="*/ 2886 w 3316"/>
              <a:gd name="T43" fmla="*/ 2773 h 3316"/>
              <a:gd name="T44" fmla="*/ 3076 w 3316"/>
              <a:gd name="T45" fmla="*/ 2517 h 3316"/>
              <a:gd name="T46" fmla="*/ 3216 w 3316"/>
              <a:gd name="T47" fmla="*/ 2228 h 3316"/>
              <a:gd name="T48" fmla="*/ 3298 w 3316"/>
              <a:gd name="T49" fmla="*/ 1911 h 3316"/>
              <a:gd name="T50" fmla="*/ 3316 w 3316"/>
              <a:gd name="T51" fmla="*/ 1658 h 3316"/>
              <a:gd name="T52" fmla="*/ 3298 w 3316"/>
              <a:gd name="T53" fmla="*/ 1405 h 3316"/>
              <a:gd name="T54" fmla="*/ 3216 w 3316"/>
              <a:gd name="T55" fmla="*/ 1088 h 3316"/>
              <a:gd name="T56" fmla="*/ 3076 w 3316"/>
              <a:gd name="T57" fmla="*/ 797 h 3316"/>
              <a:gd name="T58" fmla="*/ 2886 w 3316"/>
              <a:gd name="T59" fmla="*/ 542 h 3316"/>
              <a:gd name="T60" fmla="*/ 2650 w 3316"/>
              <a:gd name="T61" fmla="*/ 328 h 3316"/>
              <a:gd name="T62" fmla="*/ 2378 w 3316"/>
              <a:gd name="T63" fmla="*/ 162 h 3316"/>
              <a:gd name="T64" fmla="*/ 2073 w 3316"/>
              <a:gd name="T65" fmla="*/ 52 h 3316"/>
              <a:gd name="T66" fmla="*/ 1744 w 3316"/>
              <a:gd name="T67" fmla="*/ 2 h 3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16" h="3316">
                <a:moveTo>
                  <a:pt x="1658" y="0"/>
                </a:moveTo>
                <a:lnTo>
                  <a:pt x="1573" y="2"/>
                </a:lnTo>
                <a:lnTo>
                  <a:pt x="1405" y="18"/>
                </a:lnTo>
                <a:lnTo>
                  <a:pt x="1243" y="52"/>
                </a:lnTo>
                <a:lnTo>
                  <a:pt x="1088" y="100"/>
                </a:lnTo>
                <a:lnTo>
                  <a:pt x="939" y="162"/>
                </a:lnTo>
                <a:lnTo>
                  <a:pt x="798" y="239"/>
                </a:lnTo>
                <a:lnTo>
                  <a:pt x="665" y="328"/>
                </a:lnTo>
                <a:lnTo>
                  <a:pt x="542" y="431"/>
                </a:lnTo>
                <a:lnTo>
                  <a:pt x="431" y="542"/>
                </a:lnTo>
                <a:lnTo>
                  <a:pt x="328" y="665"/>
                </a:lnTo>
                <a:lnTo>
                  <a:pt x="240" y="797"/>
                </a:lnTo>
                <a:lnTo>
                  <a:pt x="162" y="939"/>
                </a:lnTo>
                <a:lnTo>
                  <a:pt x="100" y="1088"/>
                </a:lnTo>
                <a:lnTo>
                  <a:pt x="52" y="1243"/>
                </a:lnTo>
                <a:lnTo>
                  <a:pt x="19" y="1405"/>
                </a:lnTo>
                <a:lnTo>
                  <a:pt x="2" y="1572"/>
                </a:lnTo>
                <a:lnTo>
                  <a:pt x="0" y="1658"/>
                </a:lnTo>
                <a:lnTo>
                  <a:pt x="2" y="1744"/>
                </a:lnTo>
                <a:lnTo>
                  <a:pt x="19" y="1911"/>
                </a:lnTo>
                <a:lnTo>
                  <a:pt x="52" y="2073"/>
                </a:lnTo>
                <a:lnTo>
                  <a:pt x="100" y="2228"/>
                </a:lnTo>
                <a:lnTo>
                  <a:pt x="162" y="2377"/>
                </a:lnTo>
                <a:lnTo>
                  <a:pt x="240" y="2517"/>
                </a:lnTo>
                <a:lnTo>
                  <a:pt x="328" y="2650"/>
                </a:lnTo>
                <a:lnTo>
                  <a:pt x="431" y="2773"/>
                </a:lnTo>
                <a:lnTo>
                  <a:pt x="542" y="2885"/>
                </a:lnTo>
                <a:lnTo>
                  <a:pt x="665" y="2987"/>
                </a:lnTo>
                <a:lnTo>
                  <a:pt x="798" y="3076"/>
                </a:lnTo>
                <a:lnTo>
                  <a:pt x="939" y="3152"/>
                </a:lnTo>
                <a:lnTo>
                  <a:pt x="1088" y="3216"/>
                </a:lnTo>
                <a:lnTo>
                  <a:pt x="1243" y="3264"/>
                </a:lnTo>
                <a:lnTo>
                  <a:pt x="1405" y="3298"/>
                </a:lnTo>
                <a:lnTo>
                  <a:pt x="1573" y="3314"/>
                </a:lnTo>
                <a:lnTo>
                  <a:pt x="1658" y="3316"/>
                </a:lnTo>
                <a:lnTo>
                  <a:pt x="1744" y="3314"/>
                </a:lnTo>
                <a:lnTo>
                  <a:pt x="1911" y="3298"/>
                </a:lnTo>
                <a:lnTo>
                  <a:pt x="2073" y="3264"/>
                </a:lnTo>
                <a:lnTo>
                  <a:pt x="2228" y="3216"/>
                </a:lnTo>
                <a:lnTo>
                  <a:pt x="2378" y="3152"/>
                </a:lnTo>
                <a:lnTo>
                  <a:pt x="2518" y="3076"/>
                </a:lnTo>
                <a:lnTo>
                  <a:pt x="2650" y="2987"/>
                </a:lnTo>
                <a:lnTo>
                  <a:pt x="2773" y="2885"/>
                </a:lnTo>
                <a:lnTo>
                  <a:pt x="2886" y="2773"/>
                </a:lnTo>
                <a:lnTo>
                  <a:pt x="2987" y="2650"/>
                </a:lnTo>
                <a:lnTo>
                  <a:pt x="3076" y="2517"/>
                </a:lnTo>
                <a:lnTo>
                  <a:pt x="3153" y="2377"/>
                </a:lnTo>
                <a:lnTo>
                  <a:pt x="3216" y="2228"/>
                </a:lnTo>
                <a:lnTo>
                  <a:pt x="3264" y="2073"/>
                </a:lnTo>
                <a:lnTo>
                  <a:pt x="3298" y="1911"/>
                </a:lnTo>
                <a:lnTo>
                  <a:pt x="3315" y="1744"/>
                </a:lnTo>
                <a:lnTo>
                  <a:pt x="3316" y="1658"/>
                </a:lnTo>
                <a:lnTo>
                  <a:pt x="3315" y="1572"/>
                </a:lnTo>
                <a:lnTo>
                  <a:pt x="3298" y="1405"/>
                </a:lnTo>
                <a:lnTo>
                  <a:pt x="3264" y="1243"/>
                </a:lnTo>
                <a:lnTo>
                  <a:pt x="3216" y="1088"/>
                </a:lnTo>
                <a:lnTo>
                  <a:pt x="3153" y="939"/>
                </a:lnTo>
                <a:lnTo>
                  <a:pt x="3076" y="797"/>
                </a:lnTo>
                <a:lnTo>
                  <a:pt x="2987" y="665"/>
                </a:lnTo>
                <a:lnTo>
                  <a:pt x="2886" y="542"/>
                </a:lnTo>
                <a:lnTo>
                  <a:pt x="2773" y="431"/>
                </a:lnTo>
                <a:lnTo>
                  <a:pt x="2650" y="328"/>
                </a:lnTo>
                <a:lnTo>
                  <a:pt x="2518" y="239"/>
                </a:lnTo>
                <a:lnTo>
                  <a:pt x="2378" y="162"/>
                </a:lnTo>
                <a:lnTo>
                  <a:pt x="2228" y="100"/>
                </a:lnTo>
                <a:lnTo>
                  <a:pt x="2073" y="52"/>
                </a:lnTo>
                <a:lnTo>
                  <a:pt x="1911" y="18"/>
                </a:lnTo>
                <a:lnTo>
                  <a:pt x="1744" y="2"/>
                </a:lnTo>
                <a:lnTo>
                  <a:pt x="1658" y="0"/>
                </a:ln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46" name="Freeform 587">
            <a:extLst>
              <a:ext uri="{FF2B5EF4-FFF2-40B4-BE49-F238E27FC236}">
                <a16:creationId xmlns:a16="http://schemas.microsoft.com/office/drawing/2014/main" id="{FB17BABA-AF10-11AB-2FEC-0DD782C39ECB}"/>
              </a:ext>
            </a:extLst>
          </p:cNvPr>
          <p:cNvSpPr>
            <a:spLocks/>
          </p:cNvSpPr>
          <p:nvPr/>
        </p:nvSpPr>
        <p:spPr bwMode="auto">
          <a:xfrm>
            <a:off x="1206578" y="1588239"/>
            <a:ext cx="689438" cy="689438"/>
          </a:xfrm>
          <a:custGeom>
            <a:avLst/>
            <a:gdLst>
              <a:gd name="T0" fmla="*/ 946 w 1995"/>
              <a:gd name="T1" fmla="*/ 1993 h 1995"/>
              <a:gd name="T2" fmla="*/ 748 w 1995"/>
              <a:gd name="T3" fmla="*/ 1964 h 1995"/>
              <a:gd name="T4" fmla="*/ 565 w 1995"/>
              <a:gd name="T5" fmla="*/ 1898 h 1995"/>
              <a:gd name="T6" fmla="*/ 401 w 1995"/>
              <a:gd name="T7" fmla="*/ 1798 h 1995"/>
              <a:gd name="T8" fmla="*/ 259 w 1995"/>
              <a:gd name="T9" fmla="*/ 1668 h 1995"/>
              <a:gd name="T10" fmla="*/ 145 w 1995"/>
              <a:gd name="T11" fmla="*/ 1515 h 1995"/>
              <a:gd name="T12" fmla="*/ 61 w 1995"/>
              <a:gd name="T13" fmla="*/ 1340 h 1995"/>
              <a:gd name="T14" fmla="*/ 12 w 1995"/>
              <a:gd name="T15" fmla="*/ 1150 h 1995"/>
              <a:gd name="T16" fmla="*/ 0 w 1995"/>
              <a:gd name="T17" fmla="*/ 998 h 1995"/>
              <a:gd name="T18" fmla="*/ 12 w 1995"/>
              <a:gd name="T19" fmla="*/ 846 h 1995"/>
              <a:gd name="T20" fmla="*/ 61 w 1995"/>
              <a:gd name="T21" fmla="*/ 655 h 1995"/>
              <a:gd name="T22" fmla="*/ 145 w 1995"/>
              <a:gd name="T23" fmla="*/ 481 h 1995"/>
              <a:gd name="T24" fmla="*/ 259 w 1995"/>
              <a:gd name="T25" fmla="*/ 327 h 1995"/>
              <a:gd name="T26" fmla="*/ 401 w 1995"/>
              <a:gd name="T27" fmla="*/ 198 h 1995"/>
              <a:gd name="T28" fmla="*/ 565 w 1995"/>
              <a:gd name="T29" fmla="*/ 98 h 1995"/>
              <a:gd name="T30" fmla="*/ 748 w 1995"/>
              <a:gd name="T31" fmla="*/ 31 h 1995"/>
              <a:gd name="T32" fmla="*/ 946 w 1995"/>
              <a:gd name="T33" fmla="*/ 1 h 1995"/>
              <a:gd name="T34" fmla="*/ 1049 w 1995"/>
              <a:gd name="T35" fmla="*/ 1 h 1995"/>
              <a:gd name="T36" fmla="*/ 1247 w 1995"/>
              <a:gd name="T37" fmla="*/ 31 h 1995"/>
              <a:gd name="T38" fmla="*/ 1431 w 1995"/>
              <a:gd name="T39" fmla="*/ 98 h 1995"/>
              <a:gd name="T40" fmla="*/ 1594 w 1995"/>
              <a:gd name="T41" fmla="*/ 198 h 1995"/>
              <a:gd name="T42" fmla="*/ 1737 w 1995"/>
              <a:gd name="T43" fmla="*/ 327 h 1995"/>
              <a:gd name="T44" fmla="*/ 1851 w 1995"/>
              <a:gd name="T45" fmla="*/ 481 h 1995"/>
              <a:gd name="T46" fmla="*/ 1935 w 1995"/>
              <a:gd name="T47" fmla="*/ 655 h 1995"/>
              <a:gd name="T48" fmla="*/ 1985 w 1995"/>
              <a:gd name="T49" fmla="*/ 846 h 1995"/>
              <a:gd name="T50" fmla="*/ 1995 w 1995"/>
              <a:gd name="T51" fmla="*/ 998 h 1995"/>
              <a:gd name="T52" fmla="*/ 1985 w 1995"/>
              <a:gd name="T53" fmla="*/ 1150 h 1995"/>
              <a:gd name="T54" fmla="*/ 1935 w 1995"/>
              <a:gd name="T55" fmla="*/ 1340 h 1995"/>
              <a:gd name="T56" fmla="*/ 1851 w 1995"/>
              <a:gd name="T57" fmla="*/ 1515 h 1995"/>
              <a:gd name="T58" fmla="*/ 1737 w 1995"/>
              <a:gd name="T59" fmla="*/ 1668 h 1995"/>
              <a:gd name="T60" fmla="*/ 1594 w 1995"/>
              <a:gd name="T61" fmla="*/ 1798 h 1995"/>
              <a:gd name="T62" fmla="*/ 1431 w 1995"/>
              <a:gd name="T63" fmla="*/ 1898 h 1995"/>
              <a:gd name="T64" fmla="*/ 1247 w 1995"/>
              <a:gd name="T65" fmla="*/ 1964 h 1995"/>
              <a:gd name="T66" fmla="*/ 1049 w 1995"/>
              <a:gd name="T67" fmla="*/ 1993 h 1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95" h="1995">
                <a:moveTo>
                  <a:pt x="998" y="1995"/>
                </a:moveTo>
                <a:lnTo>
                  <a:pt x="946" y="1993"/>
                </a:lnTo>
                <a:lnTo>
                  <a:pt x="847" y="1984"/>
                </a:lnTo>
                <a:lnTo>
                  <a:pt x="748" y="1964"/>
                </a:lnTo>
                <a:lnTo>
                  <a:pt x="655" y="1935"/>
                </a:lnTo>
                <a:lnTo>
                  <a:pt x="565" y="1898"/>
                </a:lnTo>
                <a:lnTo>
                  <a:pt x="481" y="1851"/>
                </a:lnTo>
                <a:lnTo>
                  <a:pt x="401" y="1798"/>
                </a:lnTo>
                <a:lnTo>
                  <a:pt x="327" y="1735"/>
                </a:lnTo>
                <a:lnTo>
                  <a:pt x="259" y="1668"/>
                </a:lnTo>
                <a:lnTo>
                  <a:pt x="198" y="1594"/>
                </a:lnTo>
                <a:lnTo>
                  <a:pt x="145" y="1515"/>
                </a:lnTo>
                <a:lnTo>
                  <a:pt x="99" y="1430"/>
                </a:lnTo>
                <a:lnTo>
                  <a:pt x="61" y="1340"/>
                </a:lnTo>
                <a:lnTo>
                  <a:pt x="31" y="1247"/>
                </a:lnTo>
                <a:lnTo>
                  <a:pt x="12" y="1150"/>
                </a:lnTo>
                <a:lnTo>
                  <a:pt x="1" y="1049"/>
                </a:lnTo>
                <a:lnTo>
                  <a:pt x="0" y="998"/>
                </a:lnTo>
                <a:lnTo>
                  <a:pt x="1" y="946"/>
                </a:lnTo>
                <a:lnTo>
                  <a:pt x="12" y="846"/>
                </a:lnTo>
                <a:lnTo>
                  <a:pt x="31" y="748"/>
                </a:lnTo>
                <a:lnTo>
                  <a:pt x="61" y="655"/>
                </a:lnTo>
                <a:lnTo>
                  <a:pt x="99" y="565"/>
                </a:lnTo>
                <a:lnTo>
                  <a:pt x="145" y="481"/>
                </a:lnTo>
                <a:lnTo>
                  <a:pt x="198" y="400"/>
                </a:lnTo>
                <a:lnTo>
                  <a:pt x="259" y="327"/>
                </a:lnTo>
                <a:lnTo>
                  <a:pt x="327" y="259"/>
                </a:lnTo>
                <a:lnTo>
                  <a:pt x="401" y="198"/>
                </a:lnTo>
                <a:lnTo>
                  <a:pt x="481" y="145"/>
                </a:lnTo>
                <a:lnTo>
                  <a:pt x="565" y="98"/>
                </a:lnTo>
                <a:lnTo>
                  <a:pt x="655" y="61"/>
                </a:lnTo>
                <a:lnTo>
                  <a:pt x="748" y="31"/>
                </a:lnTo>
                <a:lnTo>
                  <a:pt x="847" y="12"/>
                </a:lnTo>
                <a:lnTo>
                  <a:pt x="946" y="1"/>
                </a:lnTo>
                <a:lnTo>
                  <a:pt x="998" y="0"/>
                </a:lnTo>
                <a:lnTo>
                  <a:pt x="1049" y="1"/>
                </a:lnTo>
                <a:lnTo>
                  <a:pt x="1150" y="12"/>
                </a:lnTo>
                <a:lnTo>
                  <a:pt x="1247" y="31"/>
                </a:lnTo>
                <a:lnTo>
                  <a:pt x="1340" y="61"/>
                </a:lnTo>
                <a:lnTo>
                  <a:pt x="1431" y="98"/>
                </a:lnTo>
                <a:lnTo>
                  <a:pt x="1515" y="145"/>
                </a:lnTo>
                <a:lnTo>
                  <a:pt x="1594" y="198"/>
                </a:lnTo>
                <a:lnTo>
                  <a:pt x="1668" y="259"/>
                </a:lnTo>
                <a:lnTo>
                  <a:pt x="1737" y="327"/>
                </a:lnTo>
                <a:lnTo>
                  <a:pt x="1798" y="400"/>
                </a:lnTo>
                <a:lnTo>
                  <a:pt x="1851" y="481"/>
                </a:lnTo>
                <a:lnTo>
                  <a:pt x="1898" y="565"/>
                </a:lnTo>
                <a:lnTo>
                  <a:pt x="1935" y="655"/>
                </a:lnTo>
                <a:lnTo>
                  <a:pt x="1964" y="748"/>
                </a:lnTo>
                <a:lnTo>
                  <a:pt x="1985" y="846"/>
                </a:lnTo>
                <a:lnTo>
                  <a:pt x="1995" y="946"/>
                </a:lnTo>
                <a:lnTo>
                  <a:pt x="1995" y="998"/>
                </a:lnTo>
                <a:lnTo>
                  <a:pt x="1995" y="1049"/>
                </a:lnTo>
                <a:lnTo>
                  <a:pt x="1985" y="1150"/>
                </a:lnTo>
                <a:lnTo>
                  <a:pt x="1964" y="1247"/>
                </a:lnTo>
                <a:lnTo>
                  <a:pt x="1935" y="1340"/>
                </a:lnTo>
                <a:lnTo>
                  <a:pt x="1898" y="1430"/>
                </a:lnTo>
                <a:lnTo>
                  <a:pt x="1851" y="1515"/>
                </a:lnTo>
                <a:lnTo>
                  <a:pt x="1798" y="1594"/>
                </a:lnTo>
                <a:lnTo>
                  <a:pt x="1737" y="1668"/>
                </a:lnTo>
                <a:lnTo>
                  <a:pt x="1668" y="1735"/>
                </a:lnTo>
                <a:lnTo>
                  <a:pt x="1594" y="1798"/>
                </a:lnTo>
                <a:lnTo>
                  <a:pt x="1515" y="1851"/>
                </a:lnTo>
                <a:lnTo>
                  <a:pt x="1431" y="1898"/>
                </a:lnTo>
                <a:lnTo>
                  <a:pt x="1340" y="1935"/>
                </a:lnTo>
                <a:lnTo>
                  <a:pt x="1247" y="1964"/>
                </a:lnTo>
                <a:lnTo>
                  <a:pt x="1150" y="1984"/>
                </a:lnTo>
                <a:lnTo>
                  <a:pt x="1049" y="1993"/>
                </a:lnTo>
                <a:lnTo>
                  <a:pt x="998" y="199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589">
            <a:extLst>
              <a:ext uri="{FF2B5EF4-FFF2-40B4-BE49-F238E27FC236}">
                <a16:creationId xmlns:a16="http://schemas.microsoft.com/office/drawing/2014/main" id="{E68C13DA-1EE0-3995-CED3-EA7069E5277F}"/>
              </a:ext>
            </a:extLst>
          </p:cNvPr>
          <p:cNvSpPr>
            <a:spLocks/>
          </p:cNvSpPr>
          <p:nvPr/>
        </p:nvSpPr>
        <p:spPr bwMode="auto">
          <a:xfrm>
            <a:off x="1850421" y="1937794"/>
            <a:ext cx="160270" cy="392385"/>
          </a:xfrm>
          <a:custGeom>
            <a:avLst/>
            <a:gdLst>
              <a:gd name="T0" fmla="*/ 462 w 462"/>
              <a:gd name="T1" fmla="*/ 981 h 1135"/>
              <a:gd name="T2" fmla="*/ 460 w 462"/>
              <a:gd name="T3" fmla="*/ 985 h 1135"/>
              <a:gd name="T4" fmla="*/ 457 w 462"/>
              <a:gd name="T5" fmla="*/ 989 h 1135"/>
              <a:gd name="T6" fmla="*/ 443 w 462"/>
              <a:gd name="T7" fmla="*/ 1007 h 1135"/>
              <a:gd name="T8" fmla="*/ 427 w 462"/>
              <a:gd name="T9" fmla="*/ 1025 h 1135"/>
              <a:gd name="T10" fmla="*/ 418 w 462"/>
              <a:gd name="T11" fmla="*/ 1037 h 1135"/>
              <a:gd name="T12" fmla="*/ 409 w 462"/>
              <a:gd name="T13" fmla="*/ 1048 h 1135"/>
              <a:gd name="T14" fmla="*/ 408 w 462"/>
              <a:gd name="T15" fmla="*/ 1050 h 1135"/>
              <a:gd name="T16" fmla="*/ 408 w 462"/>
              <a:gd name="T17" fmla="*/ 1050 h 1135"/>
              <a:gd name="T18" fmla="*/ 396 w 462"/>
              <a:gd name="T19" fmla="*/ 1064 h 1135"/>
              <a:gd name="T20" fmla="*/ 383 w 462"/>
              <a:gd name="T21" fmla="*/ 1078 h 1135"/>
              <a:gd name="T22" fmla="*/ 369 w 462"/>
              <a:gd name="T23" fmla="*/ 1095 h 1135"/>
              <a:gd name="T24" fmla="*/ 355 w 462"/>
              <a:gd name="T25" fmla="*/ 1110 h 1135"/>
              <a:gd name="T26" fmla="*/ 343 w 462"/>
              <a:gd name="T27" fmla="*/ 1123 h 1135"/>
              <a:gd name="T28" fmla="*/ 332 w 462"/>
              <a:gd name="T29" fmla="*/ 1135 h 1135"/>
              <a:gd name="T30" fmla="*/ 276 w 462"/>
              <a:gd name="T31" fmla="*/ 1062 h 1135"/>
              <a:gd name="T32" fmla="*/ 177 w 462"/>
              <a:gd name="T33" fmla="*/ 908 h 1135"/>
              <a:gd name="T34" fmla="*/ 94 w 462"/>
              <a:gd name="T35" fmla="*/ 745 h 1135"/>
              <a:gd name="T36" fmla="*/ 27 w 462"/>
              <a:gd name="T37" fmla="*/ 573 h 1135"/>
              <a:gd name="T38" fmla="*/ 0 w 462"/>
              <a:gd name="T39" fmla="*/ 483 h 1135"/>
              <a:gd name="T40" fmla="*/ 36 w 462"/>
              <a:gd name="T41" fmla="*/ 417 h 1135"/>
              <a:gd name="T42" fmla="*/ 65 w 462"/>
              <a:gd name="T43" fmla="*/ 348 h 1135"/>
              <a:gd name="T44" fmla="*/ 68 w 462"/>
              <a:gd name="T45" fmla="*/ 341 h 1135"/>
              <a:gd name="T46" fmla="*/ 71 w 462"/>
              <a:gd name="T47" fmla="*/ 333 h 1135"/>
              <a:gd name="T48" fmla="*/ 81 w 462"/>
              <a:gd name="T49" fmla="*/ 303 h 1135"/>
              <a:gd name="T50" fmla="*/ 90 w 462"/>
              <a:gd name="T51" fmla="*/ 273 h 1135"/>
              <a:gd name="T52" fmla="*/ 94 w 462"/>
              <a:gd name="T53" fmla="*/ 263 h 1135"/>
              <a:gd name="T54" fmla="*/ 97 w 462"/>
              <a:gd name="T55" fmla="*/ 252 h 1135"/>
              <a:gd name="T56" fmla="*/ 100 w 462"/>
              <a:gd name="T57" fmla="*/ 242 h 1135"/>
              <a:gd name="T58" fmla="*/ 102 w 462"/>
              <a:gd name="T59" fmla="*/ 232 h 1135"/>
              <a:gd name="T60" fmla="*/ 105 w 462"/>
              <a:gd name="T61" fmla="*/ 223 h 1135"/>
              <a:gd name="T62" fmla="*/ 106 w 462"/>
              <a:gd name="T63" fmla="*/ 214 h 1135"/>
              <a:gd name="T64" fmla="*/ 110 w 462"/>
              <a:gd name="T65" fmla="*/ 201 h 1135"/>
              <a:gd name="T66" fmla="*/ 112 w 462"/>
              <a:gd name="T67" fmla="*/ 189 h 1135"/>
              <a:gd name="T68" fmla="*/ 112 w 462"/>
              <a:gd name="T69" fmla="*/ 182 h 1135"/>
              <a:gd name="T70" fmla="*/ 114 w 462"/>
              <a:gd name="T71" fmla="*/ 177 h 1135"/>
              <a:gd name="T72" fmla="*/ 116 w 462"/>
              <a:gd name="T73" fmla="*/ 166 h 1135"/>
              <a:gd name="T74" fmla="*/ 119 w 462"/>
              <a:gd name="T75" fmla="*/ 153 h 1135"/>
              <a:gd name="T76" fmla="*/ 125 w 462"/>
              <a:gd name="T77" fmla="*/ 109 h 1135"/>
              <a:gd name="T78" fmla="*/ 129 w 462"/>
              <a:gd name="T79" fmla="*/ 64 h 1135"/>
              <a:gd name="T80" fmla="*/ 131 w 462"/>
              <a:gd name="T81" fmla="*/ 53 h 1135"/>
              <a:gd name="T82" fmla="*/ 131 w 462"/>
              <a:gd name="T83" fmla="*/ 41 h 1135"/>
              <a:gd name="T84" fmla="*/ 131 w 462"/>
              <a:gd name="T85" fmla="*/ 39 h 1135"/>
              <a:gd name="T86" fmla="*/ 131 w 462"/>
              <a:gd name="T87" fmla="*/ 35 h 1135"/>
              <a:gd name="T88" fmla="*/ 132 w 462"/>
              <a:gd name="T89" fmla="*/ 26 h 1135"/>
              <a:gd name="T90" fmla="*/ 132 w 462"/>
              <a:gd name="T91" fmla="*/ 17 h 1135"/>
              <a:gd name="T92" fmla="*/ 132 w 462"/>
              <a:gd name="T93" fmla="*/ 7 h 1135"/>
              <a:gd name="T94" fmla="*/ 132 w 462"/>
              <a:gd name="T95" fmla="*/ 0 h 1135"/>
              <a:gd name="T96" fmla="*/ 133 w 462"/>
              <a:gd name="T97" fmla="*/ 68 h 1135"/>
              <a:gd name="T98" fmla="*/ 145 w 462"/>
              <a:gd name="T99" fmla="*/ 204 h 1135"/>
              <a:gd name="T100" fmla="*/ 168 w 462"/>
              <a:gd name="T101" fmla="*/ 335 h 1135"/>
              <a:gd name="T102" fmla="*/ 201 w 462"/>
              <a:gd name="T103" fmla="*/ 464 h 1135"/>
              <a:gd name="T104" fmla="*/ 243 w 462"/>
              <a:gd name="T105" fmla="*/ 587 h 1135"/>
              <a:gd name="T106" fmla="*/ 295 w 462"/>
              <a:gd name="T107" fmla="*/ 706 h 1135"/>
              <a:gd name="T108" fmla="*/ 355 w 462"/>
              <a:gd name="T109" fmla="*/ 820 h 1135"/>
              <a:gd name="T110" fmla="*/ 425 w 462"/>
              <a:gd name="T111" fmla="*/ 929 h 1135"/>
              <a:gd name="T112" fmla="*/ 462 w 462"/>
              <a:gd name="T113" fmla="*/ 981 h 1135"/>
              <a:gd name="T114" fmla="*/ 462 w 462"/>
              <a:gd name="T115" fmla="*/ 981 h 1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62" h="1135">
                <a:moveTo>
                  <a:pt x="462" y="981"/>
                </a:moveTo>
                <a:lnTo>
                  <a:pt x="460" y="985"/>
                </a:lnTo>
                <a:lnTo>
                  <a:pt x="457" y="989"/>
                </a:lnTo>
                <a:lnTo>
                  <a:pt x="443" y="1007"/>
                </a:lnTo>
                <a:lnTo>
                  <a:pt x="427" y="1025"/>
                </a:lnTo>
                <a:lnTo>
                  <a:pt x="418" y="1037"/>
                </a:lnTo>
                <a:lnTo>
                  <a:pt x="409" y="1048"/>
                </a:lnTo>
                <a:lnTo>
                  <a:pt x="408" y="1050"/>
                </a:lnTo>
                <a:lnTo>
                  <a:pt x="408" y="1050"/>
                </a:lnTo>
                <a:lnTo>
                  <a:pt x="396" y="1064"/>
                </a:lnTo>
                <a:lnTo>
                  <a:pt x="383" y="1078"/>
                </a:lnTo>
                <a:lnTo>
                  <a:pt x="369" y="1095"/>
                </a:lnTo>
                <a:lnTo>
                  <a:pt x="355" y="1110"/>
                </a:lnTo>
                <a:lnTo>
                  <a:pt x="343" y="1123"/>
                </a:lnTo>
                <a:lnTo>
                  <a:pt x="332" y="1135"/>
                </a:lnTo>
                <a:lnTo>
                  <a:pt x="276" y="1062"/>
                </a:lnTo>
                <a:lnTo>
                  <a:pt x="177" y="908"/>
                </a:lnTo>
                <a:lnTo>
                  <a:pt x="94" y="745"/>
                </a:lnTo>
                <a:lnTo>
                  <a:pt x="27" y="573"/>
                </a:lnTo>
                <a:lnTo>
                  <a:pt x="0" y="483"/>
                </a:lnTo>
                <a:lnTo>
                  <a:pt x="36" y="417"/>
                </a:lnTo>
                <a:lnTo>
                  <a:pt x="65" y="348"/>
                </a:lnTo>
                <a:lnTo>
                  <a:pt x="68" y="341"/>
                </a:lnTo>
                <a:lnTo>
                  <a:pt x="71" y="333"/>
                </a:lnTo>
                <a:lnTo>
                  <a:pt x="81" y="303"/>
                </a:lnTo>
                <a:lnTo>
                  <a:pt x="90" y="273"/>
                </a:lnTo>
                <a:lnTo>
                  <a:pt x="94" y="263"/>
                </a:lnTo>
                <a:lnTo>
                  <a:pt x="97" y="252"/>
                </a:lnTo>
                <a:lnTo>
                  <a:pt x="100" y="242"/>
                </a:lnTo>
                <a:lnTo>
                  <a:pt x="102" y="232"/>
                </a:lnTo>
                <a:lnTo>
                  <a:pt x="105" y="223"/>
                </a:lnTo>
                <a:lnTo>
                  <a:pt x="106" y="214"/>
                </a:lnTo>
                <a:lnTo>
                  <a:pt x="110" y="201"/>
                </a:lnTo>
                <a:lnTo>
                  <a:pt x="112" y="189"/>
                </a:lnTo>
                <a:lnTo>
                  <a:pt x="112" y="182"/>
                </a:lnTo>
                <a:lnTo>
                  <a:pt x="114" y="177"/>
                </a:lnTo>
                <a:lnTo>
                  <a:pt x="116" y="166"/>
                </a:lnTo>
                <a:lnTo>
                  <a:pt x="119" y="153"/>
                </a:lnTo>
                <a:lnTo>
                  <a:pt x="125" y="109"/>
                </a:lnTo>
                <a:lnTo>
                  <a:pt x="129" y="64"/>
                </a:lnTo>
                <a:lnTo>
                  <a:pt x="131" y="53"/>
                </a:lnTo>
                <a:lnTo>
                  <a:pt x="131" y="41"/>
                </a:lnTo>
                <a:lnTo>
                  <a:pt x="131" y="39"/>
                </a:lnTo>
                <a:lnTo>
                  <a:pt x="131" y="35"/>
                </a:lnTo>
                <a:lnTo>
                  <a:pt x="132" y="26"/>
                </a:lnTo>
                <a:lnTo>
                  <a:pt x="132" y="17"/>
                </a:lnTo>
                <a:lnTo>
                  <a:pt x="132" y="7"/>
                </a:lnTo>
                <a:lnTo>
                  <a:pt x="132" y="0"/>
                </a:lnTo>
                <a:lnTo>
                  <a:pt x="133" y="68"/>
                </a:lnTo>
                <a:lnTo>
                  <a:pt x="145" y="204"/>
                </a:lnTo>
                <a:lnTo>
                  <a:pt x="168" y="335"/>
                </a:lnTo>
                <a:lnTo>
                  <a:pt x="201" y="464"/>
                </a:lnTo>
                <a:lnTo>
                  <a:pt x="243" y="587"/>
                </a:lnTo>
                <a:lnTo>
                  <a:pt x="295" y="706"/>
                </a:lnTo>
                <a:lnTo>
                  <a:pt x="355" y="820"/>
                </a:lnTo>
                <a:lnTo>
                  <a:pt x="425" y="929"/>
                </a:lnTo>
                <a:lnTo>
                  <a:pt x="462" y="981"/>
                </a:lnTo>
                <a:lnTo>
                  <a:pt x="462" y="981"/>
                </a:lnTo>
                <a:close/>
              </a:path>
            </a:pathLst>
          </a:custGeom>
          <a:solidFill>
            <a:srgbClr val="0089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590">
            <a:extLst>
              <a:ext uri="{FF2B5EF4-FFF2-40B4-BE49-F238E27FC236}">
                <a16:creationId xmlns:a16="http://schemas.microsoft.com/office/drawing/2014/main" id="{B94EFF59-075B-53CA-1739-254425C934AA}"/>
              </a:ext>
            </a:extLst>
          </p:cNvPr>
          <p:cNvSpPr>
            <a:spLocks/>
          </p:cNvSpPr>
          <p:nvPr/>
        </p:nvSpPr>
        <p:spPr bwMode="auto">
          <a:xfrm>
            <a:off x="1850421" y="1937794"/>
            <a:ext cx="160270" cy="392385"/>
          </a:xfrm>
          <a:custGeom>
            <a:avLst/>
            <a:gdLst>
              <a:gd name="T0" fmla="*/ 132 w 462"/>
              <a:gd name="T1" fmla="*/ 0 h 1135"/>
              <a:gd name="T2" fmla="*/ 132 w 462"/>
              <a:gd name="T3" fmla="*/ 7 h 1135"/>
              <a:gd name="T4" fmla="*/ 132 w 462"/>
              <a:gd name="T5" fmla="*/ 17 h 1135"/>
              <a:gd name="T6" fmla="*/ 132 w 462"/>
              <a:gd name="T7" fmla="*/ 26 h 1135"/>
              <a:gd name="T8" fmla="*/ 131 w 462"/>
              <a:gd name="T9" fmla="*/ 35 h 1135"/>
              <a:gd name="T10" fmla="*/ 131 w 462"/>
              <a:gd name="T11" fmla="*/ 39 h 1135"/>
              <a:gd name="T12" fmla="*/ 131 w 462"/>
              <a:gd name="T13" fmla="*/ 41 h 1135"/>
              <a:gd name="T14" fmla="*/ 131 w 462"/>
              <a:gd name="T15" fmla="*/ 53 h 1135"/>
              <a:gd name="T16" fmla="*/ 129 w 462"/>
              <a:gd name="T17" fmla="*/ 64 h 1135"/>
              <a:gd name="T18" fmla="*/ 125 w 462"/>
              <a:gd name="T19" fmla="*/ 109 h 1135"/>
              <a:gd name="T20" fmla="*/ 119 w 462"/>
              <a:gd name="T21" fmla="*/ 153 h 1135"/>
              <a:gd name="T22" fmla="*/ 116 w 462"/>
              <a:gd name="T23" fmla="*/ 166 h 1135"/>
              <a:gd name="T24" fmla="*/ 114 w 462"/>
              <a:gd name="T25" fmla="*/ 177 h 1135"/>
              <a:gd name="T26" fmla="*/ 112 w 462"/>
              <a:gd name="T27" fmla="*/ 182 h 1135"/>
              <a:gd name="T28" fmla="*/ 112 w 462"/>
              <a:gd name="T29" fmla="*/ 189 h 1135"/>
              <a:gd name="T30" fmla="*/ 110 w 462"/>
              <a:gd name="T31" fmla="*/ 201 h 1135"/>
              <a:gd name="T32" fmla="*/ 106 w 462"/>
              <a:gd name="T33" fmla="*/ 214 h 1135"/>
              <a:gd name="T34" fmla="*/ 105 w 462"/>
              <a:gd name="T35" fmla="*/ 223 h 1135"/>
              <a:gd name="T36" fmla="*/ 102 w 462"/>
              <a:gd name="T37" fmla="*/ 232 h 1135"/>
              <a:gd name="T38" fmla="*/ 100 w 462"/>
              <a:gd name="T39" fmla="*/ 242 h 1135"/>
              <a:gd name="T40" fmla="*/ 97 w 462"/>
              <a:gd name="T41" fmla="*/ 252 h 1135"/>
              <a:gd name="T42" fmla="*/ 94 w 462"/>
              <a:gd name="T43" fmla="*/ 263 h 1135"/>
              <a:gd name="T44" fmla="*/ 90 w 462"/>
              <a:gd name="T45" fmla="*/ 273 h 1135"/>
              <a:gd name="T46" fmla="*/ 81 w 462"/>
              <a:gd name="T47" fmla="*/ 303 h 1135"/>
              <a:gd name="T48" fmla="*/ 71 w 462"/>
              <a:gd name="T49" fmla="*/ 333 h 1135"/>
              <a:gd name="T50" fmla="*/ 65 w 462"/>
              <a:gd name="T51" fmla="*/ 348 h 1135"/>
              <a:gd name="T52" fmla="*/ 36 w 462"/>
              <a:gd name="T53" fmla="*/ 417 h 1135"/>
              <a:gd name="T54" fmla="*/ 0 w 462"/>
              <a:gd name="T55" fmla="*/ 483 h 1135"/>
              <a:gd name="T56" fmla="*/ 27 w 462"/>
              <a:gd name="T57" fmla="*/ 573 h 1135"/>
              <a:gd name="T58" fmla="*/ 94 w 462"/>
              <a:gd name="T59" fmla="*/ 745 h 1135"/>
              <a:gd name="T60" fmla="*/ 177 w 462"/>
              <a:gd name="T61" fmla="*/ 908 h 1135"/>
              <a:gd name="T62" fmla="*/ 276 w 462"/>
              <a:gd name="T63" fmla="*/ 1062 h 1135"/>
              <a:gd name="T64" fmla="*/ 332 w 462"/>
              <a:gd name="T65" fmla="*/ 1135 h 1135"/>
              <a:gd name="T66" fmla="*/ 343 w 462"/>
              <a:gd name="T67" fmla="*/ 1123 h 1135"/>
              <a:gd name="T68" fmla="*/ 355 w 462"/>
              <a:gd name="T69" fmla="*/ 1110 h 1135"/>
              <a:gd name="T70" fmla="*/ 369 w 462"/>
              <a:gd name="T71" fmla="*/ 1095 h 1135"/>
              <a:gd name="T72" fmla="*/ 383 w 462"/>
              <a:gd name="T73" fmla="*/ 1078 h 1135"/>
              <a:gd name="T74" fmla="*/ 396 w 462"/>
              <a:gd name="T75" fmla="*/ 1064 h 1135"/>
              <a:gd name="T76" fmla="*/ 408 w 462"/>
              <a:gd name="T77" fmla="*/ 1050 h 1135"/>
              <a:gd name="T78" fmla="*/ 408 w 462"/>
              <a:gd name="T79" fmla="*/ 1050 h 1135"/>
              <a:gd name="T80" fmla="*/ 409 w 462"/>
              <a:gd name="T81" fmla="*/ 1048 h 1135"/>
              <a:gd name="T82" fmla="*/ 418 w 462"/>
              <a:gd name="T83" fmla="*/ 1037 h 1135"/>
              <a:gd name="T84" fmla="*/ 427 w 462"/>
              <a:gd name="T85" fmla="*/ 1025 h 1135"/>
              <a:gd name="T86" fmla="*/ 443 w 462"/>
              <a:gd name="T87" fmla="*/ 1007 h 1135"/>
              <a:gd name="T88" fmla="*/ 457 w 462"/>
              <a:gd name="T89" fmla="*/ 989 h 1135"/>
              <a:gd name="T90" fmla="*/ 460 w 462"/>
              <a:gd name="T91" fmla="*/ 985 h 1135"/>
              <a:gd name="T92" fmla="*/ 462 w 462"/>
              <a:gd name="T93" fmla="*/ 981 h 1135"/>
              <a:gd name="T94" fmla="*/ 425 w 462"/>
              <a:gd name="T95" fmla="*/ 929 h 1135"/>
              <a:gd name="T96" fmla="*/ 355 w 462"/>
              <a:gd name="T97" fmla="*/ 820 h 1135"/>
              <a:gd name="T98" fmla="*/ 295 w 462"/>
              <a:gd name="T99" fmla="*/ 706 h 1135"/>
              <a:gd name="T100" fmla="*/ 243 w 462"/>
              <a:gd name="T101" fmla="*/ 587 h 1135"/>
              <a:gd name="T102" fmla="*/ 201 w 462"/>
              <a:gd name="T103" fmla="*/ 464 h 1135"/>
              <a:gd name="T104" fmla="*/ 168 w 462"/>
              <a:gd name="T105" fmla="*/ 335 h 1135"/>
              <a:gd name="T106" fmla="*/ 145 w 462"/>
              <a:gd name="T107" fmla="*/ 204 h 1135"/>
              <a:gd name="T108" fmla="*/ 133 w 462"/>
              <a:gd name="T109" fmla="*/ 68 h 1135"/>
              <a:gd name="T110" fmla="*/ 132 w 462"/>
              <a:gd name="T111" fmla="*/ 0 h 1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62" h="1135">
                <a:moveTo>
                  <a:pt x="132" y="0"/>
                </a:moveTo>
                <a:lnTo>
                  <a:pt x="132" y="7"/>
                </a:lnTo>
                <a:lnTo>
                  <a:pt x="132" y="17"/>
                </a:lnTo>
                <a:lnTo>
                  <a:pt x="132" y="26"/>
                </a:lnTo>
                <a:lnTo>
                  <a:pt x="131" y="35"/>
                </a:lnTo>
                <a:lnTo>
                  <a:pt x="131" y="39"/>
                </a:lnTo>
                <a:lnTo>
                  <a:pt x="131" y="41"/>
                </a:lnTo>
                <a:lnTo>
                  <a:pt x="131" y="53"/>
                </a:lnTo>
                <a:lnTo>
                  <a:pt x="129" y="64"/>
                </a:lnTo>
                <a:lnTo>
                  <a:pt x="125" y="109"/>
                </a:lnTo>
                <a:lnTo>
                  <a:pt x="119" y="153"/>
                </a:lnTo>
                <a:lnTo>
                  <a:pt x="116" y="166"/>
                </a:lnTo>
                <a:lnTo>
                  <a:pt x="114" y="177"/>
                </a:lnTo>
                <a:lnTo>
                  <a:pt x="112" y="182"/>
                </a:lnTo>
                <a:lnTo>
                  <a:pt x="112" y="189"/>
                </a:lnTo>
                <a:lnTo>
                  <a:pt x="110" y="201"/>
                </a:lnTo>
                <a:lnTo>
                  <a:pt x="106" y="214"/>
                </a:lnTo>
                <a:lnTo>
                  <a:pt x="105" y="223"/>
                </a:lnTo>
                <a:lnTo>
                  <a:pt x="102" y="232"/>
                </a:lnTo>
                <a:lnTo>
                  <a:pt x="100" y="242"/>
                </a:lnTo>
                <a:lnTo>
                  <a:pt x="97" y="252"/>
                </a:lnTo>
                <a:lnTo>
                  <a:pt x="94" y="263"/>
                </a:lnTo>
                <a:lnTo>
                  <a:pt x="90" y="273"/>
                </a:lnTo>
                <a:lnTo>
                  <a:pt x="81" y="303"/>
                </a:lnTo>
                <a:lnTo>
                  <a:pt x="71" y="333"/>
                </a:lnTo>
                <a:lnTo>
                  <a:pt x="65" y="348"/>
                </a:lnTo>
                <a:lnTo>
                  <a:pt x="36" y="417"/>
                </a:lnTo>
                <a:lnTo>
                  <a:pt x="0" y="483"/>
                </a:lnTo>
                <a:lnTo>
                  <a:pt x="27" y="573"/>
                </a:lnTo>
                <a:lnTo>
                  <a:pt x="94" y="745"/>
                </a:lnTo>
                <a:lnTo>
                  <a:pt x="177" y="908"/>
                </a:lnTo>
                <a:lnTo>
                  <a:pt x="276" y="1062"/>
                </a:lnTo>
                <a:lnTo>
                  <a:pt x="332" y="1135"/>
                </a:lnTo>
                <a:lnTo>
                  <a:pt x="343" y="1123"/>
                </a:lnTo>
                <a:lnTo>
                  <a:pt x="355" y="1110"/>
                </a:lnTo>
                <a:lnTo>
                  <a:pt x="369" y="1095"/>
                </a:lnTo>
                <a:lnTo>
                  <a:pt x="383" y="1078"/>
                </a:lnTo>
                <a:lnTo>
                  <a:pt x="396" y="1064"/>
                </a:lnTo>
                <a:lnTo>
                  <a:pt x="408" y="1050"/>
                </a:lnTo>
                <a:lnTo>
                  <a:pt x="408" y="1050"/>
                </a:lnTo>
                <a:lnTo>
                  <a:pt x="409" y="1048"/>
                </a:lnTo>
                <a:lnTo>
                  <a:pt x="418" y="1037"/>
                </a:lnTo>
                <a:lnTo>
                  <a:pt x="427" y="1025"/>
                </a:lnTo>
                <a:lnTo>
                  <a:pt x="443" y="1007"/>
                </a:lnTo>
                <a:lnTo>
                  <a:pt x="457" y="989"/>
                </a:lnTo>
                <a:lnTo>
                  <a:pt x="460" y="985"/>
                </a:lnTo>
                <a:lnTo>
                  <a:pt x="462" y="981"/>
                </a:lnTo>
                <a:lnTo>
                  <a:pt x="425" y="929"/>
                </a:lnTo>
                <a:lnTo>
                  <a:pt x="355" y="820"/>
                </a:lnTo>
                <a:lnTo>
                  <a:pt x="295" y="706"/>
                </a:lnTo>
                <a:lnTo>
                  <a:pt x="243" y="587"/>
                </a:lnTo>
                <a:lnTo>
                  <a:pt x="201" y="464"/>
                </a:lnTo>
                <a:lnTo>
                  <a:pt x="168" y="335"/>
                </a:lnTo>
                <a:lnTo>
                  <a:pt x="145" y="204"/>
                </a:lnTo>
                <a:lnTo>
                  <a:pt x="133" y="68"/>
                </a:lnTo>
                <a:lnTo>
                  <a:pt x="132" y="0"/>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9" name="Freeform: Shape 97">
            <a:extLst>
              <a:ext uri="{FF2B5EF4-FFF2-40B4-BE49-F238E27FC236}">
                <a16:creationId xmlns:a16="http://schemas.microsoft.com/office/drawing/2014/main" id="{7F1402CA-E872-FFA2-D16B-5E721DEB141F}"/>
              </a:ext>
            </a:extLst>
          </p:cNvPr>
          <p:cNvSpPr>
            <a:spLocks/>
          </p:cNvSpPr>
          <p:nvPr/>
        </p:nvSpPr>
        <p:spPr bwMode="auto">
          <a:xfrm>
            <a:off x="1896016" y="1933648"/>
            <a:ext cx="3941813" cy="571998"/>
          </a:xfrm>
          <a:custGeom>
            <a:avLst/>
            <a:gdLst>
              <a:gd name="connsiteX0" fmla="*/ 0 w 3941813"/>
              <a:gd name="connsiteY0" fmla="*/ 0 h 571998"/>
              <a:gd name="connsiteX1" fmla="*/ 228336 w 3941813"/>
              <a:gd name="connsiteY1" fmla="*/ 0 h 571998"/>
              <a:gd name="connsiteX2" fmla="*/ 228336 w 3941813"/>
              <a:gd name="connsiteY2" fmla="*/ 1035 h 571998"/>
              <a:gd name="connsiteX3" fmla="*/ 228336 w 3941813"/>
              <a:gd name="connsiteY3" fmla="*/ 2070 h 571998"/>
              <a:gd name="connsiteX4" fmla="*/ 228336 w 3941813"/>
              <a:gd name="connsiteY4" fmla="*/ 3450 h 571998"/>
              <a:gd name="connsiteX5" fmla="*/ 228336 w 3941813"/>
              <a:gd name="connsiteY5" fmla="*/ 4485 h 571998"/>
              <a:gd name="connsiteX6" fmla="*/ 228336 w 3941813"/>
              <a:gd name="connsiteY6" fmla="*/ 6555 h 571998"/>
              <a:gd name="connsiteX7" fmla="*/ 228336 w 3941813"/>
              <a:gd name="connsiteY7" fmla="*/ 8625 h 571998"/>
              <a:gd name="connsiteX8" fmla="*/ 228336 w 3941813"/>
              <a:gd name="connsiteY8" fmla="*/ 13110 h 571998"/>
              <a:gd name="connsiteX9" fmla="*/ 228681 w 3941813"/>
              <a:gd name="connsiteY9" fmla="*/ 17595 h 571998"/>
              <a:gd name="connsiteX10" fmla="*/ 228681 w 3941813"/>
              <a:gd name="connsiteY10" fmla="*/ 21045 h 571998"/>
              <a:gd name="connsiteX11" fmla="*/ 229372 w 3941813"/>
              <a:gd name="connsiteY11" fmla="*/ 24495 h 571998"/>
              <a:gd name="connsiteX12" fmla="*/ 229561 w 3941813"/>
              <a:gd name="connsiteY12" fmla="*/ 29949 h 571998"/>
              <a:gd name="connsiteX13" fmla="*/ 230860 w 3941813"/>
              <a:gd name="connsiteY13" fmla="*/ 43059 h 571998"/>
              <a:gd name="connsiteX14" fmla="*/ 231099 w 3941813"/>
              <a:gd name="connsiteY14" fmla="*/ 44849 h 571998"/>
              <a:gd name="connsiteX15" fmla="*/ 231445 w 3941813"/>
              <a:gd name="connsiteY15" fmla="*/ 47954 h 571998"/>
              <a:gd name="connsiteX16" fmla="*/ 231790 w 3941813"/>
              <a:gd name="connsiteY16" fmla="*/ 51059 h 571998"/>
              <a:gd name="connsiteX17" fmla="*/ 232439 w 3941813"/>
              <a:gd name="connsiteY17" fmla="*/ 55431 h 571998"/>
              <a:gd name="connsiteX18" fmla="*/ 237460 w 3941813"/>
              <a:gd name="connsiteY18" fmla="*/ 78594 h 571998"/>
              <a:gd name="connsiteX19" fmla="*/ 239935 w 3941813"/>
              <a:gd name="connsiteY19" fmla="*/ 88754 h 571998"/>
              <a:gd name="connsiteX20" fmla="*/ 249062 w 3941813"/>
              <a:gd name="connsiteY20" fmla="*/ 117988 h 571998"/>
              <a:gd name="connsiteX21" fmla="*/ 258766 w 3941813"/>
              <a:gd name="connsiteY21" fmla="*/ 141560 h 571998"/>
              <a:gd name="connsiteX22" fmla="*/ 260462 w 3941813"/>
              <a:gd name="connsiteY22" fmla="*/ 145242 h 571998"/>
              <a:gd name="connsiteX23" fmla="*/ 261844 w 3941813"/>
              <a:gd name="connsiteY23" fmla="*/ 148347 h 571998"/>
              <a:gd name="connsiteX24" fmla="*/ 263571 w 3941813"/>
              <a:gd name="connsiteY24" fmla="*/ 152142 h 571998"/>
              <a:gd name="connsiteX25" fmla="*/ 265643 w 3941813"/>
              <a:gd name="connsiteY25" fmla="*/ 155592 h 571998"/>
              <a:gd name="connsiteX26" fmla="*/ 267371 w 3941813"/>
              <a:gd name="connsiteY26" fmla="*/ 158697 h 571998"/>
              <a:gd name="connsiteX27" fmla="*/ 269060 w 3941813"/>
              <a:gd name="connsiteY27" fmla="*/ 162072 h 571998"/>
              <a:gd name="connsiteX28" fmla="*/ 276558 w 3941813"/>
              <a:gd name="connsiteY28" fmla="*/ 175613 h 571998"/>
              <a:gd name="connsiteX29" fmla="*/ 277043 w 3941813"/>
              <a:gd name="connsiteY29" fmla="*/ 176291 h 571998"/>
              <a:gd name="connsiteX30" fmla="*/ 278368 w 3941813"/>
              <a:gd name="connsiteY30" fmla="*/ 178791 h 571998"/>
              <a:gd name="connsiteX31" fmla="*/ 295536 w 3941813"/>
              <a:gd name="connsiteY31" fmla="*/ 204348 h 571998"/>
              <a:gd name="connsiteX32" fmla="*/ 296042 w 3941813"/>
              <a:gd name="connsiteY32" fmla="*/ 204926 h 571998"/>
              <a:gd name="connsiteX33" fmla="*/ 298303 w 3941813"/>
              <a:gd name="connsiteY33" fmla="*/ 207936 h 571998"/>
              <a:gd name="connsiteX34" fmla="*/ 316635 w 3941813"/>
              <a:gd name="connsiteY34" fmla="*/ 230146 h 571998"/>
              <a:gd name="connsiteX35" fmla="*/ 318158 w 3941813"/>
              <a:gd name="connsiteY35" fmla="*/ 231823 h 571998"/>
              <a:gd name="connsiteX36" fmla="*/ 341295 w 3941813"/>
              <a:gd name="connsiteY36" fmla="*/ 254260 h 571998"/>
              <a:gd name="connsiteX37" fmla="*/ 364855 w 3941813"/>
              <a:gd name="connsiteY37" fmla="*/ 274566 h 571998"/>
              <a:gd name="connsiteX38" fmla="*/ 383255 w 3941813"/>
              <a:gd name="connsiteY38" fmla="*/ 287072 h 571998"/>
              <a:gd name="connsiteX39" fmla="*/ 390494 w 3941813"/>
              <a:gd name="connsiteY39" fmla="*/ 291862 h 571998"/>
              <a:gd name="connsiteX40" fmla="*/ 396550 w 3941813"/>
              <a:gd name="connsiteY40" fmla="*/ 295622 h 571998"/>
              <a:gd name="connsiteX41" fmla="*/ 409034 w 3941813"/>
              <a:gd name="connsiteY41" fmla="*/ 302598 h 571998"/>
              <a:gd name="connsiteX42" fmla="*/ 419364 w 3941813"/>
              <a:gd name="connsiteY42" fmla="*/ 308079 h 571998"/>
              <a:gd name="connsiteX43" fmla="*/ 431109 w 3941813"/>
              <a:gd name="connsiteY43" fmla="*/ 313598 h 571998"/>
              <a:gd name="connsiteX44" fmla="*/ 433413 w 3941813"/>
              <a:gd name="connsiteY44" fmla="*/ 314749 h 571998"/>
              <a:gd name="connsiteX45" fmla="*/ 445124 w 3941813"/>
              <a:gd name="connsiteY45" fmla="*/ 319611 h 571998"/>
              <a:gd name="connsiteX46" fmla="*/ 450799 w 3941813"/>
              <a:gd name="connsiteY46" fmla="*/ 321878 h 571998"/>
              <a:gd name="connsiteX47" fmla="*/ 462312 w 3941813"/>
              <a:gd name="connsiteY47" fmla="*/ 325820 h 571998"/>
              <a:gd name="connsiteX48" fmla="*/ 480775 w 3941813"/>
              <a:gd name="connsiteY48" fmla="*/ 331449 h 571998"/>
              <a:gd name="connsiteX49" fmla="*/ 490525 w 3941813"/>
              <a:gd name="connsiteY49" fmla="*/ 333953 h 571998"/>
              <a:gd name="connsiteX50" fmla="*/ 499752 w 3941813"/>
              <a:gd name="connsiteY50" fmla="*/ 335946 h 571998"/>
              <a:gd name="connsiteX51" fmla="*/ 520232 w 3941813"/>
              <a:gd name="connsiteY51" fmla="*/ 340163 h 571998"/>
              <a:gd name="connsiteX52" fmla="*/ 554124 w 3941813"/>
              <a:gd name="connsiteY52" fmla="*/ 343209 h 571998"/>
              <a:gd name="connsiteX53" fmla="*/ 555122 w 3941813"/>
              <a:gd name="connsiteY53" fmla="*/ 343268 h 571998"/>
              <a:gd name="connsiteX54" fmla="*/ 555467 w 3941813"/>
              <a:gd name="connsiteY54" fmla="*/ 343294 h 571998"/>
              <a:gd name="connsiteX55" fmla="*/ 572739 w 3941813"/>
              <a:gd name="connsiteY55" fmla="*/ 343958 h 571998"/>
              <a:gd name="connsiteX56" fmla="*/ 3862707 w 3941813"/>
              <a:gd name="connsiteY56" fmla="*/ 343958 h 571998"/>
              <a:gd name="connsiteX57" fmla="*/ 3941813 w 3941813"/>
              <a:gd name="connsiteY57" fmla="*/ 343958 h 571998"/>
              <a:gd name="connsiteX58" fmla="*/ 3941813 w 3941813"/>
              <a:gd name="connsiteY58" fmla="*/ 388462 h 571998"/>
              <a:gd name="connsiteX59" fmla="*/ 3940777 w 3941813"/>
              <a:gd name="connsiteY59" fmla="*/ 407437 h 571998"/>
              <a:gd name="connsiteX60" fmla="*/ 3933868 w 3941813"/>
              <a:gd name="connsiteY60" fmla="*/ 442971 h 571998"/>
              <a:gd name="connsiteX61" fmla="*/ 3920050 w 3941813"/>
              <a:gd name="connsiteY61" fmla="*/ 476090 h 571998"/>
              <a:gd name="connsiteX62" fmla="*/ 3900015 w 3941813"/>
              <a:gd name="connsiteY62" fmla="*/ 505415 h 571998"/>
              <a:gd name="connsiteX63" fmla="*/ 3875143 w 3941813"/>
              <a:gd name="connsiteY63" fmla="*/ 530254 h 571998"/>
              <a:gd name="connsiteX64" fmla="*/ 3846126 w 3941813"/>
              <a:gd name="connsiteY64" fmla="*/ 549919 h 571998"/>
              <a:gd name="connsiteX65" fmla="*/ 3812964 w 3941813"/>
              <a:gd name="connsiteY65" fmla="*/ 563718 h 571998"/>
              <a:gd name="connsiteX66" fmla="*/ 3777038 w 3941813"/>
              <a:gd name="connsiteY66" fmla="*/ 570963 h 571998"/>
              <a:gd name="connsiteX67" fmla="*/ 3758385 w 3941813"/>
              <a:gd name="connsiteY67" fmla="*/ 571998 h 571998"/>
              <a:gd name="connsiteX68" fmla="*/ 572739 w 3941813"/>
              <a:gd name="connsiteY68" fmla="*/ 571998 h 571998"/>
              <a:gd name="connsiteX69" fmla="*/ 543032 w 3941813"/>
              <a:gd name="connsiteY69" fmla="*/ 571308 h 571998"/>
              <a:gd name="connsiteX70" fmla="*/ 485343 w 3941813"/>
              <a:gd name="connsiteY70" fmla="*/ 565788 h 571998"/>
              <a:gd name="connsiteX71" fmla="*/ 429382 w 3941813"/>
              <a:gd name="connsiteY71" fmla="*/ 554059 h 571998"/>
              <a:gd name="connsiteX72" fmla="*/ 375493 w 3941813"/>
              <a:gd name="connsiteY72" fmla="*/ 537499 h 571998"/>
              <a:gd name="connsiteX73" fmla="*/ 324023 w 3941813"/>
              <a:gd name="connsiteY73" fmla="*/ 515419 h 571998"/>
              <a:gd name="connsiteX74" fmla="*/ 275661 w 3941813"/>
              <a:gd name="connsiteY74" fmla="*/ 489200 h 571998"/>
              <a:gd name="connsiteX75" fmla="*/ 229718 w 3941813"/>
              <a:gd name="connsiteY75" fmla="*/ 458495 h 571998"/>
              <a:gd name="connsiteX76" fmla="*/ 187574 w 3941813"/>
              <a:gd name="connsiteY76" fmla="*/ 423306 h 571998"/>
              <a:gd name="connsiteX77" fmla="*/ 148539 w 3941813"/>
              <a:gd name="connsiteY77" fmla="*/ 384667 h 571998"/>
              <a:gd name="connsiteX78" fmla="*/ 113650 w 3941813"/>
              <a:gd name="connsiteY78" fmla="*/ 342233 h 571998"/>
              <a:gd name="connsiteX79" fmla="*/ 82906 w 3941813"/>
              <a:gd name="connsiteY79" fmla="*/ 296349 h 571998"/>
              <a:gd name="connsiteX80" fmla="*/ 56307 w 3941813"/>
              <a:gd name="connsiteY80" fmla="*/ 248050 h 571998"/>
              <a:gd name="connsiteX81" fmla="*/ 34544 w 3941813"/>
              <a:gd name="connsiteY81" fmla="*/ 196646 h 571998"/>
              <a:gd name="connsiteX82" fmla="*/ 17963 w 3941813"/>
              <a:gd name="connsiteY82" fmla="*/ 143172 h 571998"/>
              <a:gd name="connsiteX83" fmla="*/ 6218 w 3941813"/>
              <a:gd name="connsiteY83" fmla="*/ 87283 h 571998"/>
              <a:gd name="connsiteX84" fmla="*/ 346 w 3941813"/>
              <a:gd name="connsiteY84" fmla="*/ 29669 h 571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3941813" h="571998">
                <a:moveTo>
                  <a:pt x="0" y="0"/>
                </a:moveTo>
                <a:lnTo>
                  <a:pt x="228336" y="0"/>
                </a:lnTo>
                <a:lnTo>
                  <a:pt x="228336" y="1035"/>
                </a:lnTo>
                <a:lnTo>
                  <a:pt x="228336" y="2070"/>
                </a:lnTo>
                <a:lnTo>
                  <a:pt x="228336" y="3450"/>
                </a:lnTo>
                <a:lnTo>
                  <a:pt x="228336" y="4485"/>
                </a:lnTo>
                <a:lnTo>
                  <a:pt x="228336" y="6555"/>
                </a:lnTo>
                <a:lnTo>
                  <a:pt x="228336" y="8625"/>
                </a:lnTo>
                <a:lnTo>
                  <a:pt x="228336" y="13110"/>
                </a:lnTo>
                <a:lnTo>
                  <a:pt x="228681" y="17595"/>
                </a:lnTo>
                <a:lnTo>
                  <a:pt x="228681" y="21045"/>
                </a:lnTo>
                <a:lnTo>
                  <a:pt x="229372" y="24495"/>
                </a:lnTo>
                <a:lnTo>
                  <a:pt x="229561" y="29949"/>
                </a:lnTo>
                <a:lnTo>
                  <a:pt x="230860" y="43059"/>
                </a:lnTo>
                <a:lnTo>
                  <a:pt x="231099" y="44849"/>
                </a:lnTo>
                <a:lnTo>
                  <a:pt x="231445" y="47954"/>
                </a:lnTo>
                <a:lnTo>
                  <a:pt x="231790" y="51059"/>
                </a:lnTo>
                <a:lnTo>
                  <a:pt x="232439" y="55431"/>
                </a:lnTo>
                <a:lnTo>
                  <a:pt x="237460" y="78594"/>
                </a:lnTo>
                <a:lnTo>
                  <a:pt x="239935" y="88754"/>
                </a:lnTo>
                <a:lnTo>
                  <a:pt x="249062" y="117988"/>
                </a:lnTo>
                <a:lnTo>
                  <a:pt x="258766" y="141560"/>
                </a:lnTo>
                <a:lnTo>
                  <a:pt x="260462" y="145242"/>
                </a:lnTo>
                <a:lnTo>
                  <a:pt x="261844" y="148347"/>
                </a:lnTo>
                <a:lnTo>
                  <a:pt x="263571" y="152142"/>
                </a:lnTo>
                <a:lnTo>
                  <a:pt x="265643" y="155592"/>
                </a:lnTo>
                <a:lnTo>
                  <a:pt x="267371" y="158697"/>
                </a:lnTo>
                <a:lnTo>
                  <a:pt x="269060" y="162072"/>
                </a:lnTo>
                <a:lnTo>
                  <a:pt x="276558" y="175613"/>
                </a:lnTo>
                <a:lnTo>
                  <a:pt x="277043" y="176291"/>
                </a:lnTo>
                <a:lnTo>
                  <a:pt x="278368" y="178791"/>
                </a:lnTo>
                <a:lnTo>
                  <a:pt x="295536" y="204348"/>
                </a:lnTo>
                <a:lnTo>
                  <a:pt x="296042" y="204926"/>
                </a:lnTo>
                <a:lnTo>
                  <a:pt x="298303" y="207936"/>
                </a:lnTo>
                <a:lnTo>
                  <a:pt x="316635" y="230146"/>
                </a:lnTo>
                <a:lnTo>
                  <a:pt x="318158" y="231823"/>
                </a:lnTo>
                <a:lnTo>
                  <a:pt x="341295" y="254260"/>
                </a:lnTo>
                <a:lnTo>
                  <a:pt x="364855" y="274566"/>
                </a:lnTo>
                <a:lnTo>
                  <a:pt x="383255" y="287072"/>
                </a:lnTo>
                <a:lnTo>
                  <a:pt x="390494" y="291862"/>
                </a:lnTo>
                <a:lnTo>
                  <a:pt x="396550" y="295622"/>
                </a:lnTo>
                <a:lnTo>
                  <a:pt x="409034" y="302598"/>
                </a:lnTo>
                <a:lnTo>
                  <a:pt x="419364" y="308079"/>
                </a:lnTo>
                <a:lnTo>
                  <a:pt x="431109" y="313598"/>
                </a:lnTo>
                <a:lnTo>
                  <a:pt x="433413" y="314749"/>
                </a:lnTo>
                <a:lnTo>
                  <a:pt x="445124" y="319611"/>
                </a:lnTo>
                <a:lnTo>
                  <a:pt x="450799" y="321878"/>
                </a:lnTo>
                <a:lnTo>
                  <a:pt x="462312" y="325820"/>
                </a:lnTo>
                <a:lnTo>
                  <a:pt x="480775" y="331449"/>
                </a:lnTo>
                <a:lnTo>
                  <a:pt x="490525" y="333953"/>
                </a:lnTo>
                <a:lnTo>
                  <a:pt x="499752" y="335946"/>
                </a:lnTo>
                <a:lnTo>
                  <a:pt x="520232" y="340163"/>
                </a:lnTo>
                <a:lnTo>
                  <a:pt x="554124" y="343209"/>
                </a:lnTo>
                <a:lnTo>
                  <a:pt x="555122" y="343268"/>
                </a:lnTo>
                <a:lnTo>
                  <a:pt x="555467" y="343294"/>
                </a:lnTo>
                <a:lnTo>
                  <a:pt x="572739" y="343958"/>
                </a:lnTo>
                <a:lnTo>
                  <a:pt x="3862707" y="343958"/>
                </a:lnTo>
                <a:lnTo>
                  <a:pt x="3941813" y="343958"/>
                </a:lnTo>
                <a:lnTo>
                  <a:pt x="3941813" y="388462"/>
                </a:lnTo>
                <a:lnTo>
                  <a:pt x="3940777" y="407437"/>
                </a:lnTo>
                <a:lnTo>
                  <a:pt x="3933868" y="442971"/>
                </a:lnTo>
                <a:lnTo>
                  <a:pt x="3920050" y="476090"/>
                </a:lnTo>
                <a:lnTo>
                  <a:pt x="3900015" y="505415"/>
                </a:lnTo>
                <a:lnTo>
                  <a:pt x="3875143" y="530254"/>
                </a:lnTo>
                <a:lnTo>
                  <a:pt x="3846126" y="549919"/>
                </a:lnTo>
                <a:lnTo>
                  <a:pt x="3812964" y="563718"/>
                </a:lnTo>
                <a:lnTo>
                  <a:pt x="3777038" y="570963"/>
                </a:lnTo>
                <a:lnTo>
                  <a:pt x="3758385" y="571998"/>
                </a:lnTo>
                <a:lnTo>
                  <a:pt x="572739" y="571998"/>
                </a:lnTo>
                <a:lnTo>
                  <a:pt x="543032" y="571308"/>
                </a:lnTo>
                <a:lnTo>
                  <a:pt x="485343" y="565788"/>
                </a:lnTo>
                <a:lnTo>
                  <a:pt x="429382" y="554059"/>
                </a:lnTo>
                <a:lnTo>
                  <a:pt x="375493" y="537499"/>
                </a:lnTo>
                <a:lnTo>
                  <a:pt x="324023" y="515419"/>
                </a:lnTo>
                <a:lnTo>
                  <a:pt x="275661" y="489200"/>
                </a:lnTo>
                <a:lnTo>
                  <a:pt x="229718" y="458495"/>
                </a:lnTo>
                <a:lnTo>
                  <a:pt x="187574" y="423306"/>
                </a:lnTo>
                <a:lnTo>
                  <a:pt x="148539" y="384667"/>
                </a:lnTo>
                <a:lnTo>
                  <a:pt x="113650" y="342233"/>
                </a:lnTo>
                <a:lnTo>
                  <a:pt x="82906" y="296349"/>
                </a:lnTo>
                <a:lnTo>
                  <a:pt x="56307" y="248050"/>
                </a:lnTo>
                <a:lnTo>
                  <a:pt x="34544" y="196646"/>
                </a:lnTo>
                <a:lnTo>
                  <a:pt x="17963" y="143172"/>
                </a:lnTo>
                <a:lnTo>
                  <a:pt x="6218" y="87283"/>
                </a:lnTo>
                <a:lnTo>
                  <a:pt x="346" y="29669"/>
                </a:ln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50" name="Freeform 585">
            <a:extLst>
              <a:ext uri="{FF2B5EF4-FFF2-40B4-BE49-F238E27FC236}">
                <a16:creationId xmlns:a16="http://schemas.microsoft.com/office/drawing/2014/main" id="{676BBEB7-DE4F-0EF8-1AFE-D48774B0CDFA}"/>
              </a:ext>
            </a:extLst>
          </p:cNvPr>
          <p:cNvSpPr>
            <a:spLocks/>
          </p:cNvSpPr>
          <p:nvPr/>
        </p:nvSpPr>
        <p:spPr bwMode="auto">
          <a:xfrm>
            <a:off x="1206578" y="1595105"/>
            <a:ext cx="694944" cy="6949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r>
              <a:rPr lang="en-US" sz="4400" b="1">
                <a:solidFill>
                  <a:srgbClr val="191C21"/>
                </a:solidFill>
              </a:rPr>
              <a:t>1</a:t>
            </a:r>
          </a:p>
        </p:txBody>
      </p:sp>
      <p:sp>
        <p:nvSpPr>
          <p:cNvPr id="51" name="Freeform 588">
            <a:extLst>
              <a:ext uri="{FF2B5EF4-FFF2-40B4-BE49-F238E27FC236}">
                <a16:creationId xmlns:a16="http://schemas.microsoft.com/office/drawing/2014/main" id="{9656A872-2A69-4A73-3EAE-BDC5AC8A68D3}"/>
              </a:ext>
            </a:extLst>
          </p:cNvPr>
          <p:cNvSpPr>
            <a:spLocks/>
          </p:cNvSpPr>
          <p:nvPr/>
        </p:nvSpPr>
        <p:spPr bwMode="auto">
          <a:xfrm>
            <a:off x="6354171" y="1361650"/>
            <a:ext cx="1145378" cy="1143996"/>
          </a:xfrm>
          <a:custGeom>
            <a:avLst/>
            <a:gdLst>
              <a:gd name="T0" fmla="*/ 1573 w 3316"/>
              <a:gd name="T1" fmla="*/ 2 h 3316"/>
              <a:gd name="T2" fmla="*/ 1243 w 3316"/>
              <a:gd name="T3" fmla="*/ 52 h 3316"/>
              <a:gd name="T4" fmla="*/ 939 w 3316"/>
              <a:gd name="T5" fmla="*/ 162 h 3316"/>
              <a:gd name="T6" fmla="*/ 665 w 3316"/>
              <a:gd name="T7" fmla="*/ 328 h 3316"/>
              <a:gd name="T8" fmla="*/ 431 w 3316"/>
              <a:gd name="T9" fmla="*/ 542 h 3316"/>
              <a:gd name="T10" fmla="*/ 240 w 3316"/>
              <a:gd name="T11" fmla="*/ 797 h 3316"/>
              <a:gd name="T12" fmla="*/ 100 w 3316"/>
              <a:gd name="T13" fmla="*/ 1088 h 3316"/>
              <a:gd name="T14" fmla="*/ 19 w 3316"/>
              <a:gd name="T15" fmla="*/ 1405 h 3316"/>
              <a:gd name="T16" fmla="*/ 0 w 3316"/>
              <a:gd name="T17" fmla="*/ 1658 h 3316"/>
              <a:gd name="T18" fmla="*/ 19 w 3316"/>
              <a:gd name="T19" fmla="*/ 1911 h 3316"/>
              <a:gd name="T20" fmla="*/ 100 w 3316"/>
              <a:gd name="T21" fmla="*/ 2228 h 3316"/>
              <a:gd name="T22" fmla="*/ 240 w 3316"/>
              <a:gd name="T23" fmla="*/ 2517 h 3316"/>
              <a:gd name="T24" fmla="*/ 431 w 3316"/>
              <a:gd name="T25" fmla="*/ 2773 h 3316"/>
              <a:gd name="T26" fmla="*/ 665 w 3316"/>
              <a:gd name="T27" fmla="*/ 2987 h 3316"/>
              <a:gd name="T28" fmla="*/ 939 w 3316"/>
              <a:gd name="T29" fmla="*/ 3152 h 3316"/>
              <a:gd name="T30" fmla="*/ 1243 w 3316"/>
              <a:gd name="T31" fmla="*/ 3264 h 3316"/>
              <a:gd name="T32" fmla="*/ 1573 w 3316"/>
              <a:gd name="T33" fmla="*/ 3314 h 3316"/>
              <a:gd name="T34" fmla="*/ 1744 w 3316"/>
              <a:gd name="T35" fmla="*/ 3314 h 3316"/>
              <a:gd name="T36" fmla="*/ 2073 w 3316"/>
              <a:gd name="T37" fmla="*/ 3264 h 3316"/>
              <a:gd name="T38" fmla="*/ 2378 w 3316"/>
              <a:gd name="T39" fmla="*/ 3152 h 3316"/>
              <a:gd name="T40" fmla="*/ 2650 w 3316"/>
              <a:gd name="T41" fmla="*/ 2987 h 3316"/>
              <a:gd name="T42" fmla="*/ 2886 w 3316"/>
              <a:gd name="T43" fmla="*/ 2773 h 3316"/>
              <a:gd name="T44" fmla="*/ 3076 w 3316"/>
              <a:gd name="T45" fmla="*/ 2517 h 3316"/>
              <a:gd name="T46" fmla="*/ 3216 w 3316"/>
              <a:gd name="T47" fmla="*/ 2228 h 3316"/>
              <a:gd name="T48" fmla="*/ 3298 w 3316"/>
              <a:gd name="T49" fmla="*/ 1911 h 3316"/>
              <a:gd name="T50" fmla="*/ 3316 w 3316"/>
              <a:gd name="T51" fmla="*/ 1658 h 3316"/>
              <a:gd name="T52" fmla="*/ 3298 w 3316"/>
              <a:gd name="T53" fmla="*/ 1405 h 3316"/>
              <a:gd name="T54" fmla="*/ 3216 w 3316"/>
              <a:gd name="T55" fmla="*/ 1088 h 3316"/>
              <a:gd name="T56" fmla="*/ 3076 w 3316"/>
              <a:gd name="T57" fmla="*/ 797 h 3316"/>
              <a:gd name="T58" fmla="*/ 2886 w 3316"/>
              <a:gd name="T59" fmla="*/ 542 h 3316"/>
              <a:gd name="T60" fmla="*/ 2650 w 3316"/>
              <a:gd name="T61" fmla="*/ 328 h 3316"/>
              <a:gd name="T62" fmla="*/ 2378 w 3316"/>
              <a:gd name="T63" fmla="*/ 162 h 3316"/>
              <a:gd name="T64" fmla="*/ 2073 w 3316"/>
              <a:gd name="T65" fmla="*/ 52 h 3316"/>
              <a:gd name="T66" fmla="*/ 1744 w 3316"/>
              <a:gd name="T67" fmla="*/ 2 h 3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16" h="3316">
                <a:moveTo>
                  <a:pt x="1658" y="0"/>
                </a:moveTo>
                <a:lnTo>
                  <a:pt x="1573" y="2"/>
                </a:lnTo>
                <a:lnTo>
                  <a:pt x="1405" y="18"/>
                </a:lnTo>
                <a:lnTo>
                  <a:pt x="1243" y="52"/>
                </a:lnTo>
                <a:lnTo>
                  <a:pt x="1088" y="100"/>
                </a:lnTo>
                <a:lnTo>
                  <a:pt x="939" y="162"/>
                </a:lnTo>
                <a:lnTo>
                  <a:pt x="798" y="239"/>
                </a:lnTo>
                <a:lnTo>
                  <a:pt x="665" y="328"/>
                </a:lnTo>
                <a:lnTo>
                  <a:pt x="542" y="431"/>
                </a:lnTo>
                <a:lnTo>
                  <a:pt x="431" y="542"/>
                </a:lnTo>
                <a:lnTo>
                  <a:pt x="328" y="665"/>
                </a:lnTo>
                <a:lnTo>
                  <a:pt x="240" y="797"/>
                </a:lnTo>
                <a:lnTo>
                  <a:pt x="162" y="939"/>
                </a:lnTo>
                <a:lnTo>
                  <a:pt x="100" y="1088"/>
                </a:lnTo>
                <a:lnTo>
                  <a:pt x="52" y="1243"/>
                </a:lnTo>
                <a:lnTo>
                  <a:pt x="19" y="1405"/>
                </a:lnTo>
                <a:lnTo>
                  <a:pt x="2" y="1572"/>
                </a:lnTo>
                <a:lnTo>
                  <a:pt x="0" y="1658"/>
                </a:lnTo>
                <a:lnTo>
                  <a:pt x="2" y="1744"/>
                </a:lnTo>
                <a:lnTo>
                  <a:pt x="19" y="1911"/>
                </a:lnTo>
                <a:lnTo>
                  <a:pt x="52" y="2073"/>
                </a:lnTo>
                <a:lnTo>
                  <a:pt x="100" y="2228"/>
                </a:lnTo>
                <a:lnTo>
                  <a:pt x="162" y="2377"/>
                </a:lnTo>
                <a:lnTo>
                  <a:pt x="240" y="2517"/>
                </a:lnTo>
                <a:lnTo>
                  <a:pt x="328" y="2650"/>
                </a:lnTo>
                <a:lnTo>
                  <a:pt x="431" y="2773"/>
                </a:lnTo>
                <a:lnTo>
                  <a:pt x="542" y="2885"/>
                </a:lnTo>
                <a:lnTo>
                  <a:pt x="665" y="2987"/>
                </a:lnTo>
                <a:lnTo>
                  <a:pt x="798" y="3076"/>
                </a:lnTo>
                <a:lnTo>
                  <a:pt x="939" y="3152"/>
                </a:lnTo>
                <a:lnTo>
                  <a:pt x="1088" y="3216"/>
                </a:lnTo>
                <a:lnTo>
                  <a:pt x="1243" y="3264"/>
                </a:lnTo>
                <a:lnTo>
                  <a:pt x="1405" y="3298"/>
                </a:lnTo>
                <a:lnTo>
                  <a:pt x="1573" y="3314"/>
                </a:lnTo>
                <a:lnTo>
                  <a:pt x="1658" y="3316"/>
                </a:lnTo>
                <a:lnTo>
                  <a:pt x="1744" y="3314"/>
                </a:lnTo>
                <a:lnTo>
                  <a:pt x="1911" y="3298"/>
                </a:lnTo>
                <a:lnTo>
                  <a:pt x="2073" y="3264"/>
                </a:lnTo>
                <a:lnTo>
                  <a:pt x="2228" y="3216"/>
                </a:lnTo>
                <a:lnTo>
                  <a:pt x="2378" y="3152"/>
                </a:lnTo>
                <a:lnTo>
                  <a:pt x="2518" y="3076"/>
                </a:lnTo>
                <a:lnTo>
                  <a:pt x="2650" y="2987"/>
                </a:lnTo>
                <a:lnTo>
                  <a:pt x="2773" y="2885"/>
                </a:lnTo>
                <a:lnTo>
                  <a:pt x="2886" y="2773"/>
                </a:lnTo>
                <a:lnTo>
                  <a:pt x="2987" y="2650"/>
                </a:lnTo>
                <a:lnTo>
                  <a:pt x="3076" y="2517"/>
                </a:lnTo>
                <a:lnTo>
                  <a:pt x="3153" y="2377"/>
                </a:lnTo>
                <a:lnTo>
                  <a:pt x="3216" y="2228"/>
                </a:lnTo>
                <a:lnTo>
                  <a:pt x="3264" y="2073"/>
                </a:lnTo>
                <a:lnTo>
                  <a:pt x="3298" y="1911"/>
                </a:lnTo>
                <a:lnTo>
                  <a:pt x="3315" y="1744"/>
                </a:lnTo>
                <a:lnTo>
                  <a:pt x="3316" y="1658"/>
                </a:lnTo>
                <a:lnTo>
                  <a:pt x="3315" y="1572"/>
                </a:lnTo>
                <a:lnTo>
                  <a:pt x="3298" y="1405"/>
                </a:lnTo>
                <a:lnTo>
                  <a:pt x="3264" y="1243"/>
                </a:lnTo>
                <a:lnTo>
                  <a:pt x="3216" y="1088"/>
                </a:lnTo>
                <a:lnTo>
                  <a:pt x="3153" y="939"/>
                </a:lnTo>
                <a:lnTo>
                  <a:pt x="3076" y="797"/>
                </a:lnTo>
                <a:lnTo>
                  <a:pt x="2987" y="665"/>
                </a:lnTo>
                <a:lnTo>
                  <a:pt x="2886" y="542"/>
                </a:lnTo>
                <a:lnTo>
                  <a:pt x="2773" y="431"/>
                </a:lnTo>
                <a:lnTo>
                  <a:pt x="2650" y="328"/>
                </a:lnTo>
                <a:lnTo>
                  <a:pt x="2518" y="239"/>
                </a:lnTo>
                <a:lnTo>
                  <a:pt x="2378" y="162"/>
                </a:lnTo>
                <a:lnTo>
                  <a:pt x="2228" y="100"/>
                </a:lnTo>
                <a:lnTo>
                  <a:pt x="2073" y="52"/>
                </a:lnTo>
                <a:lnTo>
                  <a:pt x="1911" y="18"/>
                </a:lnTo>
                <a:lnTo>
                  <a:pt x="1744" y="2"/>
                </a:lnTo>
                <a:lnTo>
                  <a:pt x="1658" y="0"/>
                </a:ln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52" name="Freeform 587">
            <a:extLst>
              <a:ext uri="{FF2B5EF4-FFF2-40B4-BE49-F238E27FC236}">
                <a16:creationId xmlns:a16="http://schemas.microsoft.com/office/drawing/2014/main" id="{E1ACF0BE-E6F0-17A0-6772-B85257289341}"/>
              </a:ext>
            </a:extLst>
          </p:cNvPr>
          <p:cNvSpPr>
            <a:spLocks/>
          </p:cNvSpPr>
          <p:nvPr/>
        </p:nvSpPr>
        <p:spPr bwMode="auto">
          <a:xfrm>
            <a:off x="6582141" y="1588239"/>
            <a:ext cx="689438" cy="689438"/>
          </a:xfrm>
          <a:custGeom>
            <a:avLst/>
            <a:gdLst>
              <a:gd name="T0" fmla="*/ 946 w 1995"/>
              <a:gd name="T1" fmla="*/ 1993 h 1995"/>
              <a:gd name="T2" fmla="*/ 748 w 1995"/>
              <a:gd name="T3" fmla="*/ 1964 h 1995"/>
              <a:gd name="T4" fmla="*/ 565 w 1995"/>
              <a:gd name="T5" fmla="*/ 1898 h 1995"/>
              <a:gd name="T6" fmla="*/ 401 w 1995"/>
              <a:gd name="T7" fmla="*/ 1798 h 1995"/>
              <a:gd name="T8" fmla="*/ 259 w 1995"/>
              <a:gd name="T9" fmla="*/ 1668 h 1995"/>
              <a:gd name="T10" fmla="*/ 145 w 1995"/>
              <a:gd name="T11" fmla="*/ 1515 h 1995"/>
              <a:gd name="T12" fmla="*/ 61 w 1995"/>
              <a:gd name="T13" fmla="*/ 1340 h 1995"/>
              <a:gd name="T14" fmla="*/ 12 w 1995"/>
              <a:gd name="T15" fmla="*/ 1150 h 1995"/>
              <a:gd name="T16" fmla="*/ 0 w 1995"/>
              <a:gd name="T17" fmla="*/ 998 h 1995"/>
              <a:gd name="T18" fmla="*/ 12 w 1995"/>
              <a:gd name="T19" fmla="*/ 846 h 1995"/>
              <a:gd name="T20" fmla="*/ 61 w 1995"/>
              <a:gd name="T21" fmla="*/ 655 h 1995"/>
              <a:gd name="T22" fmla="*/ 145 w 1995"/>
              <a:gd name="T23" fmla="*/ 481 h 1995"/>
              <a:gd name="T24" fmla="*/ 259 w 1995"/>
              <a:gd name="T25" fmla="*/ 327 h 1995"/>
              <a:gd name="T26" fmla="*/ 401 w 1995"/>
              <a:gd name="T27" fmla="*/ 198 h 1995"/>
              <a:gd name="T28" fmla="*/ 565 w 1995"/>
              <a:gd name="T29" fmla="*/ 98 h 1995"/>
              <a:gd name="T30" fmla="*/ 748 w 1995"/>
              <a:gd name="T31" fmla="*/ 31 h 1995"/>
              <a:gd name="T32" fmla="*/ 946 w 1995"/>
              <a:gd name="T33" fmla="*/ 1 h 1995"/>
              <a:gd name="T34" fmla="*/ 1049 w 1995"/>
              <a:gd name="T35" fmla="*/ 1 h 1995"/>
              <a:gd name="T36" fmla="*/ 1247 w 1995"/>
              <a:gd name="T37" fmla="*/ 31 h 1995"/>
              <a:gd name="T38" fmla="*/ 1431 w 1995"/>
              <a:gd name="T39" fmla="*/ 98 h 1995"/>
              <a:gd name="T40" fmla="*/ 1594 w 1995"/>
              <a:gd name="T41" fmla="*/ 198 h 1995"/>
              <a:gd name="T42" fmla="*/ 1737 w 1995"/>
              <a:gd name="T43" fmla="*/ 327 h 1995"/>
              <a:gd name="T44" fmla="*/ 1851 w 1995"/>
              <a:gd name="T45" fmla="*/ 481 h 1995"/>
              <a:gd name="T46" fmla="*/ 1935 w 1995"/>
              <a:gd name="T47" fmla="*/ 655 h 1995"/>
              <a:gd name="T48" fmla="*/ 1985 w 1995"/>
              <a:gd name="T49" fmla="*/ 846 h 1995"/>
              <a:gd name="T50" fmla="*/ 1995 w 1995"/>
              <a:gd name="T51" fmla="*/ 998 h 1995"/>
              <a:gd name="T52" fmla="*/ 1985 w 1995"/>
              <a:gd name="T53" fmla="*/ 1150 h 1995"/>
              <a:gd name="T54" fmla="*/ 1935 w 1995"/>
              <a:gd name="T55" fmla="*/ 1340 h 1995"/>
              <a:gd name="T56" fmla="*/ 1851 w 1995"/>
              <a:gd name="T57" fmla="*/ 1515 h 1995"/>
              <a:gd name="T58" fmla="*/ 1737 w 1995"/>
              <a:gd name="T59" fmla="*/ 1668 h 1995"/>
              <a:gd name="T60" fmla="*/ 1594 w 1995"/>
              <a:gd name="T61" fmla="*/ 1798 h 1995"/>
              <a:gd name="T62" fmla="*/ 1431 w 1995"/>
              <a:gd name="T63" fmla="*/ 1898 h 1995"/>
              <a:gd name="T64" fmla="*/ 1247 w 1995"/>
              <a:gd name="T65" fmla="*/ 1964 h 1995"/>
              <a:gd name="T66" fmla="*/ 1049 w 1995"/>
              <a:gd name="T67" fmla="*/ 1993 h 1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95" h="1995">
                <a:moveTo>
                  <a:pt x="998" y="1995"/>
                </a:moveTo>
                <a:lnTo>
                  <a:pt x="946" y="1993"/>
                </a:lnTo>
                <a:lnTo>
                  <a:pt x="847" y="1984"/>
                </a:lnTo>
                <a:lnTo>
                  <a:pt x="748" y="1964"/>
                </a:lnTo>
                <a:lnTo>
                  <a:pt x="655" y="1935"/>
                </a:lnTo>
                <a:lnTo>
                  <a:pt x="565" y="1898"/>
                </a:lnTo>
                <a:lnTo>
                  <a:pt x="481" y="1851"/>
                </a:lnTo>
                <a:lnTo>
                  <a:pt x="401" y="1798"/>
                </a:lnTo>
                <a:lnTo>
                  <a:pt x="327" y="1735"/>
                </a:lnTo>
                <a:lnTo>
                  <a:pt x="259" y="1668"/>
                </a:lnTo>
                <a:lnTo>
                  <a:pt x="198" y="1594"/>
                </a:lnTo>
                <a:lnTo>
                  <a:pt x="145" y="1515"/>
                </a:lnTo>
                <a:lnTo>
                  <a:pt x="99" y="1430"/>
                </a:lnTo>
                <a:lnTo>
                  <a:pt x="61" y="1340"/>
                </a:lnTo>
                <a:lnTo>
                  <a:pt x="31" y="1247"/>
                </a:lnTo>
                <a:lnTo>
                  <a:pt x="12" y="1150"/>
                </a:lnTo>
                <a:lnTo>
                  <a:pt x="1" y="1049"/>
                </a:lnTo>
                <a:lnTo>
                  <a:pt x="0" y="998"/>
                </a:lnTo>
                <a:lnTo>
                  <a:pt x="1" y="946"/>
                </a:lnTo>
                <a:lnTo>
                  <a:pt x="12" y="846"/>
                </a:lnTo>
                <a:lnTo>
                  <a:pt x="31" y="748"/>
                </a:lnTo>
                <a:lnTo>
                  <a:pt x="61" y="655"/>
                </a:lnTo>
                <a:lnTo>
                  <a:pt x="99" y="565"/>
                </a:lnTo>
                <a:lnTo>
                  <a:pt x="145" y="481"/>
                </a:lnTo>
                <a:lnTo>
                  <a:pt x="198" y="400"/>
                </a:lnTo>
                <a:lnTo>
                  <a:pt x="259" y="327"/>
                </a:lnTo>
                <a:lnTo>
                  <a:pt x="327" y="259"/>
                </a:lnTo>
                <a:lnTo>
                  <a:pt x="401" y="198"/>
                </a:lnTo>
                <a:lnTo>
                  <a:pt x="481" y="145"/>
                </a:lnTo>
                <a:lnTo>
                  <a:pt x="565" y="98"/>
                </a:lnTo>
                <a:lnTo>
                  <a:pt x="655" y="61"/>
                </a:lnTo>
                <a:lnTo>
                  <a:pt x="748" y="31"/>
                </a:lnTo>
                <a:lnTo>
                  <a:pt x="847" y="12"/>
                </a:lnTo>
                <a:lnTo>
                  <a:pt x="946" y="1"/>
                </a:lnTo>
                <a:lnTo>
                  <a:pt x="998" y="0"/>
                </a:lnTo>
                <a:lnTo>
                  <a:pt x="1049" y="1"/>
                </a:lnTo>
                <a:lnTo>
                  <a:pt x="1150" y="12"/>
                </a:lnTo>
                <a:lnTo>
                  <a:pt x="1247" y="31"/>
                </a:lnTo>
                <a:lnTo>
                  <a:pt x="1340" y="61"/>
                </a:lnTo>
                <a:lnTo>
                  <a:pt x="1431" y="98"/>
                </a:lnTo>
                <a:lnTo>
                  <a:pt x="1515" y="145"/>
                </a:lnTo>
                <a:lnTo>
                  <a:pt x="1594" y="198"/>
                </a:lnTo>
                <a:lnTo>
                  <a:pt x="1668" y="259"/>
                </a:lnTo>
                <a:lnTo>
                  <a:pt x="1737" y="327"/>
                </a:lnTo>
                <a:lnTo>
                  <a:pt x="1798" y="400"/>
                </a:lnTo>
                <a:lnTo>
                  <a:pt x="1851" y="481"/>
                </a:lnTo>
                <a:lnTo>
                  <a:pt x="1898" y="565"/>
                </a:lnTo>
                <a:lnTo>
                  <a:pt x="1935" y="655"/>
                </a:lnTo>
                <a:lnTo>
                  <a:pt x="1964" y="748"/>
                </a:lnTo>
                <a:lnTo>
                  <a:pt x="1985" y="846"/>
                </a:lnTo>
                <a:lnTo>
                  <a:pt x="1995" y="946"/>
                </a:lnTo>
                <a:lnTo>
                  <a:pt x="1995" y="998"/>
                </a:lnTo>
                <a:lnTo>
                  <a:pt x="1995" y="1049"/>
                </a:lnTo>
                <a:lnTo>
                  <a:pt x="1985" y="1150"/>
                </a:lnTo>
                <a:lnTo>
                  <a:pt x="1964" y="1247"/>
                </a:lnTo>
                <a:lnTo>
                  <a:pt x="1935" y="1340"/>
                </a:lnTo>
                <a:lnTo>
                  <a:pt x="1898" y="1430"/>
                </a:lnTo>
                <a:lnTo>
                  <a:pt x="1851" y="1515"/>
                </a:lnTo>
                <a:lnTo>
                  <a:pt x="1798" y="1594"/>
                </a:lnTo>
                <a:lnTo>
                  <a:pt x="1737" y="1668"/>
                </a:lnTo>
                <a:lnTo>
                  <a:pt x="1668" y="1735"/>
                </a:lnTo>
                <a:lnTo>
                  <a:pt x="1594" y="1798"/>
                </a:lnTo>
                <a:lnTo>
                  <a:pt x="1515" y="1851"/>
                </a:lnTo>
                <a:lnTo>
                  <a:pt x="1431" y="1898"/>
                </a:lnTo>
                <a:lnTo>
                  <a:pt x="1340" y="1935"/>
                </a:lnTo>
                <a:lnTo>
                  <a:pt x="1247" y="1964"/>
                </a:lnTo>
                <a:lnTo>
                  <a:pt x="1150" y="1984"/>
                </a:lnTo>
                <a:lnTo>
                  <a:pt x="1049" y="1993"/>
                </a:lnTo>
                <a:lnTo>
                  <a:pt x="998" y="199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589">
            <a:extLst>
              <a:ext uri="{FF2B5EF4-FFF2-40B4-BE49-F238E27FC236}">
                <a16:creationId xmlns:a16="http://schemas.microsoft.com/office/drawing/2014/main" id="{47436B7B-DF00-C7E3-AD18-0AC3C8BE44F0}"/>
              </a:ext>
            </a:extLst>
          </p:cNvPr>
          <p:cNvSpPr>
            <a:spLocks/>
          </p:cNvSpPr>
          <p:nvPr/>
        </p:nvSpPr>
        <p:spPr bwMode="auto">
          <a:xfrm>
            <a:off x="7225984" y="1937794"/>
            <a:ext cx="160270" cy="392385"/>
          </a:xfrm>
          <a:custGeom>
            <a:avLst/>
            <a:gdLst>
              <a:gd name="T0" fmla="*/ 462 w 462"/>
              <a:gd name="T1" fmla="*/ 981 h 1135"/>
              <a:gd name="T2" fmla="*/ 460 w 462"/>
              <a:gd name="T3" fmla="*/ 985 h 1135"/>
              <a:gd name="T4" fmla="*/ 457 w 462"/>
              <a:gd name="T5" fmla="*/ 989 h 1135"/>
              <a:gd name="T6" fmla="*/ 443 w 462"/>
              <a:gd name="T7" fmla="*/ 1007 h 1135"/>
              <a:gd name="T8" fmla="*/ 427 w 462"/>
              <a:gd name="T9" fmla="*/ 1025 h 1135"/>
              <a:gd name="T10" fmla="*/ 418 w 462"/>
              <a:gd name="T11" fmla="*/ 1037 h 1135"/>
              <a:gd name="T12" fmla="*/ 409 w 462"/>
              <a:gd name="T13" fmla="*/ 1048 h 1135"/>
              <a:gd name="T14" fmla="*/ 408 w 462"/>
              <a:gd name="T15" fmla="*/ 1050 h 1135"/>
              <a:gd name="T16" fmla="*/ 408 w 462"/>
              <a:gd name="T17" fmla="*/ 1050 h 1135"/>
              <a:gd name="T18" fmla="*/ 396 w 462"/>
              <a:gd name="T19" fmla="*/ 1064 h 1135"/>
              <a:gd name="T20" fmla="*/ 383 w 462"/>
              <a:gd name="T21" fmla="*/ 1078 h 1135"/>
              <a:gd name="T22" fmla="*/ 369 w 462"/>
              <a:gd name="T23" fmla="*/ 1095 h 1135"/>
              <a:gd name="T24" fmla="*/ 355 w 462"/>
              <a:gd name="T25" fmla="*/ 1110 h 1135"/>
              <a:gd name="T26" fmla="*/ 343 w 462"/>
              <a:gd name="T27" fmla="*/ 1123 h 1135"/>
              <a:gd name="T28" fmla="*/ 332 w 462"/>
              <a:gd name="T29" fmla="*/ 1135 h 1135"/>
              <a:gd name="T30" fmla="*/ 276 w 462"/>
              <a:gd name="T31" fmla="*/ 1062 h 1135"/>
              <a:gd name="T32" fmla="*/ 177 w 462"/>
              <a:gd name="T33" fmla="*/ 908 h 1135"/>
              <a:gd name="T34" fmla="*/ 94 w 462"/>
              <a:gd name="T35" fmla="*/ 745 h 1135"/>
              <a:gd name="T36" fmla="*/ 27 w 462"/>
              <a:gd name="T37" fmla="*/ 573 h 1135"/>
              <a:gd name="T38" fmla="*/ 0 w 462"/>
              <a:gd name="T39" fmla="*/ 483 h 1135"/>
              <a:gd name="T40" fmla="*/ 36 w 462"/>
              <a:gd name="T41" fmla="*/ 417 h 1135"/>
              <a:gd name="T42" fmla="*/ 65 w 462"/>
              <a:gd name="T43" fmla="*/ 348 h 1135"/>
              <a:gd name="T44" fmla="*/ 68 w 462"/>
              <a:gd name="T45" fmla="*/ 341 h 1135"/>
              <a:gd name="T46" fmla="*/ 71 w 462"/>
              <a:gd name="T47" fmla="*/ 333 h 1135"/>
              <a:gd name="T48" fmla="*/ 81 w 462"/>
              <a:gd name="T49" fmla="*/ 303 h 1135"/>
              <a:gd name="T50" fmla="*/ 90 w 462"/>
              <a:gd name="T51" fmla="*/ 273 h 1135"/>
              <a:gd name="T52" fmla="*/ 94 w 462"/>
              <a:gd name="T53" fmla="*/ 263 h 1135"/>
              <a:gd name="T54" fmla="*/ 97 w 462"/>
              <a:gd name="T55" fmla="*/ 252 h 1135"/>
              <a:gd name="T56" fmla="*/ 100 w 462"/>
              <a:gd name="T57" fmla="*/ 242 h 1135"/>
              <a:gd name="T58" fmla="*/ 102 w 462"/>
              <a:gd name="T59" fmla="*/ 232 h 1135"/>
              <a:gd name="T60" fmla="*/ 105 w 462"/>
              <a:gd name="T61" fmla="*/ 223 h 1135"/>
              <a:gd name="T62" fmla="*/ 106 w 462"/>
              <a:gd name="T63" fmla="*/ 214 h 1135"/>
              <a:gd name="T64" fmla="*/ 110 w 462"/>
              <a:gd name="T65" fmla="*/ 201 h 1135"/>
              <a:gd name="T66" fmla="*/ 112 w 462"/>
              <a:gd name="T67" fmla="*/ 189 h 1135"/>
              <a:gd name="T68" fmla="*/ 112 w 462"/>
              <a:gd name="T69" fmla="*/ 182 h 1135"/>
              <a:gd name="T70" fmla="*/ 114 w 462"/>
              <a:gd name="T71" fmla="*/ 177 h 1135"/>
              <a:gd name="T72" fmla="*/ 116 w 462"/>
              <a:gd name="T73" fmla="*/ 166 h 1135"/>
              <a:gd name="T74" fmla="*/ 119 w 462"/>
              <a:gd name="T75" fmla="*/ 153 h 1135"/>
              <a:gd name="T76" fmla="*/ 125 w 462"/>
              <a:gd name="T77" fmla="*/ 109 h 1135"/>
              <a:gd name="T78" fmla="*/ 129 w 462"/>
              <a:gd name="T79" fmla="*/ 64 h 1135"/>
              <a:gd name="T80" fmla="*/ 131 w 462"/>
              <a:gd name="T81" fmla="*/ 53 h 1135"/>
              <a:gd name="T82" fmla="*/ 131 w 462"/>
              <a:gd name="T83" fmla="*/ 41 h 1135"/>
              <a:gd name="T84" fmla="*/ 131 w 462"/>
              <a:gd name="T85" fmla="*/ 39 h 1135"/>
              <a:gd name="T86" fmla="*/ 131 w 462"/>
              <a:gd name="T87" fmla="*/ 35 h 1135"/>
              <a:gd name="T88" fmla="*/ 132 w 462"/>
              <a:gd name="T89" fmla="*/ 26 h 1135"/>
              <a:gd name="T90" fmla="*/ 132 w 462"/>
              <a:gd name="T91" fmla="*/ 17 h 1135"/>
              <a:gd name="T92" fmla="*/ 132 w 462"/>
              <a:gd name="T93" fmla="*/ 7 h 1135"/>
              <a:gd name="T94" fmla="*/ 132 w 462"/>
              <a:gd name="T95" fmla="*/ 0 h 1135"/>
              <a:gd name="T96" fmla="*/ 133 w 462"/>
              <a:gd name="T97" fmla="*/ 68 h 1135"/>
              <a:gd name="T98" fmla="*/ 145 w 462"/>
              <a:gd name="T99" fmla="*/ 204 h 1135"/>
              <a:gd name="T100" fmla="*/ 168 w 462"/>
              <a:gd name="T101" fmla="*/ 335 h 1135"/>
              <a:gd name="T102" fmla="*/ 201 w 462"/>
              <a:gd name="T103" fmla="*/ 464 h 1135"/>
              <a:gd name="T104" fmla="*/ 243 w 462"/>
              <a:gd name="T105" fmla="*/ 587 h 1135"/>
              <a:gd name="T106" fmla="*/ 295 w 462"/>
              <a:gd name="T107" fmla="*/ 706 h 1135"/>
              <a:gd name="T108" fmla="*/ 355 w 462"/>
              <a:gd name="T109" fmla="*/ 820 h 1135"/>
              <a:gd name="T110" fmla="*/ 425 w 462"/>
              <a:gd name="T111" fmla="*/ 929 h 1135"/>
              <a:gd name="T112" fmla="*/ 462 w 462"/>
              <a:gd name="T113" fmla="*/ 981 h 1135"/>
              <a:gd name="T114" fmla="*/ 462 w 462"/>
              <a:gd name="T115" fmla="*/ 981 h 1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62" h="1135">
                <a:moveTo>
                  <a:pt x="462" y="981"/>
                </a:moveTo>
                <a:lnTo>
                  <a:pt x="460" y="985"/>
                </a:lnTo>
                <a:lnTo>
                  <a:pt x="457" y="989"/>
                </a:lnTo>
                <a:lnTo>
                  <a:pt x="443" y="1007"/>
                </a:lnTo>
                <a:lnTo>
                  <a:pt x="427" y="1025"/>
                </a:lnTo>
                <a:lnTo>
                  <a:pt x="418" y="1037"/>
                </a:lnTo>
                <a:lnTo>
                  <a:pt x="409" y="1048"/>
                </a:lnTo>
                <a:lnTo>
                  <a:pt x="408" y="1050"/>
                </a:lnTo>
                <a:lnTo>
                  <a:pt x="408" y="1050"/>
                </a:lnTo>
                <a:lnTo>
                  <a:pt x="396" y="1064"/>
                </a:lnTo>
                <a:lnTo>
                  <a:pt x="383" y="1078"/>
                </a:lnTo>
                <a:lnTo>
                  <a:pt x="369" y="1095"/>
                </a:lnTo>
                <a:lnTo>
                  <a:pt x="355" y="1110"/>
                </a:lnTo>
                <a:lnTo>
                  <a:pt x="343" y="1123"/>
                </a:lnTo>
                <a:lnTo>
                  <a:pt x="332" y="1135"/>
                </a:lnTo>
                <a:lnTo>
                  <a:pt x="276" y="1062"/>
                </a:lnTo>
                <a:lnTo>
                  <a:pt x="177" y="908"/>
                </a:lnTo>
                <a:lnTo>
                  <a:pt x="94" y="745"/>
                </a:lnTo>
                <a:lnTo>
                  <a:pt x="27" y="573"/>
                </a:lnTo>
                <a:lnTo>
                  <a:pt x="0" y="483"/>
                </a:lnTo>
                <a:lnTo>
                  <a:pt x="36" y="417"/>
                </a:lnTo>
                <a:lnTo>
                  <a:pt x="65" y="348"/>
                </a:lnTo>
                <a:lnTo>
                  <a:pt x="68" y="341"/>
                </a:lnTo>
                <a:lnTo>
                  <a:pt x="71" y="333"/>
                </a:lnTo>
                <a:lnTo>
                  <a:pt x="81" y="303"/>
                </a:lnTo>
                <a:lnTo>
                  <a:pt x="90" y="273"/>
                </a:lnTo>
                <a:lnTo>
                  <a:pt x="94" y="263"/>
                </a:lnTo>
                <a:lnTo>
                  <a:pt x="97" y="252"/>
                </a:lnTo>
                <a:lnTo>
                  <a:pt x="100" y="242"/>
                </a:lnTo>
                <a:lnTo>
                  <a:pt x="102" y="232"/>
                </a:lnTo>
                <a:lnTo>
                  <a:pt x="105" y="223"/>
                </a:lnTo>
                <a:lnTo>
                  <a:pt x="106" y="214"/>
                </a:lnTo>
                <a:lnTo>
                  <a:pt x="110" y="201"/>
                </a:lnTo>
                <a:lnTo>
                  <a:pt x="112" y="189"/>
                </a:lnTo>
                <a:lnTo>
                  <a:pt x="112" y="182"/>
                </a:lnTo>
                <a:lnTo>
                  <a:pt x="114" y="177"/>
                </a:lnTo>
                <a:lnTo>
                  <a:pt x="116" y="166"/>
                </a:lnTo>
                <a:lnTo>
                  <a:pt x="119" y="153"/>
                </a:lnTo>
                <a:lnTo>
                  <a:pt x="125" y="109"/>
                </a:lnTo>
                <a:lnTo>
                  <a:pt x="129" y="64"/>
                </a:lnTo>
                <a:lnTo>
                  <a:pt x="131" y="53"/>
                </a:lnTo>
                <a:lnTo>
                  <a:pt x="131" y="41"/>
                </a:lnTo>
                <a:lnTo>
                  <a:pt x="131" y="39"/>
                </a:lnTo>
                <a:lnTo>
                  <a:pt x="131" y="35"/>
                </a:lnTo>
                <a:lnTo>
                  <a:pt x="132" y="26"/>
                </a:lnTo>
                <a:lnTo>
                  <a:pt x="132" y="17"/>
                </a:lnTo>
                <a:lnTo>
                  <a:pt x="132" y="7"/>
                </a:lnTo>
                <a:lnTo>
                  <a:pt x="132" y="0"/>
                </a:lnTo>
                <a:lnTo>
                  <a:pt x="133" y="68"/>
                </a:lnTo>
                <a:lnTo>
                  <a:pt x="145" y="204"/>
                </a:lnTo>
                <a:lnTo>
                  <a:pt x="168" y="335"/>
                </a:lnTo>
                <a:lnTo>
                  <a:pt x="201" y="464"/>
                </a:lnTo>
                <a:lnTo>
                  <a:pt x="243" y="587"/>
                </a:lnTo>
                <a:lnTo>
                  <a:pt x="295" y="706"/>
                </a:lnTo>
                <a:lnTo>
                  <a:pt x="355" y="820"/>
                </a:lnTo>
                <a:lnTo>
                  <a:pt x="425" y="929"/>
                </a:lnTo>
                <a:lnTo>
                  <a:pt x="462" y="981"/>
                </a:lnTo>
                <a:lnTo>
                  <a:pt x="462" y="981"/>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54" name="Freeform 590">
            <a:extLst>
              <a:ext uri="{FF2B5EF4-FFF2-40B4-BE49-F238E27FC236}">
                <a16:creationId xmlns:a16="http://schemas.microsoft.com/office/drawing/2014/main" id="{09A4EF2B-6186-6352-5FF3-213301DE3201}"/>
              </a:ext>
            </a:extLst>
          </p:cNvPr>
          <p:cNvSpPr>
            <a:spLocks/>
          </p:cNvSpPr>
          <p:nvPr/>
        </p:nvSpPr>
        <p:spPr bwMode="auto">
          <a:xfrm>
            <a:off x="7225984" y="1937794"/>
            <a:ext cx="160270" cy="392385"/>
          </a:xfrm>
          <a:custGeom>
            <a:avLst/>
            <a:gdLst>
              <a:gd name="T0" fmla="*/ 132 w 462"/>
              <a:gd name="T1" fmla="*/ 0 h 1135"/>
              <a:gd name="T2" fmla="*/ 132 w 462"/>
              <a:gd name="T3" fmla="*/ 7 h 1135"/>
              <a:gd name="T4" fmla="*/ 132 w 462"/>
              <a:gd name="T5" fmla="*/ 17 h 1135"/>
              <a:gd name="T6" fmla="*/ 132 w 462"/>
              <a:gd name="T7" fmla="*/ 26 h 1135"/>
              <a:gd name="T8" fmla="*/ 131 w 462"/>
              <a:gd name="T9" fmla="*/ 35 h 1135"/>
              <a:gd name="T10" fmla="*/ 131 w 462"/>
              <a:gd name="T11" fmla="*/ 39 h 1135"/>
              <a:gd name="T12" fmla="*/ 131 w 462"/>
              <a:gd name="T13" fmla="*/ 41 h 1135"/>
              <a:gd name="T14" fmla="*/ 131 w 462"/>
              <a:gd name="T15" fmla="*/ 53 h 1135"/>
              <a:gd name="T16" fmla="*/ 129 w 462"/>
              <a:gd name="T17" fmla="*/ 64 h 1135"/>
              <a:gd name="T18" fmla="*/ 125 w 462"/>
              <a:gd name="T19" fmla="*/ 109 h 1135"/>
              <a:gd name="T20" fmla="*/ 119 w 462"/>
              <a:gd name="T21" fmla="*/ 153 h 1135"/>
              <a:gd name="T22" fmla="*/ 116 w 462"/>
              <a:gd name="T23" fmla="*/ 166 h 1135"/>
              <a:gd name="T24" fmla="*/ 114 w 462"/>
              <a:gd name="T25" fmla="*/ 177 h 1135"/>
              <a:gd name="T26" fmla="*/ 112 w 462"/>
              <a:gd name="T27" fmla="*/ 182 h 1135"/>
              <a:gd name="T28" fmla="*/ 112 w 462"/>
              <a:gd name="T29" fmla="*/ 189 h 1135"/>
              <a:gd name="T30" fmla="*/ 110 w 462"/>
              <a:gd name="T31" fmla="*/ 201 h 1135"/>
              <a:gd name="T32" fmla="*/ 106 w 462"/>
              <a:gd name="T33" fmla="*/ 214 h 1135"/>
              <a:gd name="T34" fmla="*/ 105 w 462"/>
              <a:gd name="T35" fmla="*/ 223 h 1135"/>
              <a:gd name="T36" fmla="*/ 102 w 462"/>
              <a:gd name="T37" fmla="*/ 232 h 1135"/>
              <a:gd name="T38" fmla="*/ 100 w 462"/>
              <a:gd name="T39" fmla="*/ 242 h 1135"/>
              <a:gd name="T40" fmla="*/ 97 w 462"/>
              <a:gd name="T41" fmla="*/ 252 h 1135"/>
              <a:gd name="T42" fmla="*/ 94 w 462"/>
              <a:gd name="T43" fmla="*/ 263 h 1135"/>
              <a:gd name="T44" fmla="*/ 90 w 462"/>
              <a:gd name="T45" fmla="*/ 273 h 1135"/>
              <a:gd name="T46" fmla="*/ 81 w 462"/>
              <a:gd name="T47" fmla="*/ 303 h 1135"/>
              <a:gd name="T48" fmla="*/ 71 w 462"/>
              <a:gd name="T49" fmla="*/ 333 h 1135"/>
              <a:gd name="T50" fmla="*/ 65 w 462"/>
              <a:gd name="T51" fmla="*/ 348 h 1135"/>
              <a:gd name="T52" fmla="*/ 36 w 462"/>
              <a:gd name="T53" fmla="*/ 417 h 1135"/>
              <a:gd name="T54" fmla="*/ 0 w 462"/>
              <a:gd name="T55" fmla="*/ 483 h 1135"/>
              <a:gd name="T56" fmla="*/ 27 w 462"/>
              <a:gd name="T57" fmla="*/ 573 h 1135"/>
              <a:gd name="T58" fmla="*/ 94 w 462"/>
              <a:gd name="T59" fmla="*/ 745 h 1135"/>
              <a:gd name="T60" fmla="*/ 177 w 462"/>
              <a:gd name="T61" fmla="*/ 908 h 1135"/>
              <a:gd name="T62" fmla="*/ 276 w 462"/>
              <a:gd name="T63" fmla="*/ 1062 h 1135"/>
              <a:gd name="T64" fmla="*/ 332 w 462"/>
              <a:gd name="T65" fmla="*/ 1135 h 1135"/>
              <a:gd name="T66" fmla="*/ 343 w 462"/>
              <a:gd name="T67" fmla="*/ 1123 h 1135"/>
              <a:gd name="T68" fmla="*/ 355 w 462"/>
              <a:gd name="T69" fmla="*/ 1110 h 1135"/>
              <a:gd name="T70" fmla="*/ 369 w 462"/>
              <a:gd name="T71" fmla="*/ 1095 h 1135"/>
              <a:gd name="T72" fmla="*/ 383 w 462"/>
              <a:gd name="T73" fmla="*/ 1078 h 1135"/>
              <a:gd name="T74" fmla="*/ 396 w 462"/>
              <a:gd name="T75" fmla="*/ 1064 h 1135"/>
              <a:gd name="T76" fmla="*/ 408 w 462"/>
              <a:gd name="T77" fmla="*/ 1050 h 1135"/>
              <a:gd name="T78" fmla="*/ 408 w 462"/>
              <a:gd name="T79" fmla="*/ 1050 h 1135"/>
              <a:gd name="T80" fmla="*/ 409 w 462"/>
              <a:gd name="T81" fmla="*/ 1048 h 1135"/>
              <a:gd name="T82" fmla="*/ 418 w 462"/>
              <a:gd name="T83" fmla="*/ 1037 h 1135"/>
              <a:gd name="T84" fmla="*/ 427 w 462"/>
              <a:gd name="T85" fmla="*/ 1025 h 1135"/>
              <a:gd name="T86" fmla="*/ 443 w 462"/>
              <a:gd name="T87" fmla="*/ 1007 h 1135"/>
              <a:gd name="T88" fmla="*/ 457 w 462"/>
              <a:gd name="T89" fmla="*/ 989 h 1135"/>
              <a:gd name="T90" fmla="*/ 460 w 462"/>
              <a:gd name="T91" fmla="*/ 985 h 1135"/>
              <a:gd name="T92" fmla="*/ 462 w 462"/>
              <a:gd name="T93" fmla="*/ 981 h 1135"/>
              <a:gd name="T94" fmla="*/ 425 w 462"/>
              <a:gd name="T95" fmla="*/ 929 h 1135"/>
              <a:gd name="T96" fmla="*/ 355 w 462"/>
              <a:gd name="T97" fmla="*/ 820 h 1135"/>
              <a:gd name="T98" fmla="*/ 295 w 462"/>
              <a:gd name="T99" fmla="*/ 706 h 1135"/>
              <a:gd name="T100" fmla="*/ 243 w 462"/>
              <a:gd name="T101" fmla="*/ 587 h 1135"/>
              <a:gd name="T102" fmla="*/ 201 w 462"/>
              <a:gd name="T103" fmla="*/ 464 h 1135"/>
              <a:gd name="T104" fmla="*/ 168 w 462"/>
              <a:gd name="T105" fmla="*/ 335 h 1135"/>
              <a:gd name="T106" fmla="*/ 145 w 462"/>
              <a:gd name="T107" fmla="*/ 204 h 1135"/>
              <a:gd name="T108" fmla="*/ 133 w 462"/>
              <a:gd name="T109" fmla="*/ 68 h 1135"/>
              <a:gd name="T110" fmla="*/ 132 w 462"/>
              <a:gd name="T111" fmla="*/ 0 h 1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62" h="1135">
                <a:moveTo>
                  <a:pt x="132" y="0"/>
                </a:moveTo>
                <a:lnTo>
                  <a:pt x="132" y="7"/>
                </a:lnTo>
                <a:lnTo>
                  <a:pt x="132" y="17"/>
                </a:lnTo>
                <a:lnTo>
                  <a:pt x="132" y="26"/>
                </a:lnTo>
                <a:lnTo>
                  <a:pt x="131" y="35"/>
                </a:lnTo>
                <a:lnTo>
                  <a:pt x="131" y="39"/>
                </a:lnTo>
                <a:lnTo>
                  <a:pt x="131" y="41"/>
                </a:lnTo>
                <a:lnTo>
                  <a:pt x="131" y="53"/>
                </a:lnTo>
                <a:lnTo>
                  <a:pt x="129" y="64"/>
                </a:lnTo>
                <a:lnTo>
                  <a:pt x="125" y="109"/>
                </a:lnTo>
                <a:lnTo>
                  <a:pt x="119" y="153"/>
                </a:lnTo>
                <a:lnTo>
                  <a:pt x="116" y="166"/>
                </a:lnTo>
                <a:lnTo>
                  <a:pt x="114" y="177"/>
                </a:lnTo>
                <a:lnTo>
                  <a:pt x="112" y="182"/>
                </a:lnTo>
                <a:lnTo>
                  <a:pt x="112" y="189"/>
                </a:lnTo>
                <a:lnTo>
                  <a:pt x="110" y="201"/>
                </a:lnTo>
                <a:lnTo>
                  <a:pt x="106" y="214"/>
                </a:lnTo>
                <a:lnTo>
                  <a:pt x="105" y="223"/>
                </a:lnTo>
                <a:lnTo>
                  <a:pt x="102" y="232"/>
                </a:lnTo>
                <a:lnTo>
                  <a:pt x="100" y="242"/>
                </a:lnTo>
                <a:lnTo>
                  <a:pt x="97" y="252"/>
                </a:lnTo>
                <a:lnTo>
                  <a:pt x="94" y="263"/>
                </a:lnTo>
                <a:lnTo>
                  <a:pt x="90" y="273"/>
                </a:lnTo>
                <a:lnTo>
                  <a:pt x="81" y="303"/>
                </a:lnTo>
                <a:lnTo>
                  <a:pt x="71" y="333"/>
                </a:lnTo>
                <a:lnTo>
                  <a:pt x="65" y="348"/>
                </a:lnTo>
                <a:lnTo>
                  <a:pt x="36" y="417"/>
                </a:lnTo>
                <a:lnTo>
                  <a:pt x="0" y="483"/>
                </a:lnTo>
                <a:lnTo>
                  <a:pt x="27" y="573"/>
                </a:lnTo>
                <a:lnTo>
                  <a:pt x="94" y="745"/>
                </a:lnTo>
                <a:lnTo>
                  <a:pt x="177" y="908"/>
                </a:lnTo>
                <a:lnTo>
                  <a:pt x="276" y="1062"/>
                </a:lnTo>
                <a:lnTo>
                  <a:pt x="332" y="1135"/>
                </a:lnTo>
                <a:lnTo>
                  <a:pt x="343" y="1123"/>
                </a:lnTo>
                <a:lnTo>
                  <a:pt x="355" y="1110"/>
                </a:lnTo>
                <a:lnTo>
                  <a:pt x="369" y="1095"/>
                </a:lnTo>
                <a:lnTo>
                  <a:pt x="383" y="1078"/>
                </a:lnTo>
                <a:lnTo>
                  <a:pt x="396" y="1064"/>
                </a:lnTo>
                <a:lnTo>
                  <a:pt x="408" y="1050"/>
                </a:lnTo>
                <a:lnTo>
                  <a:pt x="408" y="1050"/>
                </a:lnTo>
                <a:lnTo>
                  <a:pt x="409" y="1048"/>
                </a:lnTo>
                <a:lnTo>
                  <a:pt x="418" y="1037"/>
                </a:lnTo>
                <a:lnTo>
                  <a:pt x="427" y="1025"/>
                </a:lnTo>
                <a:lnTo>
                  <a:pt x="443" y="1007"/>
                </a:lnTo>
                <a:lnTo>
                  <a:pt x="457" y="989"/>
                </a:lnTo>
                <a:lnTo>
                  <a:pt x="460" y="985"/>
                </a:lnTo>
                <a:lnTo>
                  <a:pt x="462" y="981"/>
                </a:lnTo>
                <a:lnTo>
                  <a:pt x="425" y="929"/>
                </a:lnTo>
                <a:lnTo>
                  <a:pt x="355" y="820"/>
                </a:lnTo>
                <a:lnTo>
                  <a:pt x="295" y="706"/>
                </a:lnTo>
                <a:lnTo>
                  <a:pt x="243" y="587"/>
                </a:lnTo>
                <a:lnTo>
                  <a:pt x="201" y="464"/>
                </a:lnTo>
                <a:lnTo>
                  <a:pt x="168" y="335"/>
                </a:lnTo>
                <a:lnTo>
                  <a:pt x="145" y="204"/>
                </a:lnTo>
                <a:lnTo>
                  <a:pt x="133" y="68"/>
                </a:lnTo>
                <a:lnTo>
                  <a:pt x="132" y="0"/>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55" name="Freeform: Shape 192">
            <a:extLst>
              <a:ext uri="{FF2B5EF4-FFF2-40B4-BE49-F238E27FC236}">
                <a16:creationId xmlns:a16="http://schemas.microsoft.com/office/drawing/2014/main" id="{91AEA641-469B-F00C-CE4C-907C8C15E922}"/>
              </a:ext>
            </a:extLst>
          </p:cNvPr>
          <p:cNvSpPr>
            <a:spLocks/>
          </p:cNvSpPr>
          <p:nvPr/>
        </p:nvSpPr>
        <p:spPr bwMode="auto">
          <a:xfrm>
            <a:off x="7271579" y="1933648"/>
            <a:ext cx="3941813" cy="571998"/>
          </a:xfrm>
          <a:custGeom>
            <a:avLst/>
            <a:gdLst>
              <a:gd name="connsiteX0" fmla="*/ 0 w 3941813"/>
              <a:gd name="connsiteY0" fmla="*/ 0 h 571998"/>
              <a:gd name="connsiteX1" fmla="*/ 228336 w 3941813"/>
              <a:gd name="connsiteY1" fmla="*/ 0 h 571998"/>
              <a:gd name="connsiteX2" fmla="*/ 228336 w 3941813"/>
              <a:gd name="connsiteY2" fmla="*/ 1035 h 571998"/>
              <a:gd name="connsiteX3" fmla="*/ 228336 w 3941813"/>
              <a:gd name="connsiteY3" fmla="*/ 2070 h 571998"/>
              <a:gd name="connsiteX4" fmla="*/ 228336 w 3941813"/>
              <a:gd name="connsiteY4" fmla="*/ 3450 h 571998"/>
              <a:gd name="connsiteX5" fmla="*/ 228336 w 3941813"/>
              <a:gd name="connsiteY5" fmla="*/ 4485 h 571998"/>
              <a:gd name="connsiteX6" fmla="*/ 228336 w 3941813"/>
              <a:gd name="connsiteY6" fmla="*/ 6555 h 571998"/>
              <a:gd name="connsiteX7" fmla="*/ 228336 w 3941813"/>
              <a:gd name="connsiteY7" fmla="*/ 8625 h 571998"/>
              <a:gd name="connsiteX8" fmla="*/ 228336 w 3941813"/>
              <a:gd name="connsiteY8" fmla="*/ 13110 h 571998"/>
              <a:gd name="connsiteX9" fmla="*/ 228681 w 3941813"/>
              <a:gd name="connsiteY9" fmla="*/ 17595 h 571998"/>
              <a:gd name="connsiteX10" fmla="*/ 228681 w 3941813"/>
              <a:gd name="connsiteY10" fmla="*/ 21045 h 571998"/>
              <a:gd name="connsiteX11" fmla="*/ 229372 w 3941813"/>
              <a:gd name="connsiteY11" fmla="*/ 24495 h 571998"/>
              <a:gd name="connsiteX12" fmla="*/ 229561 w 3941813"/>
              <a:gd name="connsiteY12" fmla="*/ 29949 h 571998"/>
              <a:gd name="connsiteX13" fmla="*/ 230860 w 3941813"/>
              <a:gd name="connsiteY13" fmla="*/ 43059 h 571998"/>
              <a:gd name="connsiteX14" fmla="*/ 231099 w 3941813"/>
              <a:gd name="connsiteY14" fmla="*/ 44849 h 571998"/>
              <a:gd name="connsiteX15" fmla="*/ 231445 w 3941813"/>
              <a:gd name="connsiteY15" fmla="*/ 47954 h 571998"/>
              <a:gd name="connsiteX16" fmla="*/ 231790 w 3941813"/>
              <a:gd name="connsiteY16" fmla="*/ 51059 h 571998"/>
              <a:gd name="connsiteX17" fmla="*/ 232439 w 3941813"/>
              <a:gd name="connsiteY17" fmla="*/ 55431 h 571998"/>
              <a:gd name="connsiteX18" fmla="*/ 237460 w 3941813"/>
              <a:gd name="connsiteY18" fmla="*/ 78594 h 571998"/>
              <a:gd name="connsiteX19" fmla="*/ 239935 w 3941813"/>
              <a:gd name="connsiteY19" fmla="*/ 88754 h 571998"/>
              <a:gd name="connsiteX20" fmla="*/ 249062 w 3941813"/>
              <a:gd name="connsiteY20" fmla="*/ 117988 h 571998"/>
              <a:gd name="connsiteX21" fmla="*/ 258766 w 3941813"/>
              <a:gd name="connsiteY21" fmla="*/ 141560 h 571998"/>
              <a:gd name="connsiteX22" fmla="*/ 260462 w 3941813"/>
              <a:gd name="connsiteY22" fmla="*/ 145242 h 571998"/>
              <a:gd name="connsiteX23" fmla="*/ 261844 w 3941813"/>
              <a:gd name="connsiteY23" fmla="*/ 148347 h 571998"/>
              <a:gd name="connsiteX24" fmla="*/ 263571 w 3941813"/>
              <a:gd name="connsiteY24" fmla="*/ 152142 h 571998"/>
              <a:gd name="connsiteX25" fmla="*/ 265643 w 3941813"/>
              <a:gd name="connsiteY25" fmla="*/ 155592 h 571998"/>
              <a:gd name="connsiteX26" fmla="*/ 267371 w 3941813"/>
              <a:gd name="connsiteY26" fmla="*/ 158697 h 571998"/>
              <a:gd name="connsiteX27" fmla="*/ 269060 w 3941813"/>
              <a:gd name="connsiteY27" fmla="*/ 162072 h 571998"/>
              <a:gd name="connsiteX28" fmla="*/ 276558 w 3941813"/>
              <a:gd name="connsiteY28" fmla="*/ 175613 h 571998"/>
              <a:gd name="connsiteX29" fmla="*/ 277043 w 3941813"/>
              <a:gd name="connsiteY29" fmla="*/ 176291 h 571998"/>
              <a:gd name="connsiteX30" fmla="*/ 278368 w 3941813"/>
              <a:gd name="connsiteY30" fmla="*/ 178791 h 571998"/>
              <a:gd name="connsiteX31" fmla="*/ 295536 w 3941813"/>
              <a:gd name="connsiteY31" fmla="*/ 204348 h 571998"/>
              <a:gd name="connsiteX32" fmla="*/ 296042 w 3941813"/>
              <a:gd name="connsiteY32" fmla="*/ 204926 h 571998"/>
              <a:gd name="connsiteX33" fmla="*/ 298303 w 3941813"/>
              <a:gd name="connsiteY33" fmla="*/ 207936 h 571998"/>
              <a:gd name="connsiteX34" fmla="*/ 316635 w 3941813"/>
              <a:gd name="connsiteY34" fmla="*/ 230146 h 571998"/>
              <a:gd name="connsiteX35" fmla="*/ 318158 w 3941813"/>
              <a:gd name="connsiteY35" fmla="*/ 231823 h 571998"/>
              <a:gd name="connsiteX36" fmla="*/ 341295 w 3941813"/>
              <a:gd name="connsiteY36" fmla="*/ 254260 h 571998"/>
              <a:gd name="connsiteX37" fmla="*/ 364855 w 3941813"/>
              <a:gd name="connsiteY37" fmla="*/ 274566 h 571998"/>
              <a:gd name="connsiteX38" fmla="*/ 383255 w 3941813"/>
              <a:gd name="connsiteY38" fmla="*/ 287072 h 571998"/>
              <a:gd name="connsiteX39" fmla="*/ 390494 w 3941813"/>
              <a:gd name="connsiteY39" fmla="*/ 291862 h 571998"/>
              <a:gd name="connsiteX40" fmla="*/ 396550 w 3941813"/>
              <a:gd name="connsiteY40" fmla="*/ 295622 h 571998"/>
              <a:gd name="connsiteX41" fmla="*/ 409034 w 3941813"/>
              <a:gd name="connsiteY41" fmla="*/ 302598 h 571998"/>
              <a:gd name="connsiteX42" fmla="*/ 419364 w 3941813"/>
              <a:gd name="connsiteY42" fmla="*/ 308079 h 571998"/>
              <a:gd name="connsiteX43" fmla="*/ 431109 w 3941813"/>
              <a:gd name="connsiteY43" fmla="*/ 313598 h 571998"/>
              <a:gd name="connsiteX44" fmla="*/ 433413 w 3941813"/>
              <a:gd name="connsiteY44" fmla="*/ 314749 h 571998"/>
              <a:gd name="connsiteX45" fmla="*/ 445124 w 3941813"/>
              <a:gd name="connsiteY45" fmla="*/ 319611 h 571998"/>
              <a:gd name="connsiteX46" fmla="*/ 450799 w 3941813"/>
              <a:gd name="connsiteY46" fmla="*/ 321878 h 571998"/>
              <a:gd name="connsiteX47" fmla="*/ 462312 w 3941813"/>
              <a:gd name="connsiteY47" fmla="*/ 325820 h 571998"/>
              <a:gd name="connsiteX48" fmla="*/ 480775 w 3941813"/>
              <a:gd name="connsiteY48" fmla="*/ 331449 h 571998"/>
              <a:gd name="connsiteX49" fmla="*/ 490525 w 3941813"/>
              <a:gd name="connsiteY49" fmla="*/ 333953 h 571998"/>
              <a:gd name="connsiteX50" fmla="*/ 499752 w 3941813"/>
              <a:gd name="connsiteY50" fmla="*/ 335946 h 571998"/>
              <a:gd name="connsiteX51" fmla="*/ 520232 w 3941813"/>
              <a:gd name="connsiteY51" fmla="*/ 340163 h 571998"/>
              <a:gd name="connsiteX52" fmla="*/ 554124 w 3941813"/>
              <a:gd name="connsiteY52" fmla="*/ 343209 h 571998"/>
              <a:gd name="connsiteX53" fmla="*/ 555122 w 3941813"/>
              <a:gd name="connsiteY53" fmla="*/ 343268 h 571998"/>
              <a:gd name="connsiteX54" fmla="*/ 555467 w 3941813"/>
              <a:gd name="connsiteY54" fmla="*/ 343294 h 571998"/>
              <a:gd name="connsiteX55" fmla="*/ 572739 w 3941813"/>
              <a:gd name="connsiteY55" fmla="*/ 343958 h 571998"/>
              <a:gd name="connsiteX56" fmla="*/ 3862707 w 3941813"/>
              <a:gd name="connsiteY56" fmla="*/ 343958 h 571998"/>
              <a:gd name="connsiteX57" fmla="*/ 3941813 w 3941813"/>
              <a:gd name="connsiteY57" fmla="*/ 343958 h 571998"/>
              <a:gd name="connsiteX58" fmla="*/ 3941813 w 3941813"/>
              <a:gd name="connsiteY58" fmla="*/ 388462 h 571998"/>
              <a:gd name="connsiteX59" fmla="*/ 3940777 w 3941813"/>
              <a:gd name="connsiteY59" fmla="*/ 407437 h 571998"/>
              <a:gd name="connsiteX60" fmla="*/ 3933868 w 3941813"/>
              <a:gd name="connsiteY60" fmla="*/ 442971 h 571998"/>
              <a:gd name="connsiteX61" fmla="*/ 3920050 w 3941813"/>
              <a:gd name="connsiteY61" fmla="*/ 476090 h 571998"/>
              <a:gd name="connsiteX62" fmla="*/ 3900015 w 3941813"/>
              <a:gd name="connsiteY62" fmla="*/ 505415 h 571998"/>
              <a:gd name="connsiteX63" fmla="*/ 3875143 w 3941813"/>
              <a:gd name="connsiteY63" fmla="*/ 530254 h 571998"/>
              <a:gd name="connsiteX64" fmla="*/ 3846126 w 3941813"/>
              <a:gd name="connsiteY64" fmla="*/ 549919 h 571998"/>
              <a:gd name="connsiteX65" fmla="*/ 3812964 w 3941813"/>
              <a:gd name="connsiteY65" fmla="*/ 563718 h 571998"/>
              <a:gd name="connsiteX66" fmla="*/ 3777038 w 3941813"/>
              <a:gd name="connsiteY66" fmla="*/ 570963 h 571998"/>
              <a:gd name="connsiteX67" fmla="*/ 3758385 w 3941813"/>
              <a:gd name="connsiteY67" fmla="*/ 571998 h 571998"/>
              <a:gd name="connsiteX68" fmla="*/ 572739 w 3941813"/>
              <a:gd name="connsiteY68" fmla="*/ 571998 h 571998"/>
              <a:gd name="connsiteX69" fmla="*/ 543032 w 3941813"/>
              <a:gd name="connsiteY69" fmla="*/ 571308 h 571998"/>
              <a:gd name="connsiteX70" fmla="*/ 485343 w 3941813"/>
              <a:gd name="connsiteY70" fmla="*/ 565788 h 571998"/>
              <a:gd name="connsiteX71" fmla="*/ 429382 w 3941813"/>
              <a:gd name="connsiteY71" fmla="*/ 554059 h 571998"/>
              <a:gd name="connsiteX72" fmla="*/ 375493 w 3941813"/>
              <a:gd name="connsiteY72" fmla="*/ 537499 h 571998"/>
              <a:gd name="connsiteX73" fmla="*/ 324023 w 3941813"/>
              <a:gd name="connsiteY73" fmla="*/ 515419 h 571998"/>
              <a:gd name="connsiteX74" fmla="*/ 275661 w 3941813"/>
              <a:gd name="connsiteY74" fmla="*/ 489200 h 571998"/>
              <a:gd name="connsiteX75" fmla="*/ 229718 w 3941813"/>
              <a:gd name="connsiteY75" fmla="*/ 458495 h 571998"/>
              <a:gd name="connsiteX76" fmla="*/ 187574 w 3941813"/>
              <a:gd name="connsiteY76" fmla="*/ 423306 h 571998"/>
              <a:gd name="connsiteX77" fmla="*/ 148539 w 3941813"/>
              <a:gd name="connsiteY77" fmla="*/ 384667 h 571998"/>
              <a:gd name="connsiteX78" fmla="*/ 113650 w 3941813"/>
              <a:gd name="connsiteY78" fmla="*/ 342233 h 571998"/>
              <a:gd name="connsiteX79" fmla="*/ 82906 w 3941813"/>
              <a:gd name="connsiteY79" fmla="*/ 296349 h 571998"/>
              <a:gd name="connsiteX80" fmla="*/ 56307 w 3941813"/>
              <a:gd name="connsiteY80" fmla="*/ 248050 h 571998"/>
              <a:gd name="connsiteX81" fmla="*/ 34544 w 3941813"/>
              <a:gd name="connsiteY81" fmla="*/ 196646 h 571998"/>
              <a:gd name="connsiteX82" fmla="*/ 17963 w 3941813"/>
              <a:gd name="connsiteY82" fmla="*/ 143172 h 571998"/>
              <a:gd name="connsiteX83" fmla="*/ 6218 w 3941813"/>
              <a:gd name="connsiteY83" fmla="*/ 87283 h 571998"/>
              <a:gd name="connsiteX84" fmla="*/ 346 w 3941813"/>
              <a:gd name="connsiteY84" fmla="*/ 29669 h 571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3941813" h="571998">
                <a:moveTo>
                  <a:pt x="0" y="0"/>
                </a:moveTo>
                <a:lnTo>
                  <a:pt x="228336" y="0"/>
                </a:lnTo>
                <a:lnTo>
                  <a:pt x="228336" y="1035"/>
                </a:lnTo>
                <a:lnTo>
                  <a:pt x="228336" y="2070"/>
                </a:lnTo>
                <a:lnTo>
                  <a:pt x="228336" y="3450"/>
                </a:lnTo>
                <a:lnTo>
                  <a:pt x="228336" y="4485"/>
                </a:lnTo>
                <a:lnTo>
                  <a:pt x="228336" y="6555"/>
                </a:lnTo>
                <a:lnTo>
                  <a:pt x="228336" y="8625"/>
                </a:lnTo>
                <a:lnTo>
                  <a:pt x="228336" y="13110"/>
                </a:lnTo>
                <a:lnTo>
                  <a:pt x="228681" y="17595"/>
                </a:lnTo>
                <a:lnTo>
                  <a:pt x="228681" y="21045"/>
                </a:lnTo>
                <a:lnTo>
                  <a:pt x="229372" y="24495"/>
                </a:lnTo>
                <a:lnTo>
                  <a:pt x="229561" y="29949"/>
                </a:lnTo>
                <a:lnTo>
                  <a:pt x="230860" y="43059"/>
                </a:lnTo>
                <a:lnTo>
                  <a:pt x="231099" y="44849"/>
                </a:lnTo>
                <a:lnTo>
                  <a:pt x="231445" y="47954"/>
                </a:lnTo>
                <a:lnTo>
                  <a:pt x="231790" y="51059"/>
                </a:lnTo>
                <a:lnTo>
                  <a:pt x="232439" y="55431"/>
                </a:lnTo>
                <a:lnTo>
                  <a:pt x="237460" y="78594"/>
                </a:lnTo>
                <a:lnTo>
                  <a:pt x="239935" y="88754"/>
                </a:lnTo>
                <a:lnTo>
                  <a:pt x="249062" y="117988"/>
                </a:lnTo>
                <a:lnTo>
                  <a:pt x="258766" y="141560"/>
                </a:lnTo>
                <a:lnTo>
                  <a:pt x="260462" y="145242"/>
                </a:lnTo>
                <a:lnTo>
                  <a:pt x="261844" y="148347"/>
                </a:lnTo>
                <a:lnTo>
                  <a:pt x="263571" y="152142"/>
                </a:lnTo>
                <a:lnTo>
                  <a:pt x="265643" y="155592"/>
                </a:lnTo>
                <a:lnTo>
                  <a:pt x="267371" y="158697"/>
                </a:lnTo>
                <a:lnTo>
                  <a:pt x="269060" y="162072"/>
                </a:lnTo>
                <a:lnTo>
                  <a:pt x="276558" y="175613"/>
                </a:lnTo>
                <a:lnTo>
                  <a:pt x="277043" y="176291"/>
                </a:lnTo>
                <a:lnTo>
                  <a:pt x="278368" y="178791"/>
                </a:lnTo>
                <a:lnTo>
                  <a:pt x="295536" y="204348"/>
                </a:lnTo>
                <a:lnTo>
                  <a:pt x="296042" y="204926"/>
                </a:lnTo>
                <a:lnTo>
                  <a:pt x="298303" y="207936"/>
                </a:lnTo>
                <a:lnTo>
                  <a:pt x="316635" y="230146"/>
                </a:lnTo>
                <a:lnTo>
                  <a:pt x="318158" y="231823"/>
                </a:lnTo>
                <a:lnTo>
                  <a:pt x="341295" y="254260"/>
                </a:lnTo>
                <a:lnTo>
                  <a:pt x="364855" y="274566"/>
                </a:lnTo>
                <a:lnTo>
                  <a:pt x="383255" y="287072"/>
                </a:lnTo>
                <a:lnTo>
                  <a:pt x="390494" y="291862"/>
                </a:lnTo>
                <a:lnTo>
                  <a:pt x="396550" y="295622"/>
                </a:lnTo>
                <a:lnTo>
                  <a:pt x="409034" y="302598"/>
                </a:lnTo>
                <a:lnTo>
                  <a:pt x="419364" y="308079"/>
                </a:lnTo>
                <a:lnTo>
                  <a:pt x="431109" y="313598"/>
                </a:lnTo>
                <a:lnTo>
                  <a:pt x="433413" y="314749"/>
                </a:lnTo>
                <a:lnTo>
                  <a:pt x="445124" y="319611"/>
                </a:lnTo>
                <a:lnTo>
                  <a:pt x="450799" y="321878"/>
                </a:lnTo>
                <a:lnTo>
                  <a:pt x="462312" y="325820"/>
                </a:lnTo>
                <a:lnTo>
                  <a:pt x="480775" y="331449"/>
                </a:lnTo>
                <a:lnTo>
                  <a:pt x="490525" y="333953"/>
                </a:lnTo>
                <a:lnTo>
                  <a:pt x="499752" y="335946"/>
                </a:lnTo>
                <a:lnTo>
                  <a:pt x="520232" y="340163"/>
                </a:lnTo>
                <a:lnTo>
                  <a:pt x="554124" y="343209"/>
                </a:lnTo>
                <a:lnTo>
                  <a:pt x="555122" y="343268"/>
                </a:lnTo>
                <a:lnTo>
                  <a:pt x="555467" y="343294"/>
                </a:lnTo>
                <a:lnTo>
                  <a:pt x="572739" y="343958"/>
                </a:lnTo>
                <a:lnTo>
                  <a:pt x="3862707" y="343958"/>
                </a:lnTo>
                <a:lnTo>
                  <a:pt x="3941813" y="343958"/>
                </a:lnTo>
                <a:lnTo>
                  <a:pt x="3941813" y="388462"/>
                </a:lnTo>
                <a:lnTo>
                  <a:pt x="3940777" y="407437"/>
                </a:lnTo>
                <a:lnTo>
                  <a:pt x="3933868" y="442971"/>
                </a:lnTo>
                <a:lnTo>
                  <a:pt x="3920050" y="476090"/>
                </a:lnTo>
                <a:lnTo>
                  <a:pt x="3900015" y="505415"/>
                </a:lnTo>
                <a:lnTo>
                  <a:pt x="3875143" y="530254"/>
                </a:lnTo>
                <a:lnTo>
                  <a:pt x="3846126" y="549919"/>
                </a:lnTo>
                <a:lnTo>
                  <a:pt x="3812964" y="563718"/>
                </a:lnTo>
                <a:lnTo>
                  <a:pt x="3777038" y="570963"/>
                </a:lnTo>
                <a:lnTo>
                  <a:pt x="3758385" y="571998"/>
                </a:lnTo>
                <a:lnTo>
                  <a:pt x="572739" y="571998"/>
                </a:lnTo>
                <a:lnTo>
                  <a:pt x="543032" y="571308"/>
                </a:lnTo>
                <a:lnTo>
                  <a:pt x="485343" y="565788"/>
                </a:lnTo>
                <a:lnTo>
                  <a:pt x="429382" y="554059"/>
                </a:lnTo>
                <a:lnTo>
                  <a:pt x="375493" y="537499"/>
                </a:lnTo>
                <a:lnTo>
                  <a:pt x="324023" y="515419"/>
                </a:lnTo>
                <a:lnTo>
                  <a:pt x="275661" y="489200"/>
                </a:lnTo>
                <a:lnTo>
                  <a:pt x="229718" y="458495"/>
                </a:lnTo>
                <a:lnTo>
                  <a:pt x="187574" y="423306"/>
                </a:lnTo>
                <a:lnTo>
                  <a:pt x="148539" y="384667"/>
                </a:lnTo>
                <a:lnTo>
                  <a:pt x="113650" y="342233"/>
                </a:lnTo>
                <a:lnTo>
                  <a:pt x="82906" y="296349"/>
                </a:lnTo>
                <a:lnTo>
                  <a:pt x="56307" y="248050"/>
                </a:lnTo>
                <a:lnTo>
                  <a:pt x="34544" y="196646"/>
                </a:lnTo>
                <a:lnTo>
                  <a:pt x="17963" y="143172"/>
                </a:lnTo>
                <a:lnTo>
                  <a:pt x="6218" y="87283"/>
                </a:lnTo>
                <a:lnTo>
                  <a:pt x="346" y="29669"/>
                </a:lnTo>
                <a:close/>
              </a:path>
            </a:pathLst>
          </a:custGeom>
          <a:solidFill>
            <a:schemeClr val="accent2"/>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56" name="Freeform 585">
            <a:extLst>
              <a:ext uri="{FF2B5EF4-FFF2-40B4-BE49-F238E27FC236}">
                <a16:creationId xmlns:a16="http://schemas.microsoft.com/office/drawing/2014/main" id="{4CF9D444-780F-66CD-0F38-5222BFBC3902}"/>
              </a:ext>
            </a:extLst>
          </p:cNvPr>
          <p:cNvSpPr>
            <a:spLocks/>
          </p:cNvSpPr>
          <p:nvPr/>
        </p:nvSpPr>
        <p:spPr bwMode="auto">
          <a:xfrm>
            <a:off x="6582141" y="1588239"/>
            <a:ext cx="689438" cy="68943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r>
              <a:rPr lang="en-US" sz="4400" b="1">
                <a:solidFill>
                  <a:srgbClr val="191C21"/>
                </a:solidFill>
              </a:rPr>
              <a:t>2</a:t>
            </a:r>
          </a:p>
        </p:txBody>
      </p:sp>
      <p:sp>
        <p:nvSpPr>
          <p:cNvPr id="57" name="Freeform 588">
            <a:extLst>
              <a:ext uri="{FF2B5EF4-FFF2-40B4-BE49-F238E27FC236}">
                <a16:creationId xmlns:a16="http://schemas.microsoft.com/office/drawing/2014/main" id="{3968B676-5897-55D5-17E6-04C5E018656B}"/>
              </a:ext>
            </a:extLst>
          </p:cNvPr>
          <p:cNvSpPr>
            <a:spLocks/>
          </p:cNvSpPr>
          <p:nvPr/>
        </p:nvSpPr>
        <p:spPr bwMode="auto">
          <a:xfrm>
            <a:off x="6354171" y="3014959"/>
            <a:ext cx="1145378" cy="1143996"/>
          </a:xfrm>
          <a:custGeom>
            <a:avLst/>
            <a:gdLst>
              <a:gd name="T0" fmla="*/ 1573 w 3316"/>
              <a:gd name="T1" fmla="*/ 2 h 3316"/>
              <a:gd name="T2" fmla="*/ 1243 w 3316"/>
              <a:gd name="T3" fmla="*/ 52 h 3316"/>
              <a:gd name="T4" fmla="*/ 939 w 3316"/>
              <a:gd name="T5" fmla="*/ 162 h 3316"/>
              <a:gd name="T6" fmla="*/ 665 w 3316"/>
              <a:gd name="T7" fmla="*/ 328 h 3316"/>
              <a:gd name="T8" fmla="*/ 431 w 3316"/>
              <a:gd name="T9" fmla="*/ 542 h 3316"/>
              <a:gd name="T10" fmla="*/ 240 w 3316"/>
              <a:gd name="T11" fmla="*/ 797 h 3316"/>
              <a:gd name="T12" fmla="*/ 100 w 3316"/>
              <a:gd name="T13" fmla="*/ 1088 h 3316"/>
              <a:gd name="T14" fmla="*/ 19 w 3316"/>
              <a:gd name="T15" fmla="*/ 1405 h 3316"/>
              <a:gd name="T16" fmla="*/ 0 w 3316"/>
              <a:gd name="T17" fmla="*/ 1658 h 3316"/>
              <a:gd name="T18" fmla="*/ 19 w 3316"/>
              <a:gd name="T19" fmla="*/ 1911 h 3316"/>
              <a:gd name="T20" fmla="*/ 100 w 3316"/>
              <a:gd name="T21" fmla="*/ 2228 h 3316"/>
              <a:gd name="T22" fmla="*/ 240 w 3316"/>
              <a:gd name="T23" fmla="*/ 2517 h 3316"/>
              <a:gd name="T24" fmla="*/ 431 w 3316"/>
              <a:gd name="T25" fmla="*/ 2773 h 3316"/>
              <a:gd name="T26" fmla="*/ 665 w 3316"/>
              <a:gd name="T27" fmla="*/ 2987 h 3316"/>
              <a:gd name="T28" fmla="*/ 939 w 3316"/>
              <a:gd name="T29" fmla="*/ 3152 h 3316"/>
              <a:gd name="T30" fmla="*/ 1243 w 3316"/>
              <a:gd name="T31" fmla="*/ 3264 h 3316"/>
              <a:gd name="T32" fmla="*/ 1573 w 3316"/>
              <a:gd name="T33" fmla="*/ 3314 h 3316"/>
              <a:gd name="T34" fmla="*/ 1744 w 3316"/>
              <a:gd name="T35" fmla="*/ 3314 h 3316"/>
              <a:gd name="T36" fmla="*/ 2073 w 3316"/>
              <a:gd name="T37" fmla="*/ 3264 h 3316"/>
              <a:gd name="T38" fmla="*/ 2378 w 3316"/>
              <a:gd name="T39" fmla="*/ 3152 h 3316"/>
              <a:gd name="T40" fmla="*/ 2650 w 3316"/>
              <a:gd name="T41" fmla="*/ 2987 h 3316"/>
              <a:gd name="T42" fmla="*/ 2886 w 3316"/>
              <a:gd name="T43" fmla="*/ 2773 h 3316"/>
              <a:gd name="T44" fmla="*/ 3076 w 3316"/>
              <a:gd name="T45" fmla="*/ 2517 h 3316"/>
              <a:gd name="T46" fmla="*/ 3216 w 3316"/>
              <a:gd name="T47" fmla="*/ 2228 h 3316"/>
              <a:gd name="T48" fmla="*/ 3298 w 3316"/>
              <a:gd name="T49" fmla="*/ 1911 h 3316"/>
              <a:gd name="T50" fmla="*/ 3316 w 3316"/>
              <a:gd name="T51" fmla="*/ 1658 h 3316"/>
              <a:gd name="T52" fmla="*/ 3298 w 3316"/>
              <a:gd name="T53" fmla="*/ 1405 h 3316"/>
              <a:gd name="T54" fmla="*/ 3216 w 3316"/>
              <a:gd name="T55" fmla="*/ 1088 h 3316"/>
              <a:gd name="T56" fmla="*/ 3076 w 3316"/>
              <a:gd name="T57" fmla="*/ 797 h 3316"/>
              <a:gd name="T58" fmla="*/ 2886 w 3316"/>
              <a:gd name="T59" fmla="*/ 542 h 3316"/>
              <a:gd name="T60" fmla="*/ 2650 w 3316"/>
              <a:gd name="T61" fmla="*/ 328 h 3316"/>
              <a:gd name="T62" fmla="*/ 2378 w 3316"/>
              <a:gd name="T63" fmla="*/ 162 h 3316"/>
              <a:gd name="T64" fmla="*/ 2073 w 3316"/>
              <a:gd name="T65" fmla="*/ 52 h 3316"/>
              <a:gd name="T66" fmla="*/ 1744 w 3316"/>
              <a:gd name="T67" fmla="*/ 2 h 3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16" h="3316">
                <a:moveTo>
                  <a:pt x="1658" y="0"/>
                </a:moveTo>
                <a:lnTo>
                  <a:pt x="1573" y="2"/>
                </a:lnTo>
                <a:lnTo>
                  <a:pt x="1405" y="18"/>
                </a:lnTo>
                <a:lnTo>
                  <a:pt x="1243" y="52"/>
                </a:lnTo>
                <a:lnTo>
                  <a:pt x="1088" y="100"/>
                </a:lnTo>
                <a:lnTo>
                  <a:pt x="939" y="162"/>
                </a:lnTo>
                <a:lnTo>
                  <a:pt x="798" y="239"/>
                </a:lnTo>
                <a:lnTo>
                  <a:pt x="665" y="328"/>
                </a:lnTo>
                <a:lnTo>
                  <a:pt x="542" y="431"/>
                </a:lnTo>
                <a:lnTo>
                  <a:pt x="431" y="542"/>
                </a:lnTo>
                <a:lnTo>
                  <a:pt x="328" y="665"/>
                </a:lnTo>
                <a:lnTo>
                  <a:pt x="240" y="797"/>
                </a:lnTo>
                <a:lnTo>
                  <a:pt x="162" y="939"/>
                </a:lnTo>
                <a:lnTo>
                  <a:pt x="100" y="1088"/>
                </a:lnTo>
                <a:lnTo>
                  <a:pt x="52" y="1243"/>
                </a:lnTo>
                <a:lnTo>
                  <a:pt x="19" y="1405"/>
                </a:lnTo>
                <a:lnTo>
                  <a:pt x="2" y="1572"/>
                </a:lnTo>
                <a:lnTo>
                  <a:pt x="0" y="1658"/>
                </a:lnTo>
                <a:lnTo>
                  <a:pt x="2" y="1744"/>
                </a:lnTo>
                <a:lnTo>
                  <a:pt x="19" y="1911"/>
                </a:lnTo>
                <a:lnTo>
                  <a:pt x="52" y="2073"/>
                </a:lnTo>
                <a:lnTo>
                  <a:pt x="100" y="2228"/>
                </a:lnTo>
                <a:lnTo>
                  <a:pt x="162" y="2377"/>
                </a:lnTo>
                <a:lnTo>
                  <a:pt x="240" y="2517"/>
                </a:lnTo>
                <a:lnTo>
                  <a:pt x="328" y="2650"/>
                </a:lnTo>
                <a:lnTo>
                  <a:pt x="431" y="2773"/>
                </a:lnTo>
                <a:lnTo>
                  <a:pt x="542" y="2885"/>
                </a:lnTo>
                <a:lnTo>
                  <a:pt x="665" y="2987"/>
                </a:lnTo>
                <a:lnTo>
                  <a:pt x="798" y="3076"/>
                </a:lnTo>
                <a:lnTo>
                  <a:pt x="939" y="3152"/>
                </a:lnTo>
                <a:lnTo>
                  <a:pt x="1088" y="3216"/>
                </a:lnTo>
                <a:lnTo>
                  <a:pt x="1243" y="3264"/>
                </a:lnTo>
                <a:lnTo>
                  <a:pt x="1405" y="3298"/>
                </a:lnTo>
                <a:lnTo>
                  <a:pt x="1573" y="3314"/>
                </a:lnTo>
                <a:lnTo>
                  <a:pt x="1658" y="3316"/>
                </a:lnTo>
                <a:lnTo>
                  <a:pt x="1744" y="3314"/>
                </a:lnTo>
                <a:lnTo>
                  <a:pt x="1911" y="3298"/>
                </a:lnTo>
                <a:lnTo>
                  <a:pt x="2073" y="3264"/>
                </a:lnTo>
                <a:lnTo>
                  <a:pt x="2228" y="3216"/>
                </a:lnTo>
                <a:lnTo>
                  <a:pt x="2378" y="3152"/>
                </a:lnTo>
                <a:lnTo>
                  <a:pt x="2518" y="3076"/>
                </a:lnTo>
                <a:lnTo>
                  <a:pt x="2650" y="2987"/>
                </a:lnTo>
                <a:lnTo>
                  <a:pt x="2773" y="2885"/>
                </a:lnTo>
                <a:lnTo>
                  <a:pt x="2886" y="2773"/>
                </a:lnTo>
                <a:lnTo>
                  <a:pt x="2987" y="2650"/>
                </a:lnTo>
                <a:lnTo>
                  <a:pt x="3076" y="2517"/>
                </a:lnTo>
                <a:lnTo>
                  <a:pt x="3153" y="2377"/>
                </a:lnTo>
                <a:lnTo>
                  <a:pt x="3216" y="2228"/>
                </a:lnTo>
                <a:lnTo>
                  <a:pt x="3264" y="2073"/>
                </a:lnTo>
                <a:lnTo>
                  <a:pt x="3298" y="1911"/>
                </a:lnTo>
                <a:lnTo>
                  <a:pt x="3315" y="1744"/>
                </a:lnTo>
                <a:lnTo>
                  <a:pt x="3316" y="1658"/>
                </a:lnTo>
                <a:lnTo>
                  <a:pt x="3315" y="1572"/>
                </a:lnTo>
                <a:lnTo>
                  <a:pt x="3298" y="1405"/>
                </a:lnTo>
                <a:lnTo>
                  <a:pt x="3264" y="1243"/>
                </a:lnTo>
                <a:lnTo>
                  <a:pt x="3216" y="1088"/>
                </a:lnTo>
                <a:lnTo>
                  <a:pt x="3153" y="939"/>
                </a:lnTo>
                <a:lnTo>
                  <a:pt x="3076" y="797"/>
                </a:lnTo>
                <a:lnTo>
                  <a:pt x="2987" y="665"/>
                </a:lnTo>
                <a:lnTo>
                  <a:pt x="2886" y="542"/>
                </a:lnTo>
                <a:lnTo>
                  <a:pt x="2773" y="431"/>
                </a:lnTo>
                <a:lnTo>
                  <a:pt x="2650" y="328"/>
                </a:lnTo>
                <a:lnTo>
                  <a:pt x="2518" y="239"/>
                </a:lnTo>
                <a:lnTo>
                  <a:pt x="2378" y="162"/>
                </a:lnTo>
                <a:lnTo>
                  <a:pt x="2228" y="100"/>
                </a:lnTo>
                <a:lnTo>
                  <a:pt x="2073" y="52"/>
                </a:lnTo>
                <a:lnTo>
                  <a:pt x="1911" y="18"/>
                </a:lnTo>
                <a:lnTo>
                  <a:pt x="1744" y="2"/>
                </a:lnTo>
                <a:lnTo>
                  <a:pt x="1658" y="0"/>
                </a:lnTo>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58" name="Freeform 587">
            <a:extLst>
              <a:ext uri="{FF2B5EF4-FFF2-40B4-BE49-F238E27FC236}">
                <a16:creationId xmlns:a16="http://schemas.microsoft.com/office/drawing/2014/main" id="{368D904D-26DB-3852-213B-04F5C80D844D}"/>
              </a:ext>
            </a:extLst>
          </p:cNvPr>
          <p:cNvSpPr>
            <a:spLocks/>
          </p:cNvSpPr>
          <p:nvPr/>
        </p:nvSpPr>
        <p:spPr bwMode="auto">
          <a:xfrm>
            <a:off x="6582141" y="3241548"/>
            <a:ext cx="689438" cy="689438"/>
          </a:xfrm>
          <a:custGeom>
            <a:avLst/>
            <a:gdLst>
              <a:gd name="T0" fmla="*/ 946 w 1995"/>
              <a:gd name="T1" fmla="*/ 1993 h 1995"/>
              <a:gd name="T2" fmla="*/ 748 w 1995"/>
              <a:gd name="T3" fmla="*/ 1964 h 1995"/>
              <a:gd name="T4" fmla="*/ 565 w 1995"/>
              <a:gd name="T5" fmla="*/ 1898 h 1995"/>
              <a:gd name="T6" fmla="*/ 401 w 1995"/>
              <a:gd name="T7" fmla="*/ 1798 h 1995"/>
              <a:gd name="T8" fmla="*/ 259 w 1995"/>
              <a:gd name="T9" fmla="*/ 1668 h 1995"/>
              <a:gd name="T10" fmla="*/ 145 w 1995"/>
              <a:gd name="T11" fmla="*/ 1515 h 1995"/>
              <a:gd name="T12" fmla="*/ 61 w 1995"/>
              <a:gd name="T13" fmla="*/ 1340 h 1995"/>
              <a:gd name="T14" fmla="*/ 12 w 1995"/>
              <a:gd name="T15" fmla="*/ 1150 h 1995"/>
              <a:gd name="T16" fmla="*/ 0 w 1995"/>
              <a:gd name="T17" fmla="*/ 998 h 1995"/>
              <a:gd name="T18" fmla="*/ 12 w 1995"/>
              <a:gd name="T19" fmla="*/ 846 h 1995"/>
              <a:gd name="T20" fmla="*/ 61 w 1995"/>
              <a:gd name="T21" fmla="*/ 655 h 1995"/>
              <a:gd name="T22" fmla="*/ 145 w 1995"/>
              <a:gd name="T23" fmla="*/ 481 h 1995"/>
              <a:gd name="T24" fmla="*/ 259 w 1995"/>
              <a:gd name="T25" fmla="*/ 327 h 1995"/>
              <a:gd name="T26" fmla="*/ 401 w 1995"/>
              <a:gd name="T27" fmla="*/ 198 h 1995"/>
              <a:gd name="T28" fmla="*/ 565 w 1995"/>
              <a:gd name="T29" fmla="*/ 98 h 1995"/>
              <a:gd name="T30" fmla="*/ 748 w 1995"/>
              <a:gd name="T31" fmla="*/ 31 h 1995"/>
              <a:gd name="T32" fmla="*/ 946 w 1995"/>
              <a:gd name="T33" fmla="*/ 1 h 1995"/>
              <a:gd name="T34" fmla="*/ 1049 w 1995"/>
              <a:gd name="T35" fmla="*/ 1 h 1995"/>
              <a:gd name="T36" fmla="*/ 1247 w 1995"/>
              <a:gd name="T37" fmla="*/ 31 h 1995"/>
              <a:gd name="T38" fmla="*/ 1431 w 1995"/>
              <a:gd name="T39" fmla="*/ 98 h 1995"/>
              <a:gd name="T40" fmla="*/ 1594 w 1995"/>
              <a:gd name="T41" fmla="*/ 198 h 1995"/>
              <a:gd name="T42" fmla="*/ 1737 w 1995"/>
              <a:gd name="T43" fmla="*/ 327 h 1995"/>
              <a:gd name="T44" fmla="*/ 1851 w 1995"/>
              <a:gd name="T45" fmla="*/ 481 h 1995"/>
              <a:gd name="T46" fmla="*/ 1935 w 1995"/>
              <a:gd name="T47" fmla="*/ 655 h 1995"/>
              <a:gd name="T48" fmla="*/ 1985 w 1995"/>
              <a:gd name="T49" fmla="*/ 846 h 1995"/>
              <a:gd name="T50" fmla="*/ 1995 w 1995"/>
              <a:gd name="T51" fmla="*/ 998 h 1995"/>
              <a:gd name="T52" fmla="*/ 1985 w 1995"/>
              <a:gd name="T53" fmla="*/ 1150 h 1995"/>
              <a:gd name="T54" fmla="*/ 1935 w 1995"/>
              <a:gd name="T55" fmla="*/ 1340 h 1995"/>
              <a:gd name="T56" fmla="*/ 1851 w 1995"/>
              <a:gd name="T57" fmla="*/ 1515 h 1995"/>
              <a:gd name="T58" fmla="*/ 1737 w 1995"/>
              <a:gd name="T59" fmla="*/ 1668 h 1995"/>
              <a:gd name="T60" fmla="*/ 1594 w 1995"/>
              <a:gd name="T61" fmla="*/ 1798 h 1995"/>
              <a:gd name="T62" fmla="*/ 1431 w 1995"/>
              <a:gd name="T63" fmla="*/ 1898 h 1995"/>
              <a:gd name="T64" fmla="*/ 1247 w 1995"/>
              <a:gd name="T65" fmla="*/ 1964 h 1995"/>
              <a:gd name="T66" fmla="*/ 1049 w 1995"/>
              <a:gd name="T67" fmla="*/ 1993 h 1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95" h="1995">
                <a:moveTo>
                  <a:pt x="998" y="1995"/>
                </a:moveTo>
                <a:lnTo>
                  <a:pt x="946" y="1993"/>
                </a:lnTo>
                <a:lnTo>
                  <a:pt x="847" y="1984"/>
                </a:lnTo>
                <a:lnTo>
                  <a:pt x="748" y="1964"/>
                </a:lnTo>
                <a:lnTo>
                  <a:pt x="655" y="1935"/>
                </a:lnTo>
                <a:lnTo>
                  <a:pt x="565" y="1898"/>
                </a:lnTo>
                <a:lnTo>
                  <a:pt x="481" y="1851"/>
                </a:lnTo>
                <a:lnTo>
                  <a:pt x="401" y="1798"/>
                </a:lnTo>
                <a:lnTo>
                  <a:pt x="327" y="1735"/>
                </a:lnTo>
                <a:lnTo>
                  <a:pt x="259" y="1668"/>
                </a:lnTo>
                <a:lnTo>
                  <a:pt x="198" y="1594"/>
                </a:lnTo>
                <a:lnTo>
                  <a:pt x="145" y="1515"/>
                </a:lnTo>
                <a:lnTo>
                  <a:pt x="99" y="1430"/>
                </a:lnTo>
                <a:lnTo>
                  <a:pt x="61" y="1340"/>
                </a:lnTo>
                <a:lnTo>
                  <a:pt x="31" y="1247"/>
                </a:lnTo>
                <a:lnTo>
                  <a:pt x="12" y="1150"/>
                </a:lnTo>
                <a:lnTo>
                  <a:pt x="1" y="1049"/>
                </a:lnTo>
                <a:lnTo>
                  <a:pt x="0" y="998"/>
                </a:lnTo>
                <a:lnTo>
                  <a:pt x="1" y="946"/>
                </a:lnTo>
                <a:lnTo>
                  <a:pt x="12" y="846"/>
                </a:lnTo>
                <a:lnTo>
                  <a:pt x="31" y="748"/>
                </a:lnTo>
                <a:lnTo>
                  <a:pt x="61" y="655"/>
                </a:lnTo>
                <a:lnTo>
                  <a:pt x="99" y="565"/>
                </a:lnTo>
                <a:lnTo>
                  <a:pt x="145" y="481"/>
                </a:lnTo>
                <a:lnTo>
                  <a:pt x="198" y="400"/>
                </a:lnTo>
                <a:lnTo>
                  <a:pt x="259" y="327"/>
                </a:lnTo>
                <a:lnTo>
                  <a:pt x="327" y="259"/>
                </a:lnTo>
                <a:lnTo>
                  <a:pt x="401" y="198"/>
                </a:lnTo>
                <a:lnTo>
                  <a:pt x="481" y="145"/>
                </a:lnTo>
                <a:lnTo>
                  <a:pt x="565" y="98"/>
                </a:lnTo>
                <a:lnTo>
                  <a:pt x="655" y="61"/>
                </a:lnTo>
                <a:lnTo>
                  <a:pt x="748" y="31"/>
                </a:lnTo>
                <a:lnTo>
                  <a:pt x="847" y="12"/>
                </a:lnTo>
                <a:lnTo>
                  <a:pt x="946" y="1"/>
                </a:lnTo>
                <a:lnTo>
                  <a:pt x="998" y="0"/>
                </a:lnTo>
                <a:lnTo>
                  <a:pt x="1049" y="1"/>
                </a:lnTo>
                <a:lnTo>
                  <a:pt x="1150" y="12"/>
                </a:lnTo>
                <a:lnTo>
                  <a:pt x="1247" y="31"/>
                </a:lnTo>
                <a:lnTo>
                  <a:pt x="1340" y="61"/>
                </a:lnTo>
                <a:lnTo>
                  <a:pt x="1431" y="98"/>
                </a:lnTo>
                <a:lnTo>
                  <a:pt x="1515" y="145"/>
                </a:lnTo>
                <a:lnTo>
                  <a:pt x="1594" y="198"/>
                </a:lnTo>
                <a:lnTo>
                  <a:pt x="1668" y="259"/>
                </a:lnTo>
                <a:lnTo>
                  <a:pt x="1737" y="327"/>
                </a:lnTo>
                <a:lnTo>
                  <a:pt x="1798" y="400"/>
                </a:lnTo>
                <a:lnTo>
                  <a:pt x="1851" y="481"/>
                </a:lnTo>
                <a:lnTo>
                  <a:pt x="1898" y="565"/>
                </a:lnTo>
                <a:lnTo>
                  <a:pt x="1935" y="655"/>
                </a:lnTo>
                <a:lnTo>
                  <a:pt x="1964" y="748"/>
                </a:lnTo>
                <a:lnTo>
                  <a:pt x="1985" y="846"/>
                </a:lnTo>
                <a:lnTo>
                  <a:pt x="1995" y="946"/>
                </a:lnTo>
                <a:lnTo>
                  <a:pt x="1995" y="998"/>
                </a:lnTo>
                <a:lnTo>
                  <a:pt x="1995" y="1049"/>
                </a:lnTo>
                <a:lnTo>
                  <a:pt x="1985" y="1150"/>
                </a:lnTo>
                <a:lnTo>
                  <a:pt x="1964" y="1247"/>
                </a:lnTo>
                <a:lnTo>
                  <a:pt x="1935" y="1340"/>
                </a:lnTo>
                <a:lnTo>
                  <a:pt x="1898" y="1430"/>
                </a:lnTo>
                <a:lnTo>
                  <a:pt x="1851" y="1515"/>
                </a:lnTo>
                <a:lnTo>
                  <a:pt x="1798" y="1594"/>
                </a:lnTo>
                <a:lnTo>
                  <a:pt x="1737" y="1668"/>
                </a:lnTo>
                <a:lnTo>
                  <a:pt x="1668" y="1735"/>
                </a:lnTo>
                <a:lnTo>
                  <a:pt x="1594" y="1798"/>
                </a:lnTo>
                <a:lnTo>
                  <a:pt x="1515" y="1851"/>
                </a:lnTo>
                <a:lnTo>
                  <a:pt x="1431" y="1898"/>
                </a:lnTo>
                <a:lnTo>
                  <a:pt x="1340" y="1935"/>
                </a:lnTo>
                <a:lnTo>
                  <a:pt x="1247" y="1964"/>
                </a:lnTo>
                <a:lnTo>
                  <a:pt x="1150" y="1984"/>
                </a:lnTo>
                <a:lnTo>
                  <a:pt x="1049" y="1993"/>
                </a:lnTo>
                <a:lnTo>
                  <a:pt x="998" y="199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89">
            <a:extLst>
              <a:ext uri="{FF2B5EF4-FFF2-40B4-BE49-F238E27FC236}">
                <a16:creationId xmlns:a16="http://schemas.microsoft.com/office/drawing/2014/main" id="{475F06DF-47A5-B4CA-0A60-ABA02551EB77}"/>
              </a:ext>
            </a:extLst>
          </p:cNvPr>
          <p:cNvSpPr>
            <a:spLocks/>
          </p:cNvSpPr>
          <p:nvPr/>
        </p:nvSpPr>
        <p:spPr bwMode="auto">
          <a:xfrm>
            <a:off x="7225984" y="3591103"/>
            <a:ext cx="160270" cy="392385"/>
          </a:xfrm>
          <a:custGeom>
            <a:avLst/>
            <a:gdLst>
              <a:gd name="T0" fmla="*/ 462 w 462"/>
              <a:gd name="T1" fmla="*/ 981 h 1135"/>
              <a:gd name="T2" fmla="*/ 460 w 462"/>
              <a:gd name="T3" fmla="*/ 985 h 1135"/>
              <a:gd name="T4" fmla="*/ 457 w 462"/>
              <a:gd name="T5" fmla="*/ 989 h 1135"/>
              <a:gd name="T6" fmla="*/ 443 w 462"/>
              <a:gd name="T7" fmla="*/ 1007 h 1135"/>
              <a:gd name="T8" fmla="*/ 427 w 462"/>
              <a:gd name="T9" fmla="*/ 1025 h 1135"/>
              <a:gd name="T10" fmla="*/ 418 w 462"/>
              <a:gd name="T11" fmla="*/ 1037 h 1135"/>
              <a:gd name="T12" fmla="*/ 409 w 462"/>
              <a:gd name="T13" fmla="*/ 1048 h 1135"/>
              <a:gd name="T14" fmla="*/ 408 w 462"/>
              <a:gd name="T15" fmla="*/ 1050 h 1135"/>
              <a:gd name="T16" fmla="*/ 408 w 462"/>
              <a:gd name="T17" fmla="*/ 1050 h 1135"/>
              <a:gd name="T18" fmla="*/ 396 w 462"/>
              <a:gd name="T19" fmla="*/ 1064 h 1135"/>
              <a:gd name="T20" fmla="*/ 383 w 462"/>
              <a:gd name="T21" fmla="*/ 1078 h 1135"/>
              <a:gd name="T22" fmla="*/ 369 w 462"/>
              <a:gd name="T23" fmla="*/ 1095 h 1135"/>
              <a:gd name="T24" fmla="*/ 355 w 462"/>
              <a:gd name="T25" fmla="*/ 1110 h 1135"/>
              <a:gd name="T26" fmla="*/ 343 w 462"/>
              <a:gd name="T27" fmla="*/ 1123 h 1135"/>
              <a:gd name="T28" fmla="*/ 332 w 462"/>
              <a:gd name="T29" fmla="*/ 1135 h 1135"/>
              <a:gd name="T30" fmla="*/ 276 w 462"/>
              <a:gd name="T31" fmla="*/ 1062 h 1135"/>
              <a:gd name="T32" fmla="*/ 177 w 462"/>
              <a:gd name="T33" fmla="*/ 908 h 1135"/>
              <a:gd name="T34" fmla="*/ 94 w 462"/>
              <a:gd name="T35" fmla="*/ 745 h 1135"/>
              <a:gd name="T36" fmla="*/ 27 w 462"/>
              <a:gd name="T37" fmla="*/ 573 h 1135"/>
              <a:gd name="T38" fmla="*/ 0 w 462"/>
              <a:gd name="T39" fmla="*/ 483 h 1135"/>
              <a:gd name="T40" fmla="*/ 36 w 462"/>
              <a:gd name="T41" fmla="*/ 417 h 1135"/>
              <a:gd name="T42" fmla="*/ 65 w 462"/>
              <a:gd name="T43" fmla="*/ 348 h 1135"/>
              <a:gd name="T44" fmla="*/ 68 w 462"/>
              <a:gd name="T45" fmla="*/ 341 h 1135"/>
              <a:gd name="T46" fmla="*/ 71 w 462"/>
              <a:gd name="T47" fmla="*/ 333 h 1135"/>
              <a:gd name="T48" fmla="*/ 81 w 462"/>
              <a:gd name="T49" fmla="*/ 303 h 1135"/>
              <a:gd name="T50" fmla="*/ 90 w 462"/>
              <a:gd name="T51" fmla="*/ 273 h 1135"/>
              <a:gd name="T52" fmla="*/ 94 w 462"/>
              <a:gd name="T53" fmla="*/ 263 h 1135"/>
              <a:gd name="T54" fmla="*/ 97 w 462"/>
              <a:gd name="T55" fmla="*/ 252 h 1135"/>
              <a:gd name="T56" fmla="*/ 100 w 462"/>
              <a:gd name="T57" fmla="*/ 242 h 1135"/>
              <a:gd name="T58" fmla="*/ 102 w 462"/>
              <a:gd name="T59" fmla="*/ 232 h 1135"/>
              <a:gd name="T60" fmla="*/ 105 w 462"/>
              <a:gd name="T61" fmla="*/ 223 h 1135"/>
              <a:gd name="T62" fmla="*/ 106 w 462"/>
              <a:gd name="T63" fmla="*/ 214 h 1135"/>
              <a:gd name="T64" fmla="*/ 110 w 462"/>
              <a:gd name="T65" fmla="*/ 201 h 1135"/>
              <a:gd name="T66" fmla="*/ 112 w 462"/>
              <a:gd name="T67" fmla="*/ 189 h 1135"/>
              <a:gd name="T68" fmla="*/ 112 w 462"/>
              <a:gd name="T69" fmla="*/ 182 h 1135"/>
              <a:gd name="T70" fmla="*/ 114 w 462"/>
              <a:gd name="T71" fmla="*/ 177 h 1135"/>
              <a:gd name="T72" fmla="*/ 116 w 462"/>
              <a:gd name="T73" fmla="*/ 166 h 1135"/>
              <a:gd name="T74" fmla="*/ 119 w 462"/>
              <a:gd name="T75" fmla="*/ 153 h 1135"/>
              <a:gd name="T76" fmla="*/ 125 w 462"/>
              <a:gd name="T77" fmla="*/ 109 h 1135"/>
              <a:gd name="T78" fmla="*/ 129 w 462"/>
              <a:gd name="T79" fmla="*/ 64 h 1135"/>
              <a:gd name="T80" fmla="*/ 131 w 462"/>
              <a:gd name="T81" fmla="*/ 53 h 1135"/>
              <a:gd name="T82" fmla="*/ 131 w 462"/>
              <a:gd name="T83" fmla="*/ 41 h 1135"/>
              <a:gd name="T84" fmla="*/ 131 w 462"/>
              <a:gd name="T85" fmla="*/ 39 h 1135"/>
              <a:gd name="T86" fmla="*/ 131 w 462"/>
              <a:gd name="T87" fmla="*/ 35 h 1135"/>
              <a:gd name="T88" fmla="*/ 132 w 462"/>
              <a:gd name="T89" fmla="*/ 26 h 1135"/>
              <a:gd name="T90" fmla="*/ 132 w 462"/>
              <a:gd name="T91" fmla="*/ 17 h 1135"/>
              <a:gd name="T92" fmla="*/ 132 w 462"/>
              <a:gd name="T93" fmla="*/ 7 h 1135"/>
              <a:gd name="T94" fmla="*/ 132 w 462"/>
              <a:gd name="T95" fmla="*/ 0 h 1135"/>
              <a:gd name="T96" fmla="*/ 133 w 462"/>
              <a:gd name="T97" fmla="*/ 68 h 1135"/>
              <a:gd name="T98" fmla="*/ 145 w 462"/>
              <a:gd name="T99" fmla="*/ 204 h 1135"/>
              <a:gd name="T100" fmla="*/ 168 w 462"/>
              <a:gd name="T101" fmla="*/ 335 h 1135"/>
              <a:gd name="T102" fmla="*/ 201 w 462"/>
              <a:gd name="T103" fmla="*/ 464 h 1135"/>
              <a:gd name="T104" fmla="*/ 243 w 462"/>
              <a:gd name="T105" fmla="*/ 587 h 1135"/>
              <a:gd name="T106" fmla="*/ 295 w 462"/>
              <a:gd name="T107" fmla="*/ 706 h 1135"/>
              <a:gd name="T108" fmla="*/ 355 w 462"/>
              <a:gd name="T109" fmla="*/ 820 h 1135"/>
              <a:gd name="T110" fmla="*/ 425 w 462"/>
              <a:gd name="T111" fmla="*/ 929 h 1135"/>
              <a:gd name="T112" fmla="*/ 462 w 462"/>
              <a:gd name="T113" fmla="*/ 981 h 1135"/>
              <a:gd name="T114" fmla="*/ 462 w 462"/>
              <a:gd name="T115" fmla="*/ 981 h 1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62" h="1135">
                <a:moveTo>
                  <a:pt x="462" y="981"/>
                </a:moveTo>
                <a:lnTo>
                  <a:pt x="460" y="985"/>
                </a:lnTo>
                <a:lnTo>
                  <a:pt x="457" y="989"/>
                </a:lnTo>
                <a:lnTo>
                  <a:pt x="443" y="1007"/>
                </a:lnTo>
                <a:lnTo>
                  <a:pt x="427" y="1025"/>
                </a:lnTo>
                <a:lnTo>
                  <a:pt x="418" y="1037"/>
                </a:lnTo>
                <a:lnTo>
                  <a:pt x="409" y="1048"/>
                </a:lnTo>
                <a:lnTo>
                  <a:pt x="408" y="1050"/>
                </a:lnTo>
                <a:lnTo>
                  <a:pt x="408" y="1050"/>
                </a:lnTo>
                <a:lnTo>
                  <a:pt x="396" y="1064"/>
                </a:lnTo>
                <a:lnTo>
                  <a:pt x="383" y="1078"/>
                </a:lnTo>
                <a:lnTo>
                  <a:pt x="369" y="1095"/>
                </a:lnTo>
                <a:lnTo>
                  <a:pt x="355" y="1110"/>
                </a:lnTo>
                <a:lnTo>
                  <a:pt x="343" y="1123"/>
                </a:lnTo>
                <a:lnTo>
                  <a:pt x="332" y="1135"/>
                </a:lnTo>
                <a:lnTo>
                  <a:pt x="276" y="1062"/>
                </a:lnTo>
                <a:lnTo>
                  <a:pt x="177" y="908"/>
                </a:lnTo>
                <a:lnTo>
                  <a:pt x="94" y="745"/>
                </a:lnTo>
                <a:lnTo>
                  <a:pt x="27" y="573"/>
                </a:lnTo>
                <a:lnTo>
                  <a:pt x="0" y="483"/>
                </a:lnTo>
                <a:lnTo>
                  <a:pt x="36" y="417"/>
                </a:lnTo>
                <a:lnTo>
                  <a:pt x="65" y="348"/>
                </a:lnTo>
                <a:lnTo>
                  <a:pt x="68" y="341"/>
                </a:lnTo>
                <a:lnTo>
                  <a:pt x="71" y="333"/>
                </a:lnTo>
                <a:lnTo>
                  <a:pt x="81" y="303"/>
                </a:lnTo>
                <a:lnTo>
                  <a:pt x="90" y="273"/>
                </a:lnTo>
                <a:lnTo>
                  <a:pt x="94" y="263"/>
                </a:lnTo>
                <a:lnTo>
                  <a:pt x="97" y="252"/>
                </a:lnTo>
                <a:lnTo>
                  <a:pt x="100" y="242"/>
                </a:lnTo>
                <a:lnTo>
                  <a:pt x="102" y="232"/>
                </a:lnTo>
                <a:lnTo>
                  <a:pt x="105" y="223"/>
                </a:lnTo>
                <a:lnTo>
                  <a:pt x="106" y="214"/>
                </a:lnTo>
                <a:lnTo>
                  <a:pt x="110" y="201"/>
                </a:lnTo>
                <a:lnTo>
                  <a:pt x="112" y="189"/>
                </a:lnTo>
                <a:lnTo>
                  <a:pt x="112" y="182"/>
                </a:lnTo>
                <a:lnTo>
                  <a:pt x="114" y="177"/>
                </a:lnTo>
                <a:lnTo>
                  <a:pt x="116" y="166"/>
                </a:lnTo>
                <a:lnTo>
                  <a:pt x="119" y="153"/>
                </a:lnTo>
                <a:lnTo>
                  <a:pt x="125" y="109"/>
                </a:lnTo>
                <a:lnTo>
                  <a:pt x="129" y="64"/>
                </a:lnTo>
                <a:lnTo>
                  <a:pt x="131" y="53"/>
                </a:lnTo>
                <a:lnTo>
                  <a:pt x="131" y="41"/>
                </a:lnTo>
                <a:lnTo>
                  <a:pt x="131" y="39"/>
                </a:lnTo>
                <a:lnTo>
                  <a:pt x="131" y="35"/>
                </a:lnTo>
                <a:lnTo>
                  <a:pt x="132" y="26"/>
                </a:lnTo>
                <a:lnTo>
                  <a:pt x="132" y="17"/>
                </a:lnTo>
                <a:lnTo>
                  <a:pt x="132" y="7"/>
                </a:lnTo>
                <a:lnTo>
                  <a:pt x="132" y="0"/>
                </a:lnTo>
                <a:lnTo>
                  <a:pt x="133" y="68"/>
                </a:lnTo>
                <a:lnTo>
                  <a:pt x="145" y="204"/>
                </a:lnTo>
                <a:lnTo>
                  <a:pt x="168" y="335"/>
                </a:lnTo>
                <a:lnTo>
                  <a:pt x="201" y="464"/>
                </a:lnTo>
                <a:lnTo>
                  <a:pt x="243" y="587"/>
                </a:lnTo>
                <a:lnTo>
                  <a:pt x="295" y="706"/>
                </a:lnTo>
                <a:lnTo>
                  <a:pt x="355" y="820"/>
                </a:lnTo>
                <a:lnTo>
                  <a:pt x="425" y="929"/>
                </a:lnTo>
                <a:lnTo>
                  <a:pt x="462" y="981"/>
                </a:lnTo>
                <a:lnTo>
                  <a:pt x="462" y="981"/>
                </a:ln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0" name="Freeform 590">
            <a:extLst>
              <a:ext uri="{FF2B5EF4-FFF2-40B4-BE49-F238E27FC236}">
                <a16:creationId xmlns:a16="http://schemas.microsoft.com/office/drawing/2014/main" id="{1369BC24-7292-B24A-8D68-04AC6E24C3AE}"/>
              </a:ext>
            </a:extLst>
          </p:cNvPr>
          <p:cNvSpPr>
            <a:spLocks/>
          </p:cNvSpPr>
          <p:nvPr/>
        </p:nvSpPr>
        <p:spPr bwMode="auto">
          <a:xfrm>
            <a:off x="7225984" y="3591103"/>
            <a:ext cx="160270" cy="392385"/>
          </a:xfrm>
          <a:custGeom>
            <a:avLst/>
            <a:gdLst>
              <a:gd name="T0" fmla="*/ 132 w 462"/>
              <a:gd name="T1" fmla="*/ 0 h 1135"/>
              <a:gd name="T2" fmla="*/ 132 w 462"/>
              <a:gd name="T3" fmla="*/ 7 h 1135"/>
              <a:gd name="T4" fmla="*/ 132 w 462"/>
              <a:gd name="T5" fmla="*/ 17 h 1135"/>
              <a:gd name="T6" fmla="*/ 132 w 462"/>
              <a:gd name="T7" fmla="*/ 26 h 1135"/>
              <a:gd name="T8" fmla="*/ 131 w 462"/>
              <a:gd name="T9" fmla="*/ 35 h 1135"/>
              <a:gd name="T10" fmla="*/ 131 w 462"/>
              <a:gd name="T11" fmla="*/ 39 h 1135"/>
              <a:gd name="T12" fmla="*/ 131 w 462"/>
              <a:gd name="T13" fmla="*/ 41 h 1135"/>
              <a:gd name="T14" fmla="*/ 131 w 462"/>
              <a:gd name="T15" fmla="*/ 53 h 1135"/>
              <a:gd name="T16" fmla="*/ 129 w 462"/>
              <a:gd name="T17" fmla="*/ 64 h 1135"/>
              <a:gd name="T18" fmla="*/ 125 w 462"/>
              <a:gd name="T19" fmla="*/ 109 h 1135"/>
              <a:gd name="T20" fmla="*/ 119 w 462"/>
              <a:gd name="T21" fmla="*/ 153 h 1135"/>
              <a:gd name="T22" fmla="*/ 116 w 462"/>
              <a:gd name="T23" fmla="*/ 166 h 1135"/>
              <a:gd name="T24" fmla="*/ 114 w 462"/>
              <a:gd name="T25" fmla="*/ 177 h 1135"/>
              <a:gd name="T26" fmla="*/ 112 w 462"/>
              <a:gd name="T27" fmla="*/ 182 h 1135"/>
              <a:gd name="T28" fmla="*/ 112 w 462"/>
              <a:gd name="T29" fmla="*/ 189 h 1135"/>
              <a:gd name="T30" fmla="*/ 110 w 462"/>
              <a:gd name="T31" fmla="*/ 201 h 1135"/>
              <a:gd name="T32" fmla="*/ 106 w 462"/>
              <a:gd name="T33" fmla="*/ 214 h 1135"/>
              <a:gd name="T34" fmla="*/ 105 w 462"/>
              <a:gd name="T35" fmla="*/ 223 h 1135"/>
              <a:gd name="T36" fmla="*/ 102 w 462"/>
              <a:gd name="T37" fmla="*/ 232 h 1135"/>
              <a:gd name="T38" fmla="*/ 100 w 462"/>
              <a:gd name="T39" fmla="*/ 242 h 1135"/>
              <a:gd name="T40" fmla="*/ 97 w 462"/>
              <a:gd name="T41" fmla="*/ 252 h 1135"/>
              <a:gd name="T42" fmla="*/ 94 w 462"/>
              <a:gd name="T43" fmla="*/ 263 h 1135"/>
              <a:gd name="T44" fmla="*/ 90 w 462"/>
              <a:gd name="T45" fmla="*/ 273 h 1135"/>
              <a:gd name="T46" fmla="*/ 81 w 462"/>
              <a:gd name="T47" fmla="*/ 303 h 1135"/>
              <a:gd name="T48" fmla="*/ 71 w 462"/>
              <a:gd name="T49" fmla="*/ 333 h 1135"/>
              <a:gd name="T50" fmla="*/ 65 w 462"/>
              <a:gd name="T51" fmla="*/ 348 h 1135"/>
              <a:gd name="T52" fmla="*/ 36 w 462"/>
              <a:gd name="T53" fmla="*/ 417 h 1135"/>
              <a:gd name="T54" fmla="*/ 0 w 462"/>
              <a:gd name="T55" fmla="*/ 483 h 1135"/>
              <a:gd name="T56" fmla="*/ 27 w 462"/>
              <a:gd name="T57" fmla="*/ 573 h 1135"/>
              <a:gd name="T58" fmla="*/ 94 w 462"/>
              <a:gd name="T59" fmla="*/ 745 h 1135"/>
              <a:gd name="T60" fmla="*/ 177 w 462"/>
              <a:gd name="T61" fmla="*/ 908 h 1135"/>
              <a:gd name="T62" fmla="*/ 276 w 462"/>
              <a:gd name="T63" fmla="*/ 1062 h 1135"/>
              <a:gd name="T64" fmla="*/ 332 w 462"/>
              <a:gd name="T65" fmla="*/ 1135 h 1135"/>
              <a:gd name="T66" fmla="*/ 343 w 462"/>
              <a:gd name="T67" fmla="*/ 1123 h 1135"/>
              <a:gd name="T68" fmla="*/ 355 w 462"/>
              <a:gd name="T69" fmla="*/ 1110 h 1135"/>
              <a:gd name="T70" fmla="*/ 369 w 462"/>
              <a:gd name="T71" fmla="*/ 1095 h 1135"/>
              <a:gd name="T72" fmla="*/ 383 w 462"/>
              <a:gd name="T73" fmla="*/ 1078 h 1135"/>
              <a:gd name="T74" fmla="*/ 396 w 462"/>
              <a:gd name="T75" fmla="*/ 1064 h 1135"/>
              <a:gd name="T76" fmla="*/ 408 w 462"/>
              <a:gd name="T77" fmla="*/ 1050 h 1135"/>
              <a:gd name="T78" fmla="*/ 408 w 462"/>
              <a:gd name="T79" fmla="*/ 1050 h 1135"/>
              <a:gd name="T80" fmla="*/ 409 w 462"/>
              <a:gd name="T81" fmla="*/ 1048 h 1135"/>
              <a:gd name="T82" fmla="*/ 418 w 462"/>
              <a:gd name="T83" fmla="*/ 1037 h 1135"/>
              <a:gd name="T84" fmla="*/ 427 w 462"/>
              <a:gd name="T85" fmla="*/ 1025 h 1135"/>
              <a:gd name="T86" fmla="*/ 443 w 462"/>
              <a:gd name="T87" fmla="*/ 1007 h 1135"/>
              <a:gd name="T88" fmla="*/ 457 w 462"/>
              <a:gd name="T89" fmla="*/ 989 h 1135"/>
              <a:gd name="T90" fmla="*/ 460 w 462"/>
              <a:gd name="T91" fmla="*/ 985 h 1135"/>
              <a:gd name="T92" fmla="*/ 462 w 462"/>
              <a:gd name="T93" fmla="*/ 981 h 1135"/>
              <a:gd name="T94" fmla="*/ 425 w 462"/>
              <a:gd name="T95" fmla="*/ 929 h 1135"/>
              <a:gd name="T96" fmla="*/ 355 w 462"/>
              <a:gd name="T97" fmla="*/ 820 h 1135"/>
              <a:gd name="T98" fmla="*/ 295 w 462"/>
              <a:gd name="T99" fmla="*/ 706 h 1135"/>
              <a:gd name="T100" fmla="*/ 243 w 462"/>
              <a:gd name="T101" fmla="*/ 587 h 1135"/>
              <a:gd name="T102" fmla="*/ 201 w 462"/>
              <a:gd name="T103" fmla="*/ 464 h 1135"/>
              <a:gd name="T104" fmla="*/ 168 w 462"/>
              <a:gd name="T105" fmla="*/ 335 h 1135"/>
              <a:gd name="T106" fmla="*/ 145 w 462"/>
              <a:gd name="T107" fmla="*/ 204 h 1135"/>
              <a:gd name="T108" fmla="*/ 133 w 462"/>
              <a:gd name="T109" fmla="*/ 68 h 1135"/>
              <a:gd name="T110" fmla="*/ 132 w 462"/>
              <a:gd name="T111" fmla="*/ 0 h 1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62" h="1135">
                <a:moveTo>
                  <a:pt x="132" y="0"/>
                </a:moveTo>
                <a:lnTo>
                  <a:pt x="132" y="7"/>
                </a:lnTo>
                <a:lnTo>
                  <a:pt x="132" y="17"/>
                </a:lnTo>
                <a:lnTo>
                  <a:pt x="132" y="26"/>
                </a:lnTo>
                <a:lnTo>
                  <a:pt x="131" y="35"/>
                </a:lnTo>
                <a:lnTo>
                  <a:pt x="131" y="39"/>
                </a:lnTo>
                <a:lnTo>
                  <a:pt x="131" y="41"/>
                </a:lnTo>
                <a:lnTo>
                  <a:pt x="131" y="53"/>
                </a:lnTo>
                <a:lnTo>
                  <a:pt x="129" y="64"/>
                </a:lnTo>
                <a:lnTo>
                  <a:pt x="125" y="109"/>
                </a:lnTo>
                <a:lnTo>
                  <a:pt x="119" y="153"/>
                </a:lnTo>
                <a:lnTo>
                  <a:pt x="116" y="166"/>
                </a:lnTo>
                <a:lnTo>
                  <a:pt x="114" y="177"/>
                </a:lnTo>
                <a:lnTo>
                  <a:pt x="112" y="182"/>
                </a:lnTo>
                <a:lnTo>
                  <a:pt x="112" y="189"/>
                </a:lnTo>
                <a:lnTo>
                  <a:pt x="110" y="201"/>
                </a:lnTo>
                <a:lnTo>
                  <a:pt x="106" y="214"/>
                </a:lnTo>
                <a:lnTo>
                  <a:pt x="105" y="223"/>
                </a:lnTo>
                <a:lnTo>
                  <a:pt x="102" y="232"/>
                </a:lnTo>
                <a:lnTo>
                  <a:pt x="100" y="242"/>
                </a:lnTo>
                <a:lnTo>
                  <a:pt x="97" y="252"/>
                </a:lnTo>
                <a:lnTo>
                  <a:pt x="94" y="263"/>
                </a:lnTo>
                <a:lnTo>
                  <a:pt x="90" y="273"/>
                </a:lnTo>
                <a:lnTo>
                  <a:pt x="81" y="303"/>
                </a:lnTo>
                <a:lnTo>
                  <a:pt x="71" y="333"/>
                </a:lnTo>
                <a:lnTo>
                  <a:pt x="65" y="348"/>
                </a:lnTo>
                <a:lnTo>
                  <a:pt x="36" y="417"/>
                </a:lnTo>
                <a:lnTo>
                  <a:pt x="0" y="483"/>
                </a:lnTo>
                <a:lnTo>
                  <a:pt x="27" y="573"/>
                </a:lnTo>
                <a:lnTo>
                  <a:pt x="94" y="745"/>
                </a:lnTo>
                <a:lnTo>
                  <a:pt x="177" y="908"/>
                </a:lnTo>
                <a:lnTo>
                  <a:pt x="276" y="1062"/>
                </a:lnTo>
                <a:lnTo>
                  <a:pt x="332" y="1135"/>
                </a:lnTo>
                <a:lnTo>
                  <a:pt x="343" y="1123"/>
                </a:lnTo>
                <a:lnTo>
                  <a:pt x="355" y="1110"/>
                </a:lnTo>
                <a:lnTo>
                  <a:pt x="369" y="1095"/>
                </a:lnTo>
                <a:lnTo>
                  <a:pt x="383" y="1078"/>
                </a:lnTo>
                <a:lnTo>
                  <a:pt x="396" y="1064"/>
                </a:lnTo>
                <a:lnTo>
                  <a:pt x="408" y="1050"/>
                </a:lnTo>
                <a:lnTo>
                  <a:pt x="408" y="1050"/>
                </a:lnTo>
                <a:lnTo>
                  <a:pt x="409" y="1048"/>
                </a:lnTo>
                <a:lnTo>
                  <a:pt x="418" y="1037"/>
                </a:lnTo>
                <a:lnTo>
                  <a:pt x="427" y="1025"/>
                </a:lnTo>
                <a:lnTo>
                  <a:pt x="443" y="1007"/>
                </a:lnTo>
                <a:lnTo>
                  <a:pt x="457" y="989"/>
                </a:lnTo>
                <a:lnTo>
                  <a:pt x="460" y="985"/>
                </a:lnTo>
                <a:lnTo>
                  <a:pt x="462" y="981"/>
                </a:lnTo>
                <a:lnTo>
                  <a:pt x="425" y="929"/>
                </a:lnTo>
                <a:lnTo>
                  <a:pt x="355" y="820"/>
                </a:lnTo>
                <a:lnTo>
                  <a:pt x="295" y="706"/>
                </a:lnTo>
                <a:lnTo>
                  <a:pt x="243" y="587"/>
                </a:lnTo>
                <a:lnTo>
                  <a:pt x="201" y="464"/>
                </a:lnTo>
                <a:lnTo>
                  <a:pt x="168" y="335"/>
                </a:lnTo>
                <a:lnTo>
                  <a:pt x="145" y="204"/>
                </a:lnTo>
                <a:lnTo>
                  <a:pt x="133" y="68"/>
                </a:lnTo>
                <a:lnTo>
                  <a:pt x="132" y="0"/>
                </a:ln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1" name="Freeform: Shape 159">
            <a:extLst>
              <a:ext uri="{FF2B5EF4-FFF2-40B4-BE49-F238E27FC236}">
                <a16:creationId xmlns:a16="http://schemas.microsoft.com/office/drawing/2014/main" id="{E85962A4-47C7-620A-25D1-973A77F70FBF}"/>
              </a:ext>
            </a:extLst>
          </p:cNvPr>
          <p:cNvSpPr>
            <a:spLocks/>
          </p:cNvSpPr>
          <p:nvPr/>
        </p:nvSpPr>
        <p:spPr bwMode="auto">
          <a:xfrm>
            <a:off x="7271579" y="3586957"/>
            <a:ext cx="3941813" cy="571998"/>
          </a:xfrm>
          <a:custGeom>
            <a:avLst/>
            <a:gdLst>
              <a:gd name="connsiteX0" fmla="*/ 0 w 3941813"/>
              <a:gd name="connsiteY0" fmla="*/ 0 h 571998"/>
              <a:gd name="connsiteX1" fmla="*/ 228336 w 3941813"/>
              <a:gd name="connsiteY1" fmla="*/ 0 h 571998"/>
              <a:gd name="connsiteX2" fmla="*/ 228336 w 3941813"/>
              <a:gd name="connsiteY2" fmla="*/ 1035 h 571998"/>
              <a:gd name="connsiteX3" fmla="*/ 228336 w 3941813"/>
              <a:gd name="connsiteY3" fmla="*/ 2070 h 571998"/>
              <a:gd name="connsiteX4" fmla="*/ 228336 w 3941813"/>
              <a:gd name="connsiteY4" fmla="*/ 3450 h 571998"/>
              <a:gd name="connsiteX5" fmla="*/ 228336 w 3941813"/>
              <a:gd name="connsiteY5" fmla="*/ 4485 h 571998"/>
              <a:gd name="connsiteX6" fmla="*/ 228336 w 3941813"/>
              <a:gd name="connsiteY6" fmla="*/ 6555 h 571998"/>
              <a:gd name="connsiteX7" fmla="*/ 228336 w 3941813"/>
              <a:gd name="connsiteY7" fmla="*/ 8625 h 571998"/>
              <a:gd name="connsiteX8" fmla="*/ 228336 w 3941813"/>
              <a:gd name="connsiteY8" fmla="*/ 13110 h 571998"/>
              <a:gd name="connsiteX9" fmla="*/ 228681 w 3941813"/>
              <a:gd name="connsiteY9" fmla="*/ 17595 h 571998"/>
              <a:gd name="connsiteX10" fmla="*/ 228681 w 3941813"/>
              <a:gd name="connsiteY10" fmla="*/ 21045 h 571998"/>
              <a:gd name="connsiteX11" fmla="*/ 229372 w 3941813"/>
              <a:gd name="connsiteY11" fmla="*/ 24495 h 571998"/>
              <a:gd name="connsiteX12" fmla="*/ 229561 w 3941813"/>
              <a:gd name="connsiteY12" fmla="*/ 29949 h 571998"/>
              <a:gd name="connsiteX13" fmla="*/ 230860 w 3941813"/>
              <a:gd name="connsiteY13" fmla="*/ 43059 h 571998"/>
              <a:gd name="connsiteX14" fmla="*/ 231099 w 3941813"/>
              <a:gd name="connsiteY14" fmla="*/ 44849 h 571998"/>
              <a:gd name="connsiteX15" fmla="*/ 231445 w 3941813"/>
              <a:gd name="connsiteY15" fmla="*/ 47954 h 571998"/>
              <a:gd name="connsiteX16" fmla="*/ 231790 w 3941813"/>
              <a:gd name="connsiteY16" fmla="*/ 51059 h 571998"/>
              <a:gd name="connsiteX17" fmla="*/ 232439 w 3941813"/>
              <a:gd name="connsiteY17" fmla="*/ 55431 h 571998"/>
              <a:gd name="connsiteX18" fmla="*/ 237460 w 3941813"/>
              <a:gd name="connsiteY18" fmla="*/ 78594 h 571998"/>
              <a:gd name="connsiteX19" fmla="*/ 239935 w 3941813"/>
              <a:gd name="connsiteY19" fmla="*/ 88754 h 571998"/>
              <a:gd name="connsiteX20" fmla="*/ 249062 w 3941813"/>
              <a:gd name="connsiteY20" fmla="*/ 117988 h 571998"/>
              <a:gd name="connsiteX21" fmla="*/ 258766 w 3941813"/>
              <a:gd name="connsiteY21" fmla="*/ 141560 h 571998"/>
              <a:gd name="connsiteX22" fmla="*/ 260462 w 3941813"/>
              <a:gd name="connsiteY22" fmla="*/ 145242 h 571998"/>
              <a:gd name="connsiteX23" fmla="*/ 261844 w 3941813"/>
              <a:gd name="connsiteY23" fmla="*/ 148347 h 571998"/>
              <a:gd name="connsiteX24" fmla="*/ 263571 w 3941813"/>
              <a:gd name="connsiteY24" fmla="*/ 152142 h 571998"/>
              <a:gd name="connsiteX25" fmla="*/ 265643 w 3941813"/>
              <a:gd name="connsiteY25" fmla="*/ 155592 h 571998"/>
              <a:gd name="connsiteX26" fmla="*/ 267371 w 3941813"/>
              <a:gd name="connsiteY26" fmla="*/ 158697 h 571998"/>
              <a:gd name="connsiteX27" fmla="*/ 269060 w 3941813"/>
              <a:gd name="connsiteY27" fmla="*/ 162072 h 571998"/>
              <a:gd name="connsiteX28" fmla="*/ 276558 w 3941813"/>
              <a:gd name="connsiteY28" fmla="*/ 175613 h 571998"/>
              <a:gd name="connsiteX29" fmla="*/ 277043 w 3941813"/>
              <a:gd name="connsiteY29" fmla="*/ 176291 h 571998"/>
              <a:gd name="connsiteX30" fmla="*/ 278368 w 3941813"/>
              <a:gd name="connsiteY30" fmla="*/ 178791 h 571998"/>
              <a:gd name="connsiteX31" fmla="*/ 295536 w 3941813"/>
              <a:gd name="connsiteY31" fmla="*/ 204348 h 571998"/>
              <a:gd name="connsiteX32" fmla="*/ 296042 w 3941813"/>
              <a:gd name="connsiteY32" fmla="*/ 204926 h 571998"/>
              <a:gd name="connsiteX33" fmla="*/ 298303 w 3941813"/>
              <a:gd name="connsiteY33" fmla="*/ 207936 h 571998"/>
              <a:gd name="connsiteX34" fmla="*/ 316635 w 3941813"/>
              <a:gd name="connsiteY34" fmla="*/ 230146 h 571998"/>
              <a:gd name="connsiteX35" fmla="*/ 318158 w 3941813"/>
              <a:gd name="connsiteY35" fmla="*/ 231823 h 571998"/>
              <a:gd name="connsiteX36" fmla="*/ 341295 w 3941813"/>
              <a:gd name="connsiteY36" fmla="*/ 254260 h 571998"/>
              <a:gd name="connsiteX37" fmla="*/ 364855 w 3941813"/>
              <a:gd name="connsiteY37" fmla="*/ 274566 h 571998"/>
              <a:gd name="connsiteX38" fmla="*/ 383255 w 3941813"/>
              <a:gd name="connsiteY38" fmla="*/ 287072 h 571998"/>
              <a:gd name="connsiteX39" fmla="*/ 390494 w 3941813"/>
              <a:gd name="connsiteY39" fmla="*/ 291862 h 571998"/>
              <a:gd name="connsiteX40" fmla="*/ 396550 w 3941813"/>
              <a:gd name="connsiteY40" fmla="*/ 295622 h 571998"/>
              <a:gd name="connsiteX41" fmla="*/ 409034 w 3941813"/>
              <a:gd name="connsiteY41" fmla="*/ 302598 h 571998"/>
              <a:gd name="connsiteX42" fmla="*/ 419364 w 3941813"/>
              <a:gd name="connsiteY42" fmla="*/ 308079 h 571998"/>
              <a:gd name="connsiteX43" fmla="*/ 431109 w 3941813"/>
              <a:gd name="connsiteY43" fmla="*/ 313598 h 571998"/>
              <a:gd name="connsiteX44" fmla="*/ 433413 w 3941813"/>
              <a:gd name="connsiteY44" fmla="*/ 314749 h 571998"/>
              <a:gd name="connsiteX45" fmla="*/ 445124 w 3941813"/>
              <a:gd name="connsiteY45" fmla="*/ 319611 h 571998"/>
              <a:gd name="connsiteX46" fmla="*/ 450799 w 3941813"/>
              <a:gd name="connsiteY46" fmla="*/ 321878 h 571998"/>
              <a:gd name="connsiteX47" fmla="*/ 462312 w 3941813"/>
              <a:gd name="connsiteY47" fmla="*/ 325820 h 571998"/>
              <a:gd name="connsiteX48" fmla="*/ 480775 w 3941813"/>
              <a:gd name="connsiteY48" fmla="*/ 331449 h 571998"/>
              <a:gd name="connsiteX49" fmla="*/ 490525 w 3941813"/>
              <a:gd name="connsiteY49" fmla="*/ 333953 h 571998"/>
              <a:gd name="connsiteX50" fmla="*/ 499752 w 3941813"/>
              <a:gd name="connsiteY50" fmla="*/ 335946 h 571998"/>
              <a:gd name="connsiteX51" fmla="*/ 520232 w 3941813"/>
              <a:gd name="connsiteY51" fmla="*/ 340163 h 571998"/>
              <a:gd name="connsiteX52" fmla="*/ 554124 w 3941813"/>
              <a:gd name="connsiteY52" fmla="*/ 343209 h 571998"/>
              <a:gd name="connsiteX53" fmla="*/ 555122 w 3941813"/>
              <a:gd name="connsiteY53" fmla="*/ 343268 h 571998"/>
              <a:gd name="connsiteX54" fmla="*/ 555467 w 3941813"/>
              <a:gd name="connsiteY54" fmla="*/ 343294 h 571998"/>
              <a:gd name="connsiteX55" fmla="*/ 572739 w 3941813"/>
              <a:gd name="connsiteY55" fmla="*/ 343958 h 571998"/>
              <a:gd name="connsiteX56" fmla="*/ 3862707 w 3941813"/>
              <a:gd name="connsiteY56" fmla="*/ 343958 h 571998"/>
              <a:gd name="connsiteX57" fmla="*/ 3941813 w 3941813"/>
              <a:gd name="connsiteY57" fmla="*/ 343958 h 571998"/>
              <a:gd name="connsiteX58" fmla="*/ 3941813 w 3941813"/>
              <a:gd name="connsiteY58" fmla="*/ 388462 h 571998"/>
              <a:gd name="connsiteX59" fmla="*/ 3940777 w 3941813"/>
              <a:gd name="connsiteY59" fmla="*/ 407437 h 571998"/>
              <a:gd name="connsiteX60" fmla="*/ 3933868 w 3941813"/>
              <a:gd name="connsiteY60" fmla="*/ 442971 h 571998"/>
              <a:gd name="connsiteX61" fmla="*/ 3920050 w 3941813"/>
              <a:gd name="connsiteY61" fmla="*/ 476090 h 571998"/>
              <a:gd name="connsiteX62" fmla="*/ 3900015 w 3941813"/>
              <a:gd name="connsiteY62" fmla="*/ 505415 h 571998"/>
              <a:gd name="connsiteX63" fmla="*/ 3875143 w 3941813"/>
              <a:gd name="connsiteY63" fmla="*/ 530254 h 571998"/>
              <a:gd name="connsiteX64" fmla="*/ 3846126 w 3941813"/>
              <a:gd name="connsiteY64" fmla="*/ 549919 h 571998"/>
              <a:gd name="connsiteX65" fmla="*/ 3812964 w 3941813"/>
              <a:gd name="connsiteY65" fmla="*/ 563718 h 571998"/>
              <a:gd name="connsiteX66" fmla="*/ 3777038 w 3941813"/>
              <a:gd name="connsiteY66" fmla="*/ 570963 h 571998"/>
              <a:gd name="connsiteX67" fmla="*/ 3758385 w 3941813"/>
              <a:gd name="connsiteY67" fmla="*/ 571998 h 571998"/>
              <a:gd name="connsiteX68" fmla="*/ 572739 w 3941813"/>
              <a:gd name="connsiteY68" fmla="*/ 571998 h 571998"/>
              <a:gd name="connsiteX69" fmla="*/ 543032 w 3941813"/>
              <a:gd name="connsiteY69" fmla="*/ 571308 h 571998"/>
              <a:gd name="connsiteX70" fmla="*/ 485343 w 3941813"/>
              <a:gd name="connsiteY70" fmla="*/ 565788 h 571998"/>
              <a:gd name="connsiteX71" fmla="*/ 429382 w 3941813"/>
              <a:gd name="connsiteY71" fmla="*/ 554059 h 571998"/>
              <a:gd name="connsiteX72" fmla="*/ 375493 w 3941813"/>
              <a:gd name="connsiteY72" fmla="*/ 537499 h 571998"/>
              <a:gd name="connsiteX73" fmla="*/ 324023 w 3941813"/>
              <a:gd name="connsiteY73" fmla="*/ 515419 h 571998"/>
              <a:gd name="connsiteX74" fmla="*/ 275661 w 3941813"/>
              <a:gd name="connsiteY74" fmla="*/ 489200 h 571998"/>
              <a:gd name="connsiteX75" fmla="*/ 229718 w 3941813"/>
              <a:gd name="connsiteY75" fmla="*/ 458495 h 571998"/>
              <a:gd name="connsiteX76" fmla="*/ 187574 w 3941813"/>
              <a:gd name="connsiteY76" fmla="*/ 423306 h 571998"/>
              <a:gd name="connsiteX77" fmla="*/ 148539 w 3941813"/>
              <a:gd name="connsiteY77" fmla="*/ 384667 h 571998"/>
              <a:gd name="connsiteX78" fmla="*/ 113650 w 3941813"/>
              <a:gd name="connsiteY78" fmla="*/ 342233 h 571998"/>
              <a:gd name="connsiteX79" fmla="*/ 82906 w 3941813"/>
              <a:gd name="connsiteY79" fmla="*/ 296349 h 571998"/>
              <a:gd name="connsiteX80" fmla="*/ 56307 w 3941813"/>
              <a:gd name="connsiteY80" fmla="*/ 248050 h 571998"/>
              <a:gd name="connsiteX81" fmla="*/ 34544 w 3941813"/>
              <a:gd name="connsiteY81" fmla="*/ 196646 h 571998"/>
              <a:gd name="connsiteX82" fmla="*/ 17963 w 3941813"/>
              <a:gd name="connsiteY82" fmla="*/ 143172 h 571998"/>
              <a:gd name="connsiteX83" fmla="*/ 6218 w 3941813"/>
              <a:gd name="connsiteY83" fmla="*/ 87283 h 571998"/>
              <a:gd name="connsiteX84" fmla="*/ 346 w 3941813"/>
              <a:gd name="connsiteY84" fmla="*/ 29669 h 571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3941813" h="571998">
                <a:moveTo>
                  <a:pt x="0" y="0"/>
                </a:moveTo>
                <a:lnTo>
                  <a:pt x="228336" y="0"/>
                </a:lnTo>
                <a:lnTo>
                  <a:pt x="228336" y="1035"/>
                </a:lnTo>
                <a:lnTo>
                  <a:pt x="228336" y="2070"/>
                </a:lnTo>
                <a:lnTo>
                  <a:pt x="228336" y="3450"/>
                </a:lnTo>
                <a:lnTo>
                  <a:pt x="228336" y="4485"/>
                </a:lnTo>
                <a:lnTo>
                  <a:pt x="228336" y="6555"/>
                </a:lnTo>
                <a:lnTo>
                  <a:pt x="228336" y="8625"/>
                </a:lnTo>
                <a:lnTo>
                  <a:pt x="228336" y="13110"/>
                </a:lnTo>
                <a:lnTo>
                  <a:pt x="228681" y="17595"/>
                </a:lnTo>
                <a:lnTo>
                  <a:pt x="228681" y="21045"/>
                </a:lnTo>
                <a:lnTo>
                  <a:pt x="229372" y="24495"/>
                </a:lnTo>
                <a:lnTo>
                  <a:pt x="229561" y="29949"/>
                </a:lnTo>
                <a:lnTo>
                  <a:pt x="230860" y="43059"/>
                </a:lnTo>
                <a:lnTo>
                  <a:pt x="231099" y="44849"/>
                </a:lnTo>
                <a:lnTo>
                  <a:pt x="231445" y="47954"/>
                </a:lnTo>
                <a:lnTo>
                  <a:pt x="231790" y="51059"/>
                </a:lnTo>
                <a:lnTo>
                  <a:pt x="232439" y="55431"/>
                </a:lnTo>
                <a:lnTo>
                  <a:pt x="237460" y="78594"/>
                </a:lnTo>
                <a:lnTo>
                  <a:pt x="239935" y="88754"/>
                </a:lnTo>
                <a:lnTo>
                  <a:pt x="249062" y="117988"/>
                </a:lnTo>
                <a:lnTo>
                  <a:pt x="258766" y="141560"/>
                </a:lnTo>
                <a:lnTo>
                  <a:pt x="260462" y="145242"/>
                </a:lnTo>
                <a:lnTo>
                  <a:pt x="261844" y="148347"/>
                </a:lnTo>
                <a:lnTo>
                  <a:pt x="263571" y="152142"/>
                </a:lnTo>
                <a:lnTo>
                  <a:pt x="265643" y="155592"/>
                </a:lnTo>
                <a:lnTo>
                  <a:pt x="267371" y="158697"/>
                </a:lnTo>
                <a:lnTo>
                  <a:pt x="269060" y="162072"/>
                </a:lnTo>
                <a:lnTo>
                  <a:pt x="276558" y="175613"/>
                </a:lnTo>
                <a:lnTo>
                  <a:pt x="277043" y="176291"/>
                </a:lnTo>
                <a:lnTo>
                  <a:pt x="278368" y="178791"/>
                </a:lnTo>
                <a:lnTo>
                  <a:pt x="295536" y="204348"/>
                </a:lnTo>
                <a:lnTo>
                  <a:pt x="296042" y="204926"/>
                </a:lnTo>
                <a:lnTo>
                  <a:pt x="298303" y="207936"/>
                </a:lnTo>
                <a:lnTo>
                  <a:pt x="316635" y="230146"/>
                </a:lnTo>
                <a:lnTo>
                  <a:pt x="318158" y="231823"/>
                </a:lnTo>
                <a:lnTo>
                  <a:pt x="341295" y="254260"/>
                </a:lnTo>
                <a:lnTo>
                  <a:pt x="364855" y="274566"/>
                </a:lnTo>
                <a:lnTo>
                  <a:pt x="383255" y="287072"/>
                </a:lnTo>
                <a:lnTo>
                  <a:pt x="390494" y="291862"/>
                </a:lnTo>
                <a:lnTo>
                  <a:pt x="396550" y="295622"/>
                </a:lnTo>
                <a:lnTo>
                  <a:pt x="409034" y="302598"/>
                </a:lnTo>
                <a:lnTo>
                  <a:pt x="419364" y="308079"/>
                </a:lnTo>
                <a:lnTo>
                  <a:pt x="431109" y="313598"/>
                </a:lnTo>
                <a:lnTo>
                  <a:pt x="433413" y="314749"/>
                </a:lnTo>
                <a:lnTo>
                  <a:pt x="445124" y="319611"/>
                </a:lnTo>
                <a:lnTo>
                  <a:pt x="450799" y="321878"/>
                </a:lnTo>
                <a:lnTo>
                  <a:pt x="462312" y="325820"/>
                </a:lnTo>
                <a:lnTo>
                  <a:pt x="480775" y="331449"/>
                </a:lnTo>
                <a:lnTo>
                  <a:pt x="490525" y="333953"/>
                </a:lnTo>
                <a:lnTo>
                  <a:pt x="499752" y="335946"/>
                </a:lnTo>
                <a:lnTo>
                  <a:pt x="520232" y="340163"/>
                </a:lnTo>
                <a:lnTo>
                  <a:pt x="554124" y="343209"/>
                </a:lnTo>
                <a:lnTo>
                  <a:pt x="555122" y="343268"/>
                </a:lnTo>
                <a:lnTo>
                  <a:pt x="555467" y="343294"/>
                </a:lnTo>
                <a:lnTo>
                  <a:pt x="572739" y="343958"/>
                </a:lnTo>
                <a:lnTo>
                  <a:pt x="3862707" y="343958"/>
                </a:lnTo>
                <a:lnTo>
                  <a:pt x="3941813" y="343958"/>
                </a:lnTo>
                <a:lnTo>
                  <a:pt x="3941813" y="388462"/>
                </a:lnTo>
                <a:lnTo>
                  <a:pt x="3940777" y="407437"/>
                </a:lnTo>
                <a:lnTo>
                  <a:pt x="3933868" y="442971"/>
                </a:lnTo>
                <a:lnTo>
                  <a:pt x="3920050" y="476090"/>
                </a:lnTo>
                <a:lnTo>
                  <a:pt x="3900015" y="505415"/>
                </a:lnTo>
                <a:lnTo>
                  <a:pt x="3875143" y="530254"/>
                </a:lnTo>
                <a:lnTo>
                  <a:pt x="3846126" y="549919"/>
                </a:lnTo>
                <a:lnTo>
                  <a:pt x="3812964" y="563718"/>
                </a:lnTo>
                <a:lnTo>
                  <a:pt x="3777038" y="570963"/>
                </a:lnTo>
                <a:lnTo>
                  <a:pt x="3758385" y="571998"/>
                </a:lnTo>
                <a:lnTo>
                  <a:pt x="572739" y="571998"/>
                </a:lnTo>
                <a:lnTo>
                  <a:pt x="543032" y="571308"/>
                </a:lnTo>
                <a:lnTo>
                  <a:pt x="485343" y="565788"/>
                </a:lnTo>
                <a:lnTo>
                  <a:pt x="429382" y="554059"/>
                </a:lnTo>
                <a:lnTo>
                  <a:pt x="375493" y="537499"/>
                </a:lnTo>
                <a:lnTo>
                  <a:pt x="324023" y="515419"/>
                </a:lnTo>
                <a:lnTo>
                  <a:pt x="275661" y="489200"/>
                </a:lnTo>
                <a:lnTo>
                  <a:pt x="229718" y="458495"/>
                </a:lnTo>
                <a:lnTo>
                  <a:pt x="187574" y="423306"/>
                </a:lnTo>
                <a:lnTo>
                  <a:pt x="148539" y="384667"/>
                </a:lnTo>
                <a:lnTo>
                  <a:pt x="113650" y="342233"/>
                </a:lnTo>
                <a:lnTo>
                  <a:pt x="82906" y="296349"/>
                </a:lnTo>
                <a:lnTo>
                  <a:pt x="56307" y="248050"/>
                </a:lnTo>
                <a:lnTo>
                  <a:pt x="34544" y="196646"/>
                </a:lnTo>
                <a:lnTo>
                  <a:pt x="17963" y="143172"/>
                </a:lnTo>
                <a:lnTo>
                  <a:pt x="6218" y="87283"/>
                </a:lnTo>
                <a:lnTo>
                  <a:pt x="346" y="29669"/>
                </a:lnTo>
                <a:close/>
              </a:path>
            </a:pathLst>
          </a:custGeom>
          <a:solidFill>
            <a:schemeClr val="accent4"/>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62" name="Freeform 585">
            <a:extLst>
              <a:ext uri="{FF2B5EF4-FFF2-40B4-BE49-F238E27FC236}">
                <a16:creationId xmlns:a16="http://schemas.microsoft.com/office/drawing/2014/main" id="{9EDAF116-331B-7BA6-50B0-DFB89434F8DA}"/>
              </a:ext>
            </a:extLst>
          </p:cNvPr>
          <p:cNvSpPr>
            <a:spLocks/>
          </p:cNvSpPr>
          <p:nvPr/>
        </p:nvSpPr>
        <p:spPr bwMode="auto">
          <a:xfrm>
            <a:off x="6582141" y="3241548"/>
            <a:ext cx="689438" cy="68943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r>
              <a:rPr lang="en-US" sz="4400" b="1">
                <a:solidFill>
                  <a:srgbClr val="191C21"/>
                </a:solidFill>
              </a:rPr>
              <a:t>4</a:t>
            </a:r>
          </a:p>
        </p:txBody>
      </p:sp>
      <p:sp>
        <p:nvSpPr>
          <p:cNvPr id="63" name="Freeform 588">
            <a:extLst>
              <a:ext uri="{FF2B5EF4-FFF2-40B4-BE49-F238E27FC236}">
                <a16:creationId xmlns:a16="http://schemas.microsoft.com/office/drawing/2014/main" id="{7B9A4D8E-BB1F-D925-627A-938F2FA16750}"/>
              </a:ext>
            </a:extLst>
          </p:cNvPr>
          <p:cNvSpPr>
            <a:spLocks/>
          </p:cNvSpPr>
          <p:nvPr/>
        </p:nvSpPr>
        <p:spPr bwMode="auto">
          <a:xfrm>
            <a:off x="978608" y="4668268"/>
            <a:ext cx="1145378" cy="1143996"/>
          </a:xfrm>
          <a:custGeom>
            <a:avLst/>
            <a:gdLst>
              <a:gd name="T0" fmla="*/ 1573 w 3316"/>
              <a:gd name="T1" fmla="*/ 2 h 3316"/>
              <a:gd name="T2" fmla="*/ 1243 w 3316"/>
              <a:gd name="T3" fmla="*/ 52 h 3316"/>
              <a:gd name="T4" fmla="*/ 939 w 3316"/>
              <a:gd name="T5" fmla="*/ 162 h 3316"/>
              <a:gd name="T6" fmla="*/ 665 w 3316"/>
              <a:gd name="T7" fmla="*/ 328 h 3316"/>
              <a:gd name="T8" fmla="*/ 431 w 3316"/>
              <a:gd name="T9" fmla="*/ 542 h 3316"/>
              <a:gd name="T10" fmla="*/ 240 w 3316"/>
              <a:gd name="T11" fmla="*/ 797 h 3316"/>
              <a:gd name="T12" fmla="*/ 100 w 3316"/>
              <a:gd name="T13" fmla="*/ 1088 h 3316"/>
              <a:gd name="T14" fmla="*/ 19 w 3316"/>
              <a:gd name="T15" fmla="*/ 1405 h 3316"/>
              <a:gd name="T16" fmla="*/ 0 w 3316"/>
              <a:gd name="T17" fmla="*/ 1658 h 3316"/>
              <a:gd name="T18" fmla="*/ 19 w 3316"/>
              <a:gd name="T19" fmla="*/ 1911 h 3316"/>
              <a:gd name="T20" fmla="*/ 100 w 3316"/>
              <a:gd name="T21" fmla="*/ 2228 h 3316"/>
              <a:gd name="T22" fmla="*/ 240 w 3316"/>
              <a:gd name="T23" fmla="*/ 2517 h 3316"/>
              <a:gd name="T24" fmla="*/ 431 w 3316"/>
              <a:gd name="T25" fmla="*/ 2773 h 3316"/>
              <a:gd name="T26" fmla="*/ 665 w 3316"/>
              <a:gd name="T27" fmla="*/ 2987 h 3316"/>
              <a:gd name="T28" fmla="*/ 939 w 3316"/>
              <a:gd name="T29" fmla="*/ 3152 h 3316"/>
              <a:gd name="T30" fmla="*/ 1243 w 3316"/>
              <a:gd name="T31" fmla="*/ 3264 h 3316"/>
              <a:gd name="T32" fmla="*/ 1573 w 3316"/>
              <a:gd name="T33" fmla="*/ 3314 h 3316"/>
              <a:gd name="T34" fmla="*/ 1744 w 3316"/>
              <a:gd name="T35" fmla="*/ 3314 h 3316"/>
              <a:gd name="T36" fmla="*/ 2073 w 3316"/>
              <a:gd name="T37" fmla="*/ 3264 h 3316"/>
              <a:gd name="T38" fmla="*/ 2378 w 3316"/>
              <a:gd name="T39" fmla="*/ 3152 h 3316"/>
              <a:gd name="T40" fmla="*/ 2650 w 3316"/>
              <a:gd name="T41" fmla="*/ 2987 h 3316"/>
              <a:gd name="T42" fmla="*/ 2886 w 3316"/>
              <a:gd name="T43" fmla="*/ 2773 h 3316"/>
              <a:gd name="T44" fmla="*/ 3076 w 3316"/>
              <a:gd name="T45" fmla="*/ 2517 h 3316"/>
              <a:gd name="T46" fmla="*/ 3216 w 3316"/>
              <a:gd name="T47" fmla="*/ 2228 h 3316"/>
              <a:gd name="T48" fmla="*/ 3298 w 3316"/>
              <a:gd name="T49" fmla="*/ 1911 h 3316"/>
              <a:gd name="T50" fmla="*/ 3316 w 3316"/>
              <a:gd name="T51" fmla="*/ 1658 h 3316"/>
              <a:gd name="T52" fmla="*/ 3298 w 3316"/>
              <a:gd name="T53" fmla="*/ 1405 h 3316"/>
              <a:gd name="T54" fmla="*/ 3216 w 3316"/>
              <a:gd name="T55" fmla="*/ 1088 h 3316"/>
              <a:gd name="T56" fmla="*/ 3076 w 3316"/>
              <a:gd name="T57" fmla="*/ 797 h 3316"/>
              <a:gd name="T58" fmla="*/ 2886 w 3316"/>
              <a:gd name="T59" fmla="*/ 542 h 3316"/>
              <a:gd name="T60" fmla="*/ 2650 w 3316"/>
              <a:gd name="T61" fmla="*/ 328 h 3316"/>
              <a:gd name="T62" fmla="*/ 2378 w 3316"/>
              <a:gd name="T63" fmla="*/ 162 h 3316"/>
              <a:gd name="T64" fmla="*/ 2073 w 3316"/>
              <a:gd name="T65" fmla="*/ 52 h 3316"/>
              <a:gd name="T66" fmla="*/ 1744 w 3316"/>
              <a:gd name="T67" fmla="*/ 2 h 3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16" h="3316">
                <a:moveTo>
                  <a:pt x="1658" y="0"/>
                </a:moveTo>
                <a:lnTo>
                  <a:pt x="1573" y="2"/>
                </a:lnTo>
                <a:lnTo>
                  <a:pt x="1405" y="18"/>
                </a:lnTo>
                <a:lnTo>
                  <a:pt x="1243" y="52"/>
                </a:lnTo>
                <a:lnTo>
                  <a:pt x="1088" y="100"/>
                </a:lnTo>
                <a:lnTo>
                  <a:pt x="939" y="162"/>
                </a:lnTo>
                <a:lnTo>
                  <a:pt x="798" y="239"/>
                </a:lnTo>
                <a:lnTo>
                  <a:pt x="665" y="328"/>
                </a:lnTo>
                <a:lnTo>
                  <a:pt x="542" y="431"/>
                </a:lnTo>
                <a:lnTo>
                  <a:pt x="431" y="542"/>
                </a:lnTo>
                <a:lnTo>
                  <a:pt x="328" y="665"/>
                </a:lnTo>
                <a:lnTo>
                  <a:pt x="240" y="797"/>
                </a:lnTo>
                <a:lnTo>
                  <a:pt x="162" y="939"/>
                </a:lnTo>
                <a:lnTo>
                  <a:pt x="100" y="1088"/>
                </a:lnTo>
                <a:lnTo>
                  <a:pt x="52" y="1243"/>
                </a:lnTo>
                <a:lnTo>
                  <a:pt x="19" y="1405"/>
                </a:lnTo>
                <a:lnTo>
                  <a:pt x="2" y="1572"/>
                </a:lnTo>
                <a:lnTo>
                  <a:pt x="0" y="1658"/>
                </a:lnTo>
                <a:lnTo>
                  <a:pt x="2" y="1744"/>
                </a:lnTo>
                <a:lnTo>
                  <a:pt x="19" y="1911"/>
                </a:lnTo>
                <a:lnTo>
                  <a:pt x="52" y="2073"/>
                </a:lnTo>
                <a:lnTo>
                  <a:pt x="100" y="2228"/>
                </a:lnTo>
                <a:lnTo>
                  <a:pt x="162" y="2377"/>
                </a:lnTo>
                <a:lnTo>
                  <a:pt x="240" y="2517"/>
                </a:lnTo>
                <a:lnTo>
                  <a:pt x="328" y="2650"/>
                </a:lnTo>
                <a:lnTo>
                  <a:pt x="431" y="2773"/>
                </a:lnTo>
                <a:lnTo>
                  <a:pt x="542" y="2885"/>
                </a:lnTo>
                <a:lnTo>
                  <a:pt x="665" y="2987"/>
                </a:lnTo>
                <a:lnTo>
                  <a:pt x="798" y="3076"/>
                </a:lnTo>
                <a:lnTo>
                  <a:pt x="939" y="3152"/>
                </a:lnTo>
                <a:lnTo>
                  <a:pt x="1088" y="3216"/>
                </a:lnTo>
                <a:lnTo>
                  <a:pt x="1243" y="3264"/>
                </a:lnTo>
                <a:lnTo>
                  <a:pt x="1405" y="3298"/>
                </a:lnTo>
                <a:lnTo>
                  <a:pt x="1573" y="3314"/>
                </a:lnTo>
                <a:lnTo>
                  <a:pt x="1658" y="3316"/>
                </a:lnTo>
                <a:lnTo>
                  <a:pt x="1744" y="3314"/>
                </a:lnTo>
                <a:lnTo>
                  <a:pt x="1911" y="3298"/>
                </a:lnTo>
                <a:lnTo>
                  <a:pt x="2073" y="3264"/>
                </a:lnTo>
                <a:lnTo>
                  <a:pt x="2228" y="3216"/>
                </a:lnTo>
                <a:lnTo>
                  <a:pt x="2378" y="3152"/>
                </a:lnTo>
                <a:lnTo>
                  <a:pt x="2518" y="3076"/>
                </a:lnTo>
                <a:lnTo>
                  <a:pt x="2650" y="2987"/>
                </a:lnTo>
                <a:lnTo>
                  <a:pt x="2773" y="2885"/>
                </a:lnTo>
                <a:lnTo>
                  <a:pt x="2886" y="2773"/>
                </a:lnTo>
                <a:lnTo>
                  <a:pt x="2987" y="2650"/>
                </a:lnTo>
                <a:lnTo>
                  <a:pt x="3076" y="2517"/>
                </a:lnTo>
                <a:lnTo>
                  <a:pt x="3153" y="2377"/>
                </a:lnTo>
                <a:lnTo>
                  <a:pt x="3216" y="2228"/>
                </a:lnTo>
                <a:lnTo>
                  <a:pt x="3264" y="2073"/>
                </a:lnTo>
                <a:lnTo>
                  <a:pt x="3298" y="1911"/>
                </a:lnTo>
                <a:lnTo>
                  <a:pt x="3315" y="1744"/>
                </a:lnTo>
                <a:lnTo>
                  <a:pt x="3316" y="1658"/>
                </a:lnTo>
                <a:lnTo>
                  <a:pt x="3315" y="1572"/>
                </a:lnTo>
                <a:lnTo>
                  <a:pt x="3298" y="1405"/>
                </a:lnTo>
                <a:lnTo>
                  <a:pt x="3264" y="1243"/>
                </a:lnTo>
                <a:lnTo>
                  <a:pt x="3216" y="1088"/>
                </a:lnTo>
                <a:lnTo>
                  <a:pt x="3153" y="939"/>
                </a:lnTo>
                <a:lnTo>
                  <a:pt x="3076" y="797"/>
                </a:lnTo>
                <a:lnTo>
                  <a:pt x="2987" y="665"/>
                </a:lnTo>
                <a:lnTo>
                  <a:pt x="2886" y="542"/>
                </a:lnTo>
                <a:lnTo>
                  <a:pt x="2773" y="431"/>
                </a:lnTo>
                <a:lnTo>
                  <a:pt x="2650" y="328"/>
                </a:lnTo>
                <a:lnTo>
                  <a:pt x="2518" y="239"/>
                </a:lnTo>
                <a:lnTo>
                  <a:pt x="2378" y="162"/>
                </a:lnTo>
                <a:lnTo>
                  <a:pt x="2228" y="100"/>
                </a:lnTo>
                <a:lnTo>
                  <a:pt x="2073" y="52"/>
                </a:lnTo>
                <a:lnTo>
                  <a:pt x="1911" y="18"/>
                </a:lnTo>
                <a:lnTo>
                  <a:pt x="1744" y="2"/>
                </a:lnTo>
                <a:lnTo>
                  <a:pt x="1658" y="0"/>
                </a:ln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64" name="Freeform 587">
            <a:extLst>
              <a:ext uri="{FF2B5EF4-FFF2-40B4-BE49-F238E27FC236}">
                <a16:creationId xmlns:a16="http://schemas.microsoft.com/office/drawing/2014/main" id="{CC50352D-256F-2B03-A009-02C9692427CA}"/>
              </a:ext>
            </a:extLst>
          </p:cNvPr>
          <p:cNvSpPr>
            <a:spLocks/>
          </p:cNvSpPr>
          <p:nvPr/>
        </p:nvSpPr>
        <p:spPr bwMode="auto">
          <a:xfrm>
            <a:off x="1206578" y="4894857"/>
            <a:ext cx="689438" cy="689438"/>
          </a:xfrm>
          <a:custGeom>
            <a:avLst/>
            <a:gdLst>
              <a:gd name="T0" fmla="*/ 946 w 1995"/>
              <a:gd name="T1" fmla="*/ 1993 h 1995"/>
              <a:gd name="T2" fmla="*/ 748 w 1995"/>
              <a:gd name="T3" fmla="*/ 1964 h 1995"/>
              <a:gd name="T4" fmla="*/ 565 w 1995"/>
              <a:gd name="T5" fmla="*/ 1898 h 1995"/>
              <a:gd name="T6" fmla="*/ 401 w 1995"/>
              <a:gd name="T7" fmla="*/ 1798 h 1995"/>
              <a:gd name="T8" fmla="*/ 259 w 1995"/>
              <a:gd name="T9" fmla="*/ 1668 h 1995"/>
              <a:gd name="T10" fmla="*/ 145 w 1995"/>
              <a:gd name="T11" fmla="*/ 1515 h 1995"/>
              <a:gd name="T12" fmla="*/ 61 w 1995"/>
              <a:gd name="T13" fmla="*/ 1340 h 1995"/>
              <a:gd name="T14" fmla="*/ 12 w 1995"/>
              <a:gd name="T15" fmla="*/ 1150 h 1995"/>
              <a:gd name="T16" fmla="*/ 0 w 1995"/>
              <a:gd name="T17" fmla="*/ 998 h 1995"/>
              <a:gd name="T18" fmla="*/ 12 w 1995"/>
              <a:gd name="T19" fmla="*/ 846 h 1995"/>
              <a:gd name="T20" fmla="*/ 61 w 1995"/>
              <a:gd name="T21" fmla="*/ 655 h 1995"/>
              <a:gd name="T22" fmla="*/ 145 w 1995"/>
              <a:gd name="T23" fmla="*/ 481 h 1995"/>
              <a:gd name="T24" fmla="*/ 259 w 1995"/>
              <a:gd name="T25" fmla="*/ 327 h 1995"/>
              <a:gd name="T26" fmla="*/ 401 w 1995"/>
              <a:gd name="T27" fmla="*/ 198 h 1995"/>
              <a:gd name="T28" fmla="*/ 565 w 1995"/>
              <a:gd name="T29" fmla="*/ 98 h 1995"/>
              <a:gd name="T30" fmla="*/ 748 w 1995"/>
              <a:gd name="T31" fmla="*/ 31 h 1995"/>
              <a:gd name="T32" fmla="*/ 946 w 1995"/>
              <a:gd name="T33" fmla="*/ 1 h 1995"/>
              <a:gd name="T34" fmla="*/ 1049 w 1995"/>
              <a:gd name="T35" fmla="*/ 1 h 1995"/>
              <a:gd name="T36" fmla="*/ 1247 w 1995"/>
              <a:gd name="T37" fmla="*/ 31 h 1995"/>
              <a:gd name="T38" fmla="*/ 1431 w 1995"/>
              <a:gd name="T39" fmla="*/ 98 h 1995"/>
              <a:gd name="T40" fmla="*/ 1594 w 1995"/>
              <a:gd name="T41" fmla="*/ 198 h 1995"/>
              <a:gd name="T42" fmla="*/ 1737 w 1995"/>
              <a:gd name="T43" fmla="*/ 327 h 1995"/>
              <a:gd name="T44" fmla="*/ 1851 w 1995"/>
              <a:gd name="T45" fmla="*/ 481 h 1995"/>
              <a:gd name="T46" fmla="*/ 1935 w 1995"/>
              <a:gd name="T47" fmla="*/ 655 h 1995"/>
              <a:gd name="T48" fmla="*/ 1985 w 1995"/>
              <a:gd name="T49" fmla="*/ 846 h 1995"/>
              <a:gd name="T50" fmla="*/ 1995 w 1995"/>
              <a:gd name="T51" fmla="*/ 998 h 1995"/>
              <a:gd name="T52" fmla="*/ 1985 w 1995"/>
              <a:gd name="T53" fmla="*/ 1150 h 1995"/>
              <a:gd name="T54" fmla="*/ 1935 w 1995"/>
              <a:gd name="T55" fmla="*/ 1340 h 1995"/>
              <a:gd name="T56" fmla="*/ 1851 w 1995"/>
              <a:gd name="T57" fmla="*/ 1515 h 1995"/>
              <a:gd name="T58" fmla="*/ 1737 w 1995"/>
              <a:gd name="T59" fmla="*/ 1668 h 1995"/>
              <a:gd name="T60" fmla="*/ 1594 w 1995"/>
              <a:gd name="T61" fmla="*/ 1798 h 1995"/>
              <a:gd name="T62" fmla="*/ 1431 w 1995"/>
              <a:gd name="T63" fmla="*/ 1898 h 1995"/>
              <a:gd name="T64" fmla="*/ 1247 w 1995"/>
              <a:gd name="T65" fmla="*/ 1964 h 1995"/>
              <a:gd name="T66" fmla="*/ 1049 w 1995"/>
              <a:gd name="T67" fmla="*/ 1993 h 1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95" h="1995">
                <a:moveTo>
                  <a:pt x="998" y="1995"/>
                </a:moveTo>
                <a:lnTo>
                  <a:pt x="946" y="1993"/>
                </a:lnTo>
                <a:lnTo>
                  <a:pt x="847" y="1984"/>
                </a:lnTo>
                <a:lnTo>
                  <a:pt x="748" y="1964"/>
                </a:lnTo>
                <a:lnTo>
                  <a:pt x="655" y="1935"/>
                </a:lnTo>
                <a:lnTo>
                  <a:pt x="565" y="1898"/>
                </a:lnTo>
                <a:lnTo>
                  <a:pt x="481" y="1851"/>
                </a:lnTo>
                <a:lnTo>
                  <a:pt x="401" y="1798"/>
                </a:lnTo>
                <a:lnTo>
                  <a:pt x="327" y="1735"/>
                </a:lnTo>
                <a:lnTo>
                  <a:pt x="259" y="1668"/>
                </a:lnTo>
                <a:lnTo>
                  <a:pt x="198" y="1594"/>
                </a:lnTo>
                <a:lnTo>
                  <a:pt x="145" y="1515"/>
                </a:lnTo>
                <a:lnTo>
                  <a:pt x="99" y="1430"/>
                </a:lnTo>
                <a:lnTo>
                  <a:pt x="61" y="1340"/>
                </a:lnTo>
                <a:lnTo>
                  <a:pt x="31" y="1247"/>
                </a:lnTo>
                <a:lnTo>
                  <a:pt x="12" y="1150"/>
                </a:lnTo>
                <a:lnTo>
                  <a:pt x="1" y="1049"/>
                </a:lnTo>
                <a:lnTo>
                  <a:pt x="0" y="998"/>
                </a:lnTo>
                <a:lnTo>
                  <a:pt x="1" y="946"/>
                </a:lnTo>
                <a:lnTo>
                  <a:pt x="12" y="846"/>
                </a:lnTo>
                <a:lnTo>
                  <a:pt x="31" y="748"/>
                </a:lnTo>
                <a:lnTo>
                  <a:pt x="61" y="655"/>
                </a:lnTo>
                <a:lnTo>
                  <a:pt x="99" y="565"/>
                </a:lnTo>
                <a:lnTo>
                  <a:pt x="145" y="481"/>
                </a:lnTo>
                <a:lnTo>
                  <a:pt x="198" y="400"/>
                </a:lnTo>
                <a:lnTo>
                  <a:pt x="259" y="327"/>
                </a:lnTo>
                <a:lnTo>
                  <a:pt x="327" y="259"/>
                </a:lnTo>
                <a:lnTo>
                  <a:pt x="401" y="198"/>
                </a:lnTo>
                <a:lnTo>
                  <a:pt x="481" y="145"/>
                </a:lnTo>
                <a:lnTo>
                  <a:pt x="565" y="98"/>
                </a:lnTo>
                <a:lnTo>
                  <a:pt x="655" y="61"/>
                </a:lnTo>
                <a:lnTo>
                  <a:pt x="748" y="31"/>
                </a:lnTo>
                <a:lnTo>
                  <a:pt x="847" y="12"/>
                </a:lnTo>
                <a:lnTo>
                  <a:pt x="946" y="1"/>
                </a:lnTo>
                <a:lnTo>
                  <a:pt x="998" y="0"/>
                </a:lnTo>
                <a:lnTo>
                  <a:pt x="1049" y="1"/>
                </a:lnTo>
                <a:lnTo>
                  <a:pt x="1150" y="12"/>
                </a:lnTo>
                <a:lnTo>
                  <a:pt x="1247" y="31"/>
                </a:lnTo>
                <a:lnTo>
                  <a:pt x="1340" y="61"/>
                </a:lnTo>
                <a:lnTo>
                  <a:pt x="1431" y="98"/>
                </a:lnTo>
                <a:lnTo>
                  <a:pt x="1515" y="145"/>
                </a:lnTo>
                <a:lnTo>
                  <a:pt x="1594" y="198"/>
                </a:lnTo>
                <a:lnTo>
                  <a:pt x="1668" y="259"/>
                </a:lnTo>
                <a:lnTo>
                  <a:pt x="1737" y="327"/>
                </a:lnTo>
                <a:lnTo>
                  <a:pt x="1798" y="400"/>
                </a:lnTo>
                <a:lnTo>
                  <a:pt x="1851" y="481"/>
                </a:lnTo>
                <a:lnTo>
                  <a:pt x="1898" y="565"/>
                </a:lnTo>
                <a:lnTo>
                  <a:pt x="1935" y="655"/>
                </a:lnTo>
                <a:lnTo>
                  <a:pt x="1964" y="748"/>
                </a:lnTo>
                <a:lnTo>
                  <a:pt x="1985" y="846"/>
                </a:lnTo>
                <a:lnTo>
                  <a:pt x="1995" y="946"/>
                </a:lnTo>
                <a:lnTo>
                  <a:pt x="1995" y="998"/>
                </a:lnTo>
                <a:lnTo>
                  <a:pt x="1995" y="1049"/>
                </a:lnTo>
                <a:lnTo>
                  <a:pt x="1985" y="1150"/>
                </a:lnTo>
                <a:lnTo>
                  <a:pt x="1964" y="1247"/>
                </a:lnTo>
                <a:lnTo>
                  <a:pt x="1935" y="1340"/>
                </a:lnTo>
                <a:lnTo>
                  <a:pt x="1898" y="1430"/>
                </a:lnTo>
                <a:lnTo>
                  <a:pt x="1851" y="1515"/>
                </a:lnTo>
                <a:lnTo>
                  <a:pt x="1798" y="1594"/>
                </a:lnTo>
                <a:lnTo>
                  <a:pt x="1737" y="1668"/>
                </a:lnTo>
                <a:lnTo>
                  <a:pt x="1668" y="1735"/>
                </a:lnTo>
                <a:lnTo>
                  <a:pt x="1594" y="1798"/>
                </a:lnTo>
                <a:lnTo>
                  <a:pt x="1515" y="1851"/>
                </a:lnTo>
                <a:lnTo>
                  <a:pt x="1431" y="1898"/>
                </a:lnTo>
                <a:lnTo>
                  <a:pt x="1340" y="1935"/>
                </a:lnTo>
                <a:lnTo>
                  <a:pt x="1247" y="1964"/>
                </a:lnTo>
                <a:lnTo>
                  <a:pt x="1150" y="1984"/>
                </a:lnTo>
                <a:lnTo>
                  <a:pt x="1049" y="1993"/>
                </a:lnTo>
                <a:lnTo>
                  <a:pt x="998" y="199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89">
            <a:extLst>
              <a:ext uri="{FF2B5EF4-FFF2-40B4-BE49-F238E27FC236}">
                <a16:creationId xmlns:a16="http://schemas.microsoft.com/office/drawing/2014/main" id="{F93C44F0-2CD1-7691-FCC7-7F9729AD7A0A}"/>
              </a:ext>
            </a:extLst>
          </p:cNvPr>
          <p:cNvSpPr>
            <a:spLocks/>
          </p:cNvSpPr>
          <p:nvPr/>
        </p:nvSpPr>
        <p:spPr bwMode="auto">
          <a:xfrm>
            <a:off x="1850421" y="5244412"/>
            <a:ext cx="160270" cy="392385"/>
          </a:xfrm>
          <a:custGeom>
            <a:avLst/>
            <a:gdLst>
              <a:gd name="T0" fmla="*/ 462 w 462"/>
              <a:gd name="T1" fmla="*/ 981 h 1135"/>
              <a:gd name="T2" fmla="*/ 460 w 462"/>
              <a:gd name="T3" fmla="*/ 985 h 1135"/>
              <a:gd name="T4" fmla="*/ 457 w 462"/>
              <a:gd name="T5" fmla="*/ 989 h 1135"/>
              <a:gd name="T6" fmla="*/ 443 w 462"/>
              <a:gd name="T7" fmla="*/ 1007 h 1135"/>
              <a:gd name="T8" fmla="*/ 427 w 462"/>
              <a:gd name="T9" fmla="*/ 1025 h 1135"/>
              <a:gd name="T10" fmla="*/ 418 w 462"/>
              <a:gd name="T11" fmla="*/ 1037 h 1135"/>
              <a:gd name="T12" fmla="*/ 409 w 462"/>
              <a:gd name="T13" fmla="*/ 1048 h 1135"/>
              <a:gd name="T14" fmla="*/ 408 w 462"/>
              <a:gd name="T15" fmla="*/ 1050 h 1135"/>
              <a:gd name="T16" fmla="*/ 408 w 462"/>
              <a:gd name="T17" fmla="*/ 1050 h 1135"/>
              <a:gd name="T18" fmla="*/ 396 w 462"/>
              <a:gd name="T19" fmla="*/ 1064 h 1135"/>
              <a:gd name="T20" fmla="*/ 383 w 462"/>
              <a:gd name="T21" fmla="*/ 1078 h 1135"/>
              <a:gd name="T22" fmla="*/ 369 w 462"/>
              <a:gd name="T23" fmla="*/ 1095 h 1135"/>
              <a:gd name="T24" fmla="*/ 355 w 462"/>
              <a:gd name="T25" fmla="*/ 1110 h 1135"/>
              <a:gd name="T26" fmla="*/ 343 w 462"/>
              <a:gd name="T27" fmla="*/ 1123 h 1135"/>
              <a:gd name="T28" fmla="*/ 332 w 462"/>
              <a:gd name="T29" fmla="*/ 1135 h 1135"/>
              <a:gd name="T30" fmla="*/ 276 w 462"/>
              <a:gd name="T31" fmla="*/ 1062 h 1135"/>
              <a:gd name="T32" fmla="*/ 177 w 462"/>
              <a:gd name="T33" fmla="*/ 908 h 1135"/>
              <a:gd name="T34" fmla="*/ 94 w 462"/>
              <a:gd name="T35" fmla="*/ 745 h 1135"/>
              <a:gd name="T36" fmla="*/ 27 w 462"/>
              <a:gd name="T37" fmla="*/ 573 h 1135"/>
              <a:gd name="T38" fmla="*/ 0 w 462"/>
              <a:gd name="T39" fmla="*/ 483 h 1135"/>
              <a:gd name="T40" fmla="*/ 36 w 462"/>
              <a:gd name="T41" fmla="*/ 417 h 1135"/>
              <a:gd name="T42" fmla="*/ 65 w 462"/>
              <a:gd name="T43" fmla="*/ 348 h 1135"/>
              <a:gd name="T44" fmla="*/ 68 w 462"/>
              <a:gd name="T45" fmla="*/ 341 h 1135"/>
              <a:gd name="T46" fmla="*/ 71 w 462"/>
              <a:gd name="T47" fmla="*/ 333 h 1135"/>
              <a:gd name="T48" fmla="*/ 81 w 462"/>
              <a:gd name="T49" fmla="*/ 303 h 1135"/>
              <a:gd name="T50" fmla="*/ 90 w 462"/>
              <a:gd name="T51" fmla="*/ 273 h 1135"/>
              <a:gd name="T52" fmla="*/ 94 w 462"/>
              <a:gd name="T53" fmla="*/ 263 h 1135"/>
              <a:gd name="T54" fmla="*/ 97 w 462"/>
              <a:gd name="T55" fmla="*/ 252 h 1135"/>
              <a:gd name="T56" fmla="*/ 100 w 462"/>
              <a:gd name="T57" fmla="*/ 242 h 1135"/>
              <a:gd name="T58" fmla="*/ 102 w 462"/>
              <a:gd name="T59" fmla="*/ 232 h 1135"/>
              <a:gd name="T60" fmla="*/ 105 w 462"/>
              <a:gd name="T61" fmla="*/ 223 h 1135"/>
              <a:gd name="T62" fmla="*/ 106 w 462"/>
              <a:gd name="T63" fmla="*/ 214 h 1135"/>
              <a:gd name="T64" fmla="*/ 110 w 462"/>
              <a:gd name="T65" fmla="*/ 201 h 1135"/>
              <a:gd name="T66" fmla="*/ 112 w 462"/>
              <a:gd name="T67" fmla="*/ 189 h 1135"/>
              <a:gd name="T68" fmla="*/ 112 w 462"/>
              <a:gd name="T69" fmla="*/ 182 h 1135"/>
              <a:gd name="T70" fmla="*/ 114 w 462"/>
              <a:gd name="T71" fmla="*/ 177 h 1135"/>
              <a:gd name="T72" fmla="*/ 116 w 462"/>
              <a:gd name="T73" fmla="*/ 166 h 1135"/>
              <a:gd name="T74" fmla="*/ 119 w 462"/>
              <a:gd name="T75" fmla="*/ 153 h 1135"/>
              <a:gd name="T76" fmla="*/ 125 w 462"/>
              <a:gd name="T77" fmla="*/ 109 h 1135"/>
              <a:gd name="T78" fmla="*/ 129 w 462"/>
              <a:gd name="T79" fmla="*/ 64 h 1135"/>
              <a:gd name="T80" fmla="*/ 131 w 462"/>
              <a:gd name="T81" fmla="*/ 53 h 1135"/>
              <a:gd name="T82" fmla="*/ 131 w 462"/>
              <a:gd name="T83" fmla="*/ 41 h 1135"/>
              <a:gd name="T84" fmla="*/ 131 w 462"/>
              <a:gd name="T85" fmla="*/ 39 h 1135"/>
              <a:gd name="T86" fmla="*/ 131 w 462"/>
              <a:gd name="T87" fmla="*/ 35 h 1135"/>
              <a:gd name="T88" fmla="*/ 132 w 462"/>
              <a:gd name="T89" fmla="*/ 26 h 1135"/>
              <a:gd name="T90" fmla="*/ 132 w 462"/>
              <a:gd name="T91" fmla="*/ 17 h 1135"/>
              <a:gd name="T92" fmla="*/ 132 w 462"/>
              <a:gd name="T93" fmla="*/ 7 h 1135"/>
              <a:gd name="T94" fmla="*/ 132 w 462"/>
              <a:gd name="T95" fmla="*/ 0 h 1135"/>
              <a:gd name="T96" fmla="*/ 133 w 462"/>
              <a:gd name="T97" fmla="*/ 68 h 1135"/>
              <a:gd name="T98" fmla="*/ 145 w 462"/>
              <a:gd name="T99" fmla="*/ 204 h 1135"/>
              <a:gd name="T100" fmla="*/ 168 w 462"/>
              <a:gd name="T101" fmla="*/ 335 h 1135"/>
              <a:gd name="T102" fmla="*/ 201 w 462"/>
              <a:gd name="T103" fmla="*/ 464 h 1135"/>
              <a:gd name="T104" fmla="*/ 243 w 462"/>
              <a:gd name="T105" fmla="*/ 587 h 1135"/>
              <a:gd name="T106" fmla="*/ 295 w 462"/>
              <a:gd name="T107" fmla="*/ 706 h 1135"/>
              <a:gd name="T108" fmla="*/ 355 w 462"/>
              <a:gd name="T109" fmla="*/ 820 h 1135"/>
              <a:gd name="T110" fmla="*/ 425 w 462"/>
              <a:gd name="T111" fmla="*/ 929 h 1135"/>
              <a:gd name="T112" fmla="*/ 462 w 462"/>
              <a:gd name="T113" fmla="*/ 981 h 1135"/>
              <a:gd name="T114" fmla="*/ 462 w 462"/>
              <a:gd name="T115" fmla="*/ 981 h 1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62" h="1135">
                <a:moveTo>
                  <a:pt x="462" y="981"/>
                </a:moveTo>
                <a:lnTo>
                  <a:pt x="460" y="985"/>
                </a:lnTo>
                <a:lnTo>
                  <a:pt x="457" y="989"/>
                </a:lnTo>
                <a:lnTo>
                  <a:pt x="443" y="1007"/>
                </a:lnTo>
                <a:lnTo>
                  <a:pt x="427" y="1025"/>
                </a:lnTo>
                <a:lnTo>
                  <a:pt x="418" y="1037"/>
                </a:lnTo>
                <a:lnTo>
                  <a:pt x="409" y="1048"/>
                </a:lnTo>
                <a:lnTo>
                  <a:pt x="408" y="1050"/>
                </a:lnTo>
                <a:lnTo>
                  <a:pt x="408" y="1050"/>
                </a:lnTo>
                <a:lnTo>
                  <a:pt x="396" y="1064"/>
                </a:lnTo>
                <a:lnTo>
                  <a:pt x="383" y="1078"/>
                </a:lnTo>
                <a:lnTo>
                  <a:pt x="369" y="1095"/>
                </a:lnTo>
                <a:lnTo>
                  <a:pt x="355" y="1110"/>
                </a:lnTo>
                <a:lnTo>
                  <a:pt x="343" y="1123"/>
                </a:lnTo>
                <a:lnTo>
                  <a:pt x="332" y="1135"/>
                </a:lnTo>
                <a:lnTo>
                  <a:pt x="276" y="1062"/>
                </a:lnTo>
                <a:lnTo>
                  <a:pt x="177" y="908"/>
                </a:lnTo>
                <a:lnTo>
                  <a:pt x="94" y="745"/>
                </a:lnTo>
                <a:lnTo>
                  <a:pt x="27" y="573"/>
                </a:lnTo>
                <a:lnTo>
                  <a:pt x="0" y="483"/>
                </a:lnTo>
                <a:lnTo>
                  <a:pt x="36" y="417"/>
                </a:lnTo>
                <a:lnTo>
                  <a:pt x="65" y="348"/>
                </a:lnTo>
                <a:lnTo>
                  <a:pt x="68" y="341"/>
                </a:lnTo>
                <a:lnTo>
                  <a:pt x="71" y="333"/>
                </a:lnTo>
                <a:lnTo>
                  <a:pt x="81" y="303"/>
                </a:lnTo>
                <a:lnTo>
                  <a:pt x="90" y="273"/>
                </a:lnTo>
                <a:lnTo>
                  <a:pt x="94" y="263"/>
                </a:lnTo>
                <a:lnTo>
                  <a:pt x="97" y="252"/>
                </a:lnTo>
                <a:lnTo>
                  <a:pt x="100" y="242"/>
                </a:lnTo>
                <a:lnTo>
                  <a:pt x="102" y="232"/>
                </a:lnTo>
                <a:lnTo>
                  <a:pt x="105" y="223"/>
                </a:lnTo>
                <a:lnTo>
                  <a:pt x="106" y="214"/>
                </a:lnTo>
                <a:lnTo>
                  <a:pt x="110" y="201"/>
                </a:lnTo>
                <a:lnTo>
                  <a:pt x="112" y="189"/>
                </a:lnTo>
                <a:lnTo>
                  <a:pt x="112" y="182"/>
                </a:lnTo>
                <a:lnTo>
                  <a:pt x="114" y="177"/>
                </a:lnTo>
                <a:lnTo>
                  <a:pt x="116" y="166"/>
                </a:lnTo>
                <a:lnTo>
                  <a:pt x="119" y="153"/>
                </a:lnTo>
                <a:lnTo>
                  <a:pt x="125" y="109"/>
                </a:lnTo>
                <a:lnTo>
                  <a:pt x="129" y="64"/>
                </a:lnTo>
                <a:lnTo>
                  <a:pt x="131" y="53"/>
                </a:lnTo>
                <a:lnTo>
                  <a:pt x="131" y="41"/>
                </a:lnTo>
                <a:lnTo>
                  <a:pt x="131" y="39"/>
                </a:lnTo>
                <a:lnTo>
                  <a:pt x="131" y="35"/>
                </a:lnTo>
                <a:lnTo>
                  <a:pt x="132" y="26"/>
                </a:lnTo>
                <a:lnTo>
                  <a:pt x="132" y="17"/>
                </a:lnTo>
                <a:lnTo>
                  <a:pt x="132" y="7"/>
                </a:lnTo>
                <a:lnTo>
                  <a:pt x="132" y="0"/>
                </a:lnTo>
                <a:lnTo>
                  <a:pt x="133" y="68"/>
                </a:lnTo>
                <a:lnTo>
                  <a:pt x="145" y="204"/>
                </a:lnTo>
                <a:lnTo>
                  <a:pt x="168" y="335"/>
                </a:lnTo>
                <a:lnTo>
                  <a:pt x="201" y="464"/>
                </a:lnTo>
                <a:lnTo>
                  <a:pt x="243" y="587"/>
                </a:lnTo>
                <a:lnTo>
                  <a:pt x="295" y="706"/>
                </a:lnTo>
                <a:lnTo>
                  <a:pt x="355" y="820"/>
                </a:lnTo>
                <a:lnTo>
                  <a:pt x="425" y="929"/>
                </a:lnTo>
                <a:lnTo>
                  <a:pt x="462" y="981"/>
                </a:lnTo>
                <a:lnTo>
                  <a:pt x="462" y="981"/>
                </a:lnTo>
                <a:close/>
              </a:path>
            </a:pathLst>
          </a:custGeom>
          <a:solidFill>
            <a:schemeClr val="accent5">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6" name="Freeform 590">
            <a:extLst>
              <a:ext uri="{FF2B5EF4-FFF2-40B4-BE49-F238E27FC236}">
                <a16:creationId xmlns:a16="http://schemas.microsoft.com/office/drawing/2014/main" id="{260839B2-39AB-A381-AFAC-B8C6991C2C9A}"/>
              </a:ext>
            </a:extLst>
          </p:cNvPr>
          <p:cNvSpPr>
            <a:spLocks/>
          </p:cNvSpPr>
          <p:nvPr/>
        </p:nvSpPr>
        <p:spPr bwMode="auto">
          <a:xfrm>
            <a:off x="1850421" y="5244412"/>
            <a:ext cx="160270" cy="392385"/>
          </a:xfrm>
          <a:custGeom>
            <a:avLst/>
            <a:gdLst>
              <a:gd name="T0" fmla="*/ 132 w 462"/>
              <a:gd name="T1" fmla="*/ 0 h 1135"/>
              <a:gd name="T2" fmla="*/ 132 w 462"/>
              <a:gd name="T3" fmla="*/ 7 h 1135"/>
              <a:gd name="T4" fmla="*/ 132 w 462"/>
              <a:gd name="T5" fmla="*/ 17 h 1135"/>
              <a:gd name="T6" fmla="*/ 132 w 462"/>
              <a:gd name="T7" fmla="*/ 26 h 1135"/>
              <a:gd name="T8" fmla="*/ 131 w 462"/>
              <a:gd name="T9" fmla="*/ 35 h 1135"/>
              <a:gd name="T10" fmla="*/ 131 w 462"/>
              <a:gd name="T11" fmla="*/ 39 h 1135"/>
              <a:gd name="T12" fmla="*/ 131 w 462"/>
              <a:gd name="T13" fmla="*/ 41 h 1135"/>
              <a:gd name="T14" fmla="*/ 131 w 462"/>
              <a:gd name="T15" fmla="*/ 53 h 1135"/>
              <a:gd name="T16" fmla="*/ 129 w 462"/>
              <a:gd name="T17" fmla="*/ 64 h 1135"/>
              <a:gd name="T18" fmla="*/ 125 w 462"/>
              <a:gd name="T19" fmla="*/ 109 h 1135"/>
              <a:gd name="T20" fmla="*/ 119 w 462"/>
              <a:gd name="T21" fmla="*/ 153 h 1135"/>
              <a:gd name="T22" fmla="*/ 116 w 462"/>
              <a:gd name="T23" fmla="*/ 166 h 1135"/>
              <a:gd name="T24" fmla="*/ 114 w 462"/>
              <a:gd name="T25" fmla="*/ 177 h 1135"/>
              <a:gd name="T26" fmla="*/ 112 w 462"/>
              <a:gd name="T27" fmla="*/ 182 h 1135"/>
              <a:gd name="T28" fmla="*/ 112 w 462"/>
              <a:gd name="T29" fmla="*/ 189 h 1135"/>
              <a:gd name="T30" fmla="*/ 110 w 462"/>
              <a:gd name="T31" fmla="*/ 201 h 1135"/>
              <a:gd name="T32" fmla="*/ 106 w 462"/>
              <a:gd name="T33" fmla="*/ 214 h 1135"/>
              <a:gd name="T34" fmla="*/ 105 w 462"/>
              <a:gd name="T35" fmla="*/ 223 h 1135"/>
              <a:gd name="T36" fmla="*/ 102 w 462"/>
              <a:gd name="T37" fmla="*/ 232 h 1135"/>
              <a:gd name="T38" fmla="*/ 100 w 462"/>
              <a:gd name="T39" fmla="*/ 242 h 1135"/>
              <a:gd name="T40" fmla="*/ 97 w 462"/>
              <a:gd name="T41" fmla="*/ 252 h 1135"/>
              <a:gd name="T42" fmla="*/ 94 w 462"/>
              <a:gd name="T43" fmla="*/ 263 h 1135"/>
              <a:gd name="T44" fmla="*/ 90 w 462"/>
              <a:gd name="T45" fmla="*/ 273 h 1135"/>
              <a:gd name="T46" fmla="*/ 81 w 462"/>
              <a:gd name="T47" fmla="*/ 303 h 1135"/>
              <a:gd name="T48" fmla="*/ 71 w 462"/>
              <a:gd name="T49" fmla="*/ 333 h 1135"/>
              <a:gd name="T50" fmla="*/ 65 w 462"/>
              <a:gd name="T51" fmla="*/ 348 h 1135"/>
              <a:gd name="T52" fmla="*/ 36 w 462"/>
              <a:gd name="T53" fmla="*/ 417 h 1135"/>
              <a:gd name="T54" fmla="*/ 0 w 462"/>
              <a:gd name="T55" fmla="*/ 483 h 1135"/>
              <a:gd name="T56" fmla="*/ 27 w 462"/>
              <a:gd name="T57" fmla="*/ 573 h 1135"/>
              <a:gd name="T58" fmla="*/ 94 w 462"/>
              <a:gd name="T59" fmla="*/ 745 h 1135"/>
              <a:gd name="T60" fmla="*/ 177 w 462"/>
              <a:gd name="T61" fmla="*/ 908 h 1135"/>
              <a:gd name="T62" fmla="*/ 276 w 462"/>
              <a:gd name="T63" fmla="*/ 1062 h 1135"/>
              <a:gd name="T64" fmla="*/ 332 w 462"/>
              <a:gd name="T65" fmla="*/ 1135 h 1135"/>
              <a:gd name="T66" fmla="*/ 343 w 462"/>
              <a:gd name="T67" fmla="*/ 1123 h 1135"/>
              <a:gd name="T68" fmla="*/ 355 w 462"/>
              <a:gd name="T69" fmla="*/ 1110 h 1135"/>
              <a:gd name="T70" fmla="*/ 369 w 462"/>
              <a:gd name="T71" fmla="*/ 1095 h 1135"/>
              <a:gd name="T72" fmla="*/ 383 w 462"/>
              <a:gd name="T73" fmla="*/ 1078 h 1135"/>
              <a:gd name="T74" fmla="*/ 396 w 462"/>
              <a:gd name="T75" fmla="*/ 1064 h 1135"/>
              <a:gd name="T76" fmla="*/ 408 w 462"/>
              <a:gd name="T77" fmla="*/ 1050 h 1135"/>
              <a:gd name="T78" fmla="*/ 408 w 462"/>
              <a:gd name="T79" fmla="*/ 1050 h 1135"/>
              <a:gd name="T80" fmla="*/ 409 w 462"/>
              <a:gd name="T81" fmla="*/ 1048 h 1135"/>
              <a:gd name="T82" fmla="*/ 418 w 462"/>
              <a:gd name="T83" fmla="*/ 1037 h 1135"/>
              <a:gd name="T84" fmla="*/ 427 w 462"/>
              <a:gd name="T85" fmla="*/ 1025 h 1135"/>
              <a:gd name="T86" fmla="*/ 443 w 462"/>
              <a:gd name="T87" fmla="*/ 1007 h 1135"/>
              <a:gd name="T88" fmla="*/ 457 w 462"/>
              <a:gd name="T89" fmla="*/ 989 h 1135"/>
              <a:gd name="T90" fmla="*/ 460 w 462"/>
              <a:gd name="T91" fmla="*/ 985 h 1135"/>
              <a:gd name="T92" fmla="*/ 462 w 462"/>
              <a:gd name="T93" fmla="*/ 981 h 1135"/>
              <a:gd name="T94" fmla="*/ 425 w 462"/>
              <a:gd name="T95" fmla="*/ 929 h 1135"/>
              <a:gd name="T96" fmla="*/ 355 w 462"/>
              <a:gd name="T97" fmla="*/ 820 h 1135"/>
              <a:gd name="T98" fmla="*/ 295 w 462"/>
              <a:gd name="T99" fmla="*/ 706 h 1135"/>
              <a:gd name="T100" fmla="*/ 243 w 462"/>
              <a:gd name="T101" fmla="*/ 587 h 1135"/>
              <a:gd name="T102" fmla="*/ 201 w 462"/>
              <a:gd name="T103" fmla="*/ 464 h 1135"/>
              <a:gd name="T104" fmla="*/ 168 w 462"/>
              <a:gd name="T105" fmla="*/ 335 h 1135"/>
              <a:gd name="T106" fmla="*/ 145 w 462"/>
              <a:gd name="T107" fmla="*/ 204 h 1135"/>
              <a:gd name="T108" fmla="*/ 133 w 462"/>
              <a:gd name="T109" fmla="*/ 68 h 1135"/>
              <a:gd name="T110" fmla="*/ 132 w 462"/>
              <a:gd name="T111" fmla="*/ 0 h 1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62" h="1135">
                <a:moveTo>
                  <a:pt x="132" y="0"/>
                </a:moveTo>
                <a:lnTo>
                  <a:pt x="132" y="7"/>
                </a:lnTo>
                <a:lnTo>
                  <a:pt x="132" y="17"/>
                </a:lnTo>
                <a:lnTo>
                  <a:pt x="132" y="26"/>
                </a:lnTo>
                <a:lnTo>
                  <a:pt x="131" y="35"/>
                </a:lnTo>
                <a:lnTo>
                  <a:pt x="131" y="39"/>
                </a:lnTo>
                <a:lnTo>
                  <a:pt x="131" y="41"/>
                </a:lnTo>
                <a:lnTo>
                  <a:pt x="131" y="53"/>
                </a:lnTo>
                <a:lnTo>
                  <a:pt x="129" y="64"/>
                </a:lnTo>
                <a:lnTo>
                  <a:pt x="125" y="109"/>
                </a:lnTo>
                <a:lnTo>
                  <a:pt x="119" y="153"/>
                </a:lnTo>
                <a:lnTo>
                  <a:pt x="116" y="166"/>
                </a:lnTo>
                <a:lnTo>
                  <a:pt x="114" y="177"/>
                </a:lnTo>
                <a:lnTo>
                  <a:pt x="112" y="182"/>
                </a:lnTo>
                <a:lnTo>
                  <a:pt x="112" y="189"/>
                </a:lnTo>
                <a:lnTo>
                  <a:pt x="110" y="201"/>
                </a:lnTo>
                <a:lnTo>
                  <a:pt x="106" y="214"/>
                </a:lnTo>
                <a:lnTo>
                  <a:pt x="105" y="223"/>
                </a:lnTo>
                <a:lnTo>
                  <a:pt x="102" y="232"/>
                </a:lnTo>
                <a:lnTo>
                  <a:pt x="100" y="242"/>
                </a:lnTo>
                <a:lnTo>
                  <a:pt x="97" y="252"/>
                </a:lnTo>
                <a:lnTo>
                  <a:pt x="94" y="263"/>
                </a:lnTo>
                <a:lnTo>
                  <a:pt x="90" y="273"/>
                </a:lnTo>
                <a:lnTo>
                  <a:pt x="81" y="303"/>
                </a:lnTo>
                <a:lnTo>
                  <a:pt x="71" y="333"/>
                </a:lnTo>
                <a:lnTo>
                  <a:pt x="65" y="348"/>
                </a:lnTo>
                <a:lnTo>
                  <a:pt x="36" y="417"/>
                </a:lnTo>
                <a:lnTo>
                  <a:pt x="0" y="483"/>
                </a:lnTo>
                <a:lnTo>
                  <a:pt x="27" y="573"/>
                </a:lnTo>
                <a:lnTo>
                  <a:pt x="94" y="745"/>
                </a:lnTo>
                <a:lnTo>
                  <a:pt x="177" y="908"/>
                </a:lnTo>
                <a:lnTo>
                  <a:pt x="276" y="1062"/>
                </a:lnTo>
                <a:lnTo>
                  <a:pt x="332" y="1135"/>
                </a:lnTo>
                <a:lnTo>
                  <a:pt x="343" y="1123"/>
                </a:lnTo>
                <a:lnTo>
                  <a:pt x="355" y="1110"/>
                </a:lnTo>
                <a:lnTo>
                  <a:pt x="369" y="1095"/>
                </a:lnTo>
                <a:lnTo>
                  <a:pt x="383" y="1078"/>
                </a:lnTo>
                <a:lnTo>
                  <a:pt x="396" y="1064"/>
                </a:lnTo>
                <a:lnTo>
                  <a:pt x="408" y="1050"/>
                </a:lnTo>
                <a:lnTo>
                  <a:pt x="408" y="1050"/>
                </a:lnTo>
                <a:lnTo>
                  <a:pt x="409" y="1048"/>
                </a:lnTo>
                <a:lnTo>
                  <a:pt x="418" y="1037"/>
                </a:lnTo>
                <a:lnTo>
                  <a:pt x="427" y="1025"/>
                </a:lnTo>
                <a:lnTo>
                  <a:pt x="443" y="1007"/>
                </a:lnTo>
                <a:lnTo>
                  <a:pt x="457" y="989"/>
                </a:lnTo>
                <a:lnTo>
                  <a:pt x="460" y="985"/>
                </a:lnTo>
                <a:lnTo>
                  <a:pt x="462" y="981"/>
                </a:lnTo>
                <a:lnTo>
                  <a:pt x="425" y="929"/>
                </a:lnTo>
                <a:lnTo>
                  <a:pt x="355" y="820"/>
                </a:lnTo>
                <a:lnTo>
                  <a:pt x="295" y="706"/>
                </a:lnTo>
                <a:lnTo>
                  <a:pt x="243" y="587"/>
                </a:lnTo>
                <a:lnTo>
                  <a:pt x="201" y="464"/>
                </a:lnTo>
                <a:lnTo>
                  <a:pt x="168" y="335"/>
                </a:lnTo>
                <a:lnTo>
                  <a:pt x="145" y="204"/>
                </a:lnTo>
                <a:lnTo>
                  <a:pt x="133" y="68"/>
                </a:lnTo>
                <a:lnTo>
                  <a:pt x="132" y="0"/>
                </a:lnTo>
                <a:close/>
              </a:path>
            </a:pathLst>
          </a:custGeom>
          <a:solidFill>
            <a:schemeClr val="accent5">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7" name="Freeform: Shape 117">
            <a:extLst>
              <a:ext uri="{FF2B5EF4-FFF2-40B4-BE49-F238E27FC236}">
                <a16:creationId xmlns:a16="http://schemas.microsoft.com/office/drawing/2014/main" id="{E93B2C1E-D420-4A67-A7F6-8EC3634E4518}"/>
              </a:ext>
            </a:extLst>
          </p:cNvPr>
          <p:cNvSpPr>
            <a:spLocks/>
          </p:cNvSpPr>
          <p:nvPr/>
        </p:nvSpPr>
        <p:spPr bwMode="auto">
          <a:xfrm>
            <a:off x="1896016" y="5240266"/>
            <a:ext cx="3941813" cy="571998"/>
          </a:xfrm>
          <a:custGeom>
            <a:avLst/>
            <a:gdLst>
              <a:gd name="connsiteX0" fmla="*/ 0 w 3941813"/>
              <a:gd name="connsiteY0" fmla="*/ 0 h 571998"/>
              <a:gd name="connsiteX1" fmla="*/ 228336 w 3941813"/>
              <a:gd name="connsiteY1" fmla="*/ 0 h 571998"/>
              <a:gd name="connsiteX2" fmla="*/ 228336 w 3941813"/>
              <a:gd name="connsiteY2" fmla="*/ 1035 h 571998"/>
              <a:gd name="connsiteX3" fmla="*/ 228336 w 3941813"/>
              <a:gd name="connsiteY3" fmla="*/ 2070 h 571998"/>
              <a:gd name="connsiteX4" fmla="*/ 228336 w 3941813"/>
              <a:gd name="connsiteY4" fmla="*/ 3450 h 571998"/>
              <a:gd name="connsiteX5" fmla="*/ 228336 w 3941813"/>
              <a:gd name="connsiteY5" fmla="*/ 4485 h 571998"/>
              <a:gd name="connsiteX6" fmla="*/ 228336 w 3941813"/>
              <a:gd name="connsiteY6" fmla="*/ 6555 h 571998"/>
              <a:gd name="connsiteX7" fmla="*/ 228336 w 3941813"/>
              <a:gd name="connsiteY7" fmla="*/ 8625 h 571998"/>
              <a:gd name="connsiteX8" fmla="*/ 228336 w 3941813"/>
              <a:gd name="connsiteY8" fmla="*/ 13110 h 571998"/>
              <a:gd name="connsiteX9" fmla="*/ 228681 w 3941813"/>
              <a:gd name="connsiteY9" fmla="*/ 17595 h 571998"/>
              <a:gd name="connsiteX10" fmla="*/ 228681 w 3941813"/>
              <a:gd name="connsiteY10" fmla="*/ 21045 h 571998"/>
              <a:gd name="connsiteX11" fmla="*/ 229372 w 3941813"/>
              <a:gd name="connsiteY11" fmla="*/ 24495 h 571998"/>
              <a:gd name="connsiteX12" fmla="*/ 229561 w 3941813"/>
              <a:gd name="connsiteY12" fmla="*/ 29949 h 571998"/>
              <a:gd name="connsiteX13" fmla="*/ 230860 w 3941813"/>
              <a:gd name="connsiteY13" fmla="*/ 43059 h 571998"/>
              <a:gd name="connsiteX14" fmla="*/ 231099 w 3941813"/>
              <a:gd name="connsiteY14" fmla="*/ 44849 h 571998"/>
              <a:gd name="connsiteX15" fmla="*/ 231445 w 3941813"/>
              <a:gd name="connsiteY15" fmla="*/ 47954 h 571998"/>
              <a:gd name="connsiteX16" fmla="*/ 231790 w 3941813"/>
              <a:gd name="connsiteY16" fmla="*/ 51059 h 571998"/>
              <a:gd name="connsiteX17" fmla="*/ 232439 w 3941813"/>
              <a:gd name="connsiteY17" fmla="*/ 55431 h 571998"/>
              <a:gd name="connsiteX18" fmla="*/ 237460 w 3941813"/>
              <a:gd name="connsiteY18" fmla="*/ 78594 h 571998"/>
              <a:gd name="connsiteX19" fmla="*/ 239935 w 3941813"/>
              <a:gd name="connsiteY19" fmla="*/ 88754 h 571998"/>
              <a:gd name="connsiteX20" fmla="*/ 249062 w 3941813"/>
              <a:gd name="connsiteY20" fmla="*/ 117988 h 571998"/>
              <a:gd name="connsiteX21" fmla="*/ 258766 w 3941813"/>
              <a:gd name="connsiteY21" fmla="*/ 141560 h 571998"/>
              <a:gd name="connsiteX22" fmla="*/ 260462 w 3941813"/>
              <a:gd name="connsiteY22" fmla="*/ 145242 h 571998"/>
              <a:gd name="connsiteX23" fmla="*/ 261844 w 3941813"/>
              <a:gd name="connsiteY23" fmla="*/ 148347 h 571998"/>
              <a:gd name="connsiteX24" fmla="*/ 263571 w 3941813"/>
              <a:gd name="connsiteY24" fmla="*/ 152142 h 571998"/>
              <a:gd name="connsiteX25" fmla="*/ 265643 w 3941813"/>
              <a:gd name="connsiteY25" fmla="*/ 155592 h 571998"/>
              <a:gd name="connsiteX26" fmla="*/ 267371 w 3941813"/>
              <a:gd name="connsiteY26" fmla="*/ 158697 h 571998"/>
              <a:gd name="connsiteX27" fmla="*/ 269060 w 3941813"/>
              <a:gd name="connsiteY27" fmla="*/ 162072 h 571998"/>
              <a:gd name="connsiteX28" fmla="*/ 276558 w 3941813"/>
              <a:gd name="connsiteY28" fmla="*/ 175613 h 571998"/>
              <a:gd name="connsiteX29" fmla="*/ 277043 w 3941813"/>
              <a:gd name="connsiteY29" fmla="*/ 176291 h 571998"/>
              <a:gd name="connsiteX30" fmla="*/ 278368 w 3941813"/>
              <a:gd name="connsiteY30" fmla="*/ 178791 h 571998"/>
              <a:gd name="connsiteX31" fmla="*/ 295536 w 3941813"/>
              <a:gd name="connsiteY31" fmla="*/ 204348 h 571998"/>
              <a:gd name="connsiteX32" fmla="*/ 296042 w 3941813"/>
              <a:gd name="connsiteY32" fmla="*/ 204926 h 571998"/>
              <a:gd name="connsiteX33" fmla="*/ 298303 w 3941813"/>
              <a:gd name="connsiteY33" fmla="*/ 207936 h 571998"/>
              <a:gd name="connsiteX34" fmla="*/ 316635 w 3941813"/>
              <a:gd name="connsiteY34" fmla="*/ 230146 h 571998"/>
              <a:gd name="connsiteX35" fmla="*/ 318158 w 3941813"/>
              <a:gd name="connsiteY35" fmla="*/ 231823 h 571998"/>
              <a:gd name="connsiteX36" fmla="*/ 341295 w 3941813"/>
              <a:gd name="connsiteY36" fmla="*/ 254260 h 571998"/>
              <a:gd name="connsiteX37" fmla="*/ 364855 w 3941813"/>
              <a:gd name="connsiteY37" fmla="*/ 274566 h 571998"/>
              <a:gd name="connsiteX38" fmla="*/ 383255 w 3941813"/>
              <a:gd name="connsiteY38" fmla="*/ 287072 h 571998"/>
              <a:gd name="connsiteX39" fmla="*/ 390494 w 3941813"/>
              <a:gd name="connsiteY39" fmla="*/ 291862 h 571998"/>
              <a:gd name="connsiteX40" fmla="*/ 396550 w 3941813"/>
              <a:gd name="connsiteY40" fmla="*/ 295622 h 571998"/>
              <a:gd name="connsiteX41" fmla="*/ 409034 w 3941813"/>
              <a:gd name="connsiteY41" fmla="*/ 302598 h 571998"/>
              <a:gd name="connsiteX42" fmla="*/ 419364 w 3941813"/>
              <a:gd name="connsiteY42" fmla="*/ 308079 h 571998"/>
              <a:gd name="connsiteX43" fmla="*/ 431109 w 3941813"/>
              <a:gd name="connsiteY43" fmla="*/ 313598 h 571998"/>
              <a:gd name="connsiteX44" fmla="*/ 433413 w 3941813"/>
              <a:gd name="connsiteY44" fmla="*/ 314749 h 571998"/>
              <a:gd name="connsiteX45" fmla="*/ 445124 w 3941813"/>
              <a:gd name="connsiteY45" fmla="*/ 319611 h 571998"/>
              <a:gd name="connsiteX46" fmla="*/ 450799 w 3941813"/>
              <a:gd name="connsiteY46" fmla="*/ 321878 h 571998"/>
              <a:gd name="connsiteX47" fmla="*/ 462312 w 3941813"/>
              <a:gd name="connsiteY47" fmla="*/ 325820 h 571998"/>
              <a:gd name="connsiteX48" fmla="*/ 480775 w 3941813"/>
              <a:gd name="connsiteY48" fmla="*/ 331449 h 571998"/>
              <a:gd name="connsiteX49" fmla="*/ 490525 w 3941813"/>
              <a:gd name="connsiteY49" fmla="*/ 333953 h 571998"/>
              <a:gd name="connsiteX50" fmla="*/ 499752 w 3941813"/>
              <a:gd name="connsiteY50" fmla="*/ 335946 h 571998"/>
              <a:gd name="connsiteX51" fmla="*/ 520232 w 3941813"/>
              <a:gd name="connsiteY51" fmla="*/ 340163 h 571998"/>
              <a:gd name="connsiteX52" fmla="*/ 554124 w 3941813"/>
              <a:gd name="connsiteY52" fmla="*/ 343209 h 571998"/>
              <a:gd name="connsiteX53" fmla="*/ 555122 w 3941813"/>
              <a:gd name="connsiteY53" fmla="*/ 343268 h 571998"/>
              <a:gd name="connsiteX54" fmla="*/ 555467 w 3941813"/>
              <a:gd name="connsiteY54" fmla="*/ 343294 h 571998"/>
              <a:gd name="connsiteX55" fmla="*/ 572739 w 3941813"/>
              <a:gd name="connsiteY55" fmla="*/ 343958 h 571998"/>
              <a:gd name="connsiteX56" fmla="*/ 3862707 w 3941813"/>
              <a:gd name="connsiteY56" fmla="*/ 343958 h 571998"/>
              <a:gd name="connsiteX57" fmla="*/ 3941813 w 3941813"/>
              <a:gd name="connsiteY57" fmla="*/ 343958 h 571998"/>
              <a:gd name="connsiteX58" fmla="*/ 3941813 w 3941813"/>
              <a:gd name="connsiteY58" fmla="*/ 388462 h 571998"/>
              <a:gd name="connsiteX59" fmla="*/ 3940777 w 3941813"/>
              <a:gd name="connsiteY59" fmla="*/ 407437 h 571998"/>
              <a:gd name="connsiteX60" fmla="*/ 3933868 w 3941813"/>
              <a:gd name="connsiteY60" fmla="*/ 442971 h 571998"/>
              <a:gd name="connsiteX61" fmla="*/ 3920050 w 3941813"/>
              <a:gd name="connsiteY61" fmla="*/ 476090 h 571998"/>
              <a:gd name="connsiteX62" fmla="*/ 3900015 w 3941813"/>
              <a:gd name="connsiteY62" fmla="*/ 505415 h 571998"/>
              <a:gd name="connsiteX63" fmla="*/ 3875143 w 3941813"/>
              <a:gd name="connsiteY63" fmla="*/ 530254 h 571998"/>
              <a:gd name="connsiteX64" fmla="*/ 3846126 w 3941813"/>
              <a:gd name="connsiteY64" fmla="*/ 549919 h 571998"/>
              <a:gd name="connsiteX65" fmla="*/ 3812964 w 3941813"/>
              <a:gd name="connsiteY65" fmla="*/ 563718 h 571998"/>
              <a:gd name="connsiteX66" fmla="*/ 3777038 w 3941813"/>
              <a:gd name="connsiteY66" fmla="*/ 570963 h 571998"/>
              <a:gd name="connsiteX67" fmla="*/ 3758385 w 3941813"/>
              <a:gd name="connsiteY67" fmla="*/ 571998 h 571998"/>
              <a:gd name="connsiteX68" fmla="*/ 572739 w 3941813"/>
              <a:gd name="connsiteY68" fmla="*/ 571998 h 571998"/>
              <a:gd name="connsiteX69" fmla="*/ 543032 w 3941813"/>
              <a:gd name="connsiteY69" fmla="*/ 571308 h 571998"/>
              <a:gd name="connsiteX70" fmla="*/ 485343 w 3941813"/>
              <a:gd name="connsiteY70" fmla="*/ 565788 h 571998"/>
              <a:gd name="connsiteX71" fmla="*/ 429382 w 3941813"/>
              <a:gd name="connsiteY71" fmla="*/ 554059 h 571998"/>
              <a:gd name="connsiteX72" fmla="*/ 375493 w 3941813"/>
              <a:gd name="connsiteY72" fmla="*/ 537499 h 571998"/>
              <a:gd name="connsiteX73" fmla="*/ 324023 w 3941813"/>
              <a:gd name="connsiteY73" fmla="*/ 515419 h 571998"/>
              <a:gd name="connsiteX74" fmla="*/ 275661 w 3941813"/>
              <a:gd name="connsiteY74" fmla="*/ 489200 h 571998"/>
              <a:gd name="connsiteX75" fmla="*/ 229718 w 3941813"/>
              <a:gd name="connsiteY75" fmla="*/ 458495 h 571998"/>
              <a:gd name="connsiteX76" fmla="*/ 187574 w 3941813"/>
              <a:gd name="connsiteY76" fmla="*/ 423306 h 571998"/>
              <a:gd name="connsiteX77" fmla="*/ 148539 w 3941813"/>
              <a:gd name="connsiteY77" fmla="*/ 384667 h 571998"/>
              <a:gd name="connsiteX78" fmla="*/ 113650 w 3941813"/>
              <a:gd name="connsiteY78" fmla="*/ 342233 h 571998"/>
              <a:gd name="connsiteX79" fmla="*/ 82906 w 3941813"/>
              <a:gd name="connsiteY79" fmla="*/ 296349 h 571998"/>
              <a:gd name="connsiteX80" fmla="*/ 56307 w 3941813"/>
              <a:gd name="connsiteY80" fmla="*/ 248050 h 571998"/>
              <a:gd name="connsiteX81" fmla="*/ 34544 w 3941813"/>
              <a:gd name="connsiteY81" fmla="*/ 196646 h 571998"/>
              <a:gd name="connsiteX82" fmla="*/ 17963 w 3941813"/>
              <a:gd name="connsiteY82" fmla="*/ 143172 h 571998"/>
              <a:gd name="connsiteX83" fmla="*/ 6218 w 3941813"/>
              <a:gd name="connsiteY83" fmla="*/ 87283 h 571998"/>
              <a:gd name="connsiteX84" fmla="*/ 346 w 3941813"/>
              <a:gd name="connsiteY84" fmla="*/ 29669 h 571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3941813" h="571998">
                <a:moveTo>
                  <a:pt x="0" y="0"/>
                </a:moveTo>
                <a:lnTo>
                  <a:pt x="228336" y="0"/>
                </a:lnTo>
                <a:lnTo>
                  <a:pt x="228336" y="1035"/>
                </a:lnTo>
                <a:lnTo>
                  <a:pt x="228336" y="2070"/>
                </a:lnTo>
                <a:lnTo>
                  <a:pt x="228336" y="3450"/>
                </a:lnTo>
                <a:lnTo>
                  <a:pt x="228336" y="4485"/>
                </a:lnTo>
                <a:lnTo>
                  <a:pt x="228336" y="6555"/>
                </a:lnTo>
                <a:lnTo>
                  <a:pt x="228336" y="8625"/>
                </a:lnTo>
                <a:lnTo>
                  <a:pt x="228336" y="13110"/>
                </a:lnTo>
                <a:lnTo>
                  <a:pt x="228681" y="17595"/>
                </a:lnTo>
                <a:lnTo>
                  <a:pt x="228681" y="21045"/>
                </a:lnTo>
                <a:lnTo>
                  <a:pt x="229372" y="24495"/>
                </a:lnTo>
                <a:lnTo>
                  <a:pt x="229561" y="29949"/>
                </a:lnTo>
                <a:lnTo>
                  <a:pt x="230860" y="43059"/>
                </a:lnTo>
                <a:lnTo>
                  <a:pt x="231099" y="44849"/>
                </a:lnTo>
                <a:lnTo>
                  <a:pt x="231445" y="47954"/>
                </a:lnTo>
                <a:lnTo>
                  <a:pt x="231790" y="51059"/>
                </a:lnTo>
                <a:lnTo>
                  <a:pt x="232439" y="55431"/>
                </a:lnTo>
                <a:lnTo>
                  <a:pt x="237460" y="78594"/>
                </a:lnTo>
                <a:lnTo>
                  <a:pt x="239935" y="88754"/>
                </a:lnTo>
                <a:lnTo>
                  <a:pt x="249062" y="117988"/>
                </a:lnTo>
                <a:lnTo>
                  <a:pt x="258766" y="141560"/>
                </a:lnTo>
                <a:lnTo>
                  <a:pt x="260462" y="145242"/>
                </a:lnTo>
                <a:lnTo>
                  <a:pt x="261844" y="148347"/>
                </a:lnTo>
                <a:lnTo>
                  <a:pt x="263571" y="152142"/>
                </a:lnTo>
                <a:lnTo>
                  <a:pt x="265643" y="155592"/>
                </a:lnTo>
                <a:lnTo>
                  <a:pt x="267371" y="158697"/>
                </a:lnTo>
                <a:lnTo>
                  <a:pt x="269060" y="162072"/>
                </a:lnTo>
                <a:lnTo>
                  <a:pt x="276558" y="175613"/>
                </a:lnTo>
                <a:lnTo>
                  <a:pt x="277043" y="176291"/>
                </a:lnTo>
                <a:lnTo>
                  <a:pt x="278368" y="178791"/>
                </a:lnTo>
                <a:lnTo>
                  <a:pt x="295536" y="204348"/>
                </a:lnTo>
                <a:lnTo>
                  <a:pt x="296042" y="204926"/>
                </a:lnTo>
                <a:lnTo>
                  <a:pt x="298303" y="207936"/>
                </a:lnTo>
                <a:lnTo>
                  <a:pt x="316635" y="230146"/>
                </a:lnTo>
                <a:lnTo>
                  <a:pt x="318158" y="231823"/>
                </a:lnTo>
                <a:lnTo>
                  <a:pt x="341295" y="254260"/>
                </a:lnTo>
                <a:lnTo>
                  <a:pt x="364855" y="274566"/>
                </a:lnTo>
                <a:lnTo>
                  <a:pt x="383255" y="287072"/>
                </a:lnTo>
                <a:lnTo>
                  <a:pt x="390494" y="291862"/>
                </a:lnTo>
                <a:lnTo>
                  <a:pt x="396550" y="295622"/>
                </a:lnTo>
                <a:lnTo>
                  <a:pt x="409034" y="302598"/>
                </a:lnTo>
                <a:lnTo>
                  <a:pt x="419364" y="308079"/>
                </a:lnTo>
                <a:lnTo>
                  <a:pt x="431109" y="313598"/>
                </a:lnTo>
                <a:lnTo>
                  <a:pt x="433413" y="314749"/>
                </a:lnTo>
                <a:lnTo>
                  <a:pt x="445124" y="319611"/>
                </a:lnTo>
                <a:lnTo>
                  <a:pt x="450799" y="321878"/>
                </a:lnTo>
                <a:lnTo>
                  <a:pt x="462312" y="325820"/>
                </a:lnTo>
                <a:lnTo>
                  <a:pt x="480775" y="331449"/>
                </a:lnTo>
                <a:lnTo>
                  <a:pt x="490525" y="333953"/>
                </a:lnTo>
                <a:lnTo>
                  <a:pt x="499752" y="335946"/>
                </a:lnTo>
                <a:lnTo>
                  <a:pt x="520232" y="340163"/>
                </a:lnTo>
                <a:lnTo>
                  <a:pt x="554124" y="343209"/>
                </a:lnTo>
                <a:lnTo>
                  <a:pt x="555122" y="343268"/>
                </a:lnTo>
                <a:lnTo>
                  <a:pt x="555467" y="343294"/>
                </a:lnTo>
                <a:lnTo>
                  <a:pt x="572739" y="343958"/>
                </a:lnTo>
                <a:lnTo>
                  <a:pt x="3862707" y="343958"/>
                </a:lnTo>
                <a:lnTo>
                  <a:pt x="3941813" y="343958"/>
                </a:lnTo>
                <a:lnTo>
                  <a:pt x="3941813" y="388462"/>
                </a:lnTo>
                <a:lnTo>
                  <a:pt x="3940777" y="407437"/>
                </a:lnTo>
                <a:lnTo>
                  <a:pt x="3933868" y="442971"/>
                </a:lnTo>
                <a:lnTo>
                  <a:pt x="3920050" y="476090"/>
                </a:lnTo>
                <a:lnTo>
                  <a:pt x="3900015" y="505415"/>
                </a:lnTo>
                <a:lnTo>
                  <a:pt x="3875143" y="530254"/>
                </a:lnTo>
                <a:lnTo>
                  <a:pt x="3846126" y="549919"/>
                </a:lnTo>
                <a:lnTo>
                  <a:pt x="3812964" y="563718"/>
                </a:lnTo>
                <a:lnTo>
                  <a:pt x="3777038" y="570963"/>
                </a:lnTo>
                <a:lnTo>
                  <a:pt x="3758385" y="571998"/>
                </a:lnTo>
                <a:lnTo>
                  <a:pt x="572739" y="571998"/>
                </a:lnTo>
                <a:lnTo>
                  <a:pt x="543032" y="571308"/>
                </a:lnTo>
                <a:lnTo>
                  <a:pt x="485343" y="565788"/>
                </a:lnTo>
                <a:lnTo>
                  <a:pt x="429382" y="554059"/>
                </a:lnTo>
                <a:lnTo>
                  <a:pt x="375493" y="537499"/>
                </a:lnTo>
                <a:lnTo>
                  <a:pt x="324023" y="515419"/>
                </a:lnTo>
                <a:lnTo>
                  <a:pt x="275661" y="489200"/>
                </a:lnTo>
                <a:lnTo>
                  <a:pt x="229718" y="458495"/>
                </a:lnTo>
                <a:lnTo>
                  <a:pt x="187574" y="423306"/>
                </a:lnTo>
                <a:lnTo>
                  <a:pt x="148539" y="384667"/>
                </a:lnTo>
                <a:lnTo>
                  <a:pt x="113650" y="342233"/>
                </a:lnTo>
                <a:lnTo>
                  <a:pt x="82906" y="296349"/>
                </a:lnTo>
                <a:lnTo>
                  <a:pt x="56307" y="248050"/>
                </a:lnTo>
                <a:lnTo>
                  <a:pt x="34544" y="196646"/>
                </a:lnTo>
                <a:lnTo>
                  <a:pt x="17963" y="143172"/>
                </a:lnTo>
                <a:lnTo>
                  <a:pt x="6218" y="87283"/>
                </a:lnTo>
                <a:lnTo>
                  <a:pt x="346" y="29669"/>
                </a:lnTo>
                <a:close/>
              </a:path>
            </a:pathLst>
          </a:custGeom>
          <a:solidFill>
            <a:schemeClr val="accent5"/>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68" name="Freeform 585">
            <a:extLst>
              <a:ext uri="{FF2B5EF4-FFF2-40B4-BE49-F238E27FC236}">
                <a16:creationId xmlns:a16="http://schemas.microsoft.com/office/drawing/2014/main" id="{BFA28B63-C1EE-B590-3C9A-6C7365EF211B}"/>
              </a:ext>
            </a:extLst>
          </p:cNvPr>
          <p:cNvSpPr>
            <a:spLocks/>
          </p:cNvSpPr>
          <p:nvPr/>
        </p:nvSpPr>
        <p:spPr bwMode="auto">
          <a:xfrm>
            <a:off x="1206578" y="4894857"/>
            <a:ext cx="689438" cy="68943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r>
              <a:rPr lang="en-US" sz="4400" b="1">
                <a:solidFill>
                  <a:srgbClr val="191C21"/>
                </a:solidFill>
              </a:rPr>
              <a:t>5</a:t>
            </a:r>
          </a:p>
        </p:txBody>
      </p:sp>
      <p:sp>
        <p:nvSpPr>
          <p:cNvPr id="69" name="Freeform 588">
            <a:extLst>
              <a:ext uri="{FF2B5EF4-FFF2-40B4-BE49-F238E27FC236}">
                <a16:creationId xmlns:a16="http://schemas.microsoft.com/office/drawing/2014/main" id="{39944850-ADD9-4FA5-945C-25D5FE1E5EA4}"/>
              </a:ext>
            </a:extLst>
          </p:cNvPr>
          <p:cNvSpPr>
            <a:spLocks/>
          </p:cNvSpPr>
          <p:nvPr/>
        </p:nvSpPr>
        <p:spPr bwMode="auto">
          <a:xfrm>
            <a:off x="6354171" y="4668268"/>
            <a:ext cx="1145378" cy="1143996"/>
          </a:xfrm>
          <a:custGeom>
            <a:avLst/>
            <a:gdLst>
              <a:gd name="T0" fmla="*/ 1573 w 3316"/>
              <a:gd name="T1" fmla="*/ 2 h 3316"/>
              <a:gd name="T2" fmla="*/ 1243 w 3316"/>
              <a:gd name="T3" fmla="*/ 52 h 3316"/>
              <a:gd name="T4" fmla="*/ 939 w 3316"/>
              <a:gd name="T5" fmla="*/ 162 h 3316"/>
              <a:gd name="T6" fmla="*/ 665 w 3316"/>
              <a:gd name="T7" fmla="*/ 328 h 3316"/>
              <a:gd name="T8" fmla="*/ 431 w 3316"/>
              <a:gd name="T9" fmla="*/ 542 h 3316"/>
              <a:gd name="T10" fmla="*/ 240 w 3316"/>
              <a:gd name="T11" fmla="*/ 797 h 3316"/>
              <a:gd name="T12" fmla="*/ 100 w 3316"/>
              <a:gd name="T13" fmla="*/ 1088 h 3316"/>
              <a:gd name="T14" fmla="*/ 19 w 3316"/>
              <a:gd name="T15" fmla="*/ 1405 h 3316"/>
              <a:gd name="T16" fmla="*/ 0 w 3316"/>
              <a:gd name="T17" fmla="*/ 1658 h 3316"/>
              <a:gd name="T18" fmla="*/ 19 w 3316"/>
              <a:gd name="T19" fmla="*/ 1911 h 3316"/>
              <a:gd name="T20" fmla="*/ 100 w 3316"/>
              <a:gd name="T21" fmla="*/ 2228 h 3316"/>
              <a:gd name="T22" fmla="*/ 240 w 3316"/>
              <a:gd name="T23" fmla="*/ 2517 h 3316"/>
              <a:gd name="T24" fmla="*/ 431 w 3316"/>
              <a:gd name="T25" fmla="*/ 2773 h 3316"/>
              <a:gd name="T26" fmla="*/ 665 w 3316"/>
              <a:gd name="T27" fmla="*/ 2987 h 3316"/>
              <a:gd name="T28" fmla="*/ 939 w 3316"/>
              <a:gd name="T29" fmla="*/ 3152 h 3316"/>
              <a:gd name="T30" fmla="*/ 1243 w 3316"/>
              <a:gd name="T31" fmla="*/ 3264 h 3316"/>
              <a:gd name="T32" fmla="*/ 1573 w 3316"/>
              <a:gd name="T33" fmla="*/ 3314 h 3316"/>
              <a:gd name="T34" fmla="*/ 1744 w 3316"/>
              <a:gd name="T35" fmla="*/ 3314 h 3316"/>
              <a:gd name="T36" fmla="*/ 2073 w 3316"/>
              <a:gd name="T37" fmla="*/ 3264 h 3316"/>
              <a:gd name="T38" fmla="*/ 2378 w 3316"/>
              <a:gd name="T39" fmla="*/ 3152 h 3316"/>
              <a:gd name="T40" fmla="*/ 2650 w 3316"/>
              <a:gd name="T41" fmla="*/ 2987 h 3316"/>
              <a:gd name="T42" fmla="*/ 2886 w 3316"/>
              <a:gd name="T43" fmla="*/ 2773 h 3316"/>
              <a:gd name="T44" fmla="*/ 3076 w 3316"/>
              <a:gd name="T45" fmla="*/ 2517 h 3316"/>
              <a:gd name="T46" fmla="*/ 3216 w 3316"/>
              <a:gd name="T47" fmla="*/ 2228 h 3316"/>
              <a:gd name="T48" fmla="*/ 3298 w 3316"/>
              <a:gd name="T49" fmla="*/ 1911 h 3316"/>
              <a:gd name="T50" fmla="*/ 3316 w 3316"/>
              <a:gd name="T51" fmla="*/ 1658 h 3316"/>
              <a:gd name="T52" fmla="*/ 3298 w 3316"/>
              <a:gd name="T53" fmla="*/ 1405 h 3316"/>
              <a:gd name="T54" fmla="*/ 3216 w 3316"/>
              <a:gd name="T55" fmla="*/ 1088 h 3316"/>
              <a:gd name="T56" fmla="*/ 3076 w 3316"/>
              <a:gd name="T57" fmla="*/ 797 h 3316"/>
              <a:gd name="T58" fmla="*/ 2886 w 3316"/>
              <a:gd name="T59" fmla="*/ 542 h 3316"/>
              <a:gd name="T60" fmla="*/ 2650 w 3316"/>
              <a:gd name="T61" fmla="*/ 328 h 3316"/>
              <a:gd name="T62" fmla="*/ 2378 w 3316"/>
              <a:gd name="T63" fmla="*/ 162 h 3316"/>
              <a:gd name="T64" fmla="*/ 2073 w 3316"/>
              <a:gd name="T65" fmla="*/ 52 h 3316"/>
              <a:gd name="T66" fmla="*/ 1744 w 3316"/>
              <a:gd name="T67" fmla="*/ 2 h 3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16" h="3316">
                <a:moveTo>
                  <a:pt x="1658" y="0"/>
                </a:moveTo>
                <a:lnTo>
                  <a:pt x="1573" y="2"/>
                </a:lnTo>
                <a:lnTo>
                  <a:pt x="1405" y="18"/>
                </a:lnTo>
                <a:lnTo>
                  <a:pt x="1243" y="52"/>
                </a:lnTo>
                <a:lnTo>
                  <a:pt x="1088" y="100"/>
                </a:lnTo>
                <a:lnTo>
                  <a:pt x="939" y="162"/>
                </a:lnTo>
                <a:lnTo>
                  <a:pt x="798" y="239"/>
                </a:lnTo>
                <a:lnTo>
                  <a:pt x="665" y="328"/>
                </a:lnTo>
                <a:lnTo>
                  <a:pt x="542" y="431"/>
                </a:lnTo>
                <a:lnTo>
                  <a:pt x="431" y="542"/>
                </a:lnTo>
                <a:lnTo>
                  <a:pt x="328" y="665"/>
                </a:lnTo>
                <a:lnTo>
                  <a:pt x="240" y="797"/>
                </a:lnTo>
                <a:lnTo>
                  <a:pt x="162" y="939"/>
                </a:lnTo>
                <a:lnTo>
                  <a:pt x="100" y="1088"/>
                </a:lnTo>
                <a:lnTo>
                  <a:pt x="52" y="1243"/>
                </a:lnTo>
                <a:lnTo>
                  <a:pt x="19" y="1405"/>
                </a:lnTo>
                <a:lnTo>
                  <a:pt x="2" y="1572"/>
                </a:lnTo>
                <a:lnTo>
                  <a:pt x="0" y="1658"/>
                </a:lnTo>
                <a:lnTo>
                  <a:pt x="2" y="1744"/>
                </a:lnTo>
                <a:lnTo>
                  <a:pt x="19" y="1911"/>
                </a:lnTo>
                <a:lnTo>
                  <a:pt x="52" y="2073"/>
                </a:lnTo>
                <a:lnTo>
                  <a:pt x="100" y="2228"/>
                </a:lnTo>
                <a:lnTo>
                  <a:pt x="162" y="2377"/>
                </a:lnTo>
                <a:lnTo>
                  <a:pt x="240" y="2517"/>
                </a:lnTo>
                <a:lnTo>
                  <a:pt x="328" y="2650"/>
                </a:lnTo>
                <a:lnTo>
                  <a:pt x="431" y="2773"/>
                </a:lnTo>
                <a:lnTo>
                  <a:pt x="542" y="2885"/>
                </a:lnTo>
                <a:lnTo>
                  <a:pt x="665" y="2987"/>
                </a:lnTo>
                <a:lnTo>
                  <a:pt x="798" y="3076"/>
                </a:lnTo>
                <a:lnTo>
                  <a:pt x="939" y="3152"/>
                </a:lnTo>
                <a:lnTo>
                  <a:pt x="1088" y="3216"/>
                </a:lnTo>
                <a:lnTo>
                  <a:pt x="1243" y="3264"/>
                </a:lnTo>
                <a:lnTo>
                  <a:pt x="1405" y="3298"/>
                </a:lnTo>
                <a:lnTo>
                  <a:pt x="1573" y="3314"/>
                </a:lnTo>
                <a:lnTo>
                  <a:pt x="1658" y="3316"/>
                </a:lnTo>
                <a:lnTo>
                  <a:pt x="1744" y="3314"/>
                </a:lnTo>
                <a:lnTo>
                  <a:pt x="1911" y="3298"/>
                </a:lnTo>
                <a:lnTo>
                  <a:pt x="2073" y="3264"/>
                </a:lnTo>
                <a:lnTo>
                  <a:pt x="2228" y="3216"/>
                </a:lnTo>
                <a:lnTo>
                  <a:pt x="2378" y="3152"/>
                </a:lnTo>
                <a:lnTo>
                  <a:pt x="2518" y="3076"/>
                </a:lnTo>
                <a:lnTo>
                  <a:pt x="2650" y="2987"/>
                </a:lnTo>
                <a:lnTo>
                  <a:pt x="2773" y="2885"/>
                </a:lnTo>
                <a:lnTo>
                  <a:pt x="2886" y="2773"/>
                </a:lnTo>
                <a:lnTo>
                  <a:pt x="2987" y="2650"/>
                </a:lnTo>
                <a:lnTo>
                  <a:pt x="3076" y="2517"/>
                </a:lnTo>
                <a:lnTo>
                  <a:pt x="3153" y="2377"/>
                </a:lnTo>
                <a:lnTo>
                  <a:pt x="3216" y="2228"/>
                </a:lnTo>
                <a:lnTo>
                  <a:pt x="3264" y="2073"/>
                </a:lnTo>
                <a:lnTo>
                  <a:pt x="3298" y="1911"/>
                </a:lnTo>
                <a:lnTo>
                  <a:pt x="3315" y="1744"/>
                </a:lnTo>
                <a:lnTo>
                  <a:pt x="3316" y="1658"/>
                </a:lnTo>
                <a:lnTo>
                  <a:pt x="3315" y="1572"/>
                </a:lnTo>
                <a:lnTo>
                  <a:pt x="3298" y="1405"/>
                </a:lnTo>
                <a:lnTo>
                  <a:pt x="3264" y="1243"/>
                </a:lnTo>
                <a:lnTo>
                  <a:pt x="3216" y="1088"/>
                </a:lnTo>
                <a:lnTo>
                  <a:pt x="3153" y="939"/>
                </a:lnTo>
                <a:lnTo>
                  <a:pt x="3076" y="797"/>
                </a:lnTo>
                <a:lnTo>
                  <a:pt x="2987" y="665"/>
                </a:lnTo>
                <a:lnTo>
                  <a:pt x="2886" y="542"/>
                </a:lnTo>
                <a:lnTo>
                  <a:pt x="2773" y="431"/>
                </a:lnTo>
                <a:lnTo>
                  <a:pt x="2650" y="328"/>
                </a:lnTo>
                <a:lnTo>
                  <a:pt x="2518" y="239"/>
                </a:lnTo>
                <a:lnTo>
                  <a:pt x="2378" y="162"/>
                </a:lnTo>
                <a:lnTo>
                  <a:pt x="2228" y="100"/>
                </a:lnTo>
                <a:lnTo>
                  <a:pt x="2073" y="52"/>
                </a:lnTo>
                <a:lnTo>
                  <a:pt x="1911" y="18"/>
                </a:lnTo>
                <a:lnTo>
                  <a:pt x="1744" y="2"/>
                </a:lnTo>
                <a:lnTo>
                  <a:pt x="1658" y="0"/>
                </a:lnTo>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p>
        </p:txBody>
      </p:sp>
      <p:sp>
        <p:nvSpPr>
          <p:cNvPr id="70" name="Freeform 587">
            <a:extLst>
              <a:ext uri="{FF2B5EF4-FFF2-40B4-BE49-F238E27FC236}">
                <a16:creationId xmlns:a16="http://schemas.microsoft.com/office/drawing/2014/main" id="{1C2B5055-C300-0669-C36A-3E49BCFCC062}"/>
              </a:ext>
            </a:extLst>
          </p:cNvPr>
          <p:cNvSpPr>
            <a:spLocks/>
          </p:cNvSpPr>
          <p:nvPr/>
        </p:nvSpPr>
        <p:spPr bwMode="auto">
          <a:xfrm>
            <a:off x="6582141" y="4894857"/>
            <a:ext cx="689438" cy="689438"/>
          </a:xfrm>
          <a:custGeom>
            <a:avLst/>
            <a:gdLst>
              <a:gd name="T0" fmla="*/ 946 w 1995"/>
              <a:gd name="T1" fmla="*/ 1993 h 1995"/>
              <a:gd name="T2" fmla="*/ 748 w 1995"/>
              <a:gd name="T3" fmla="*/ 1964 h 1995"/>
              <a:gd name="T4" fmla="*/ 565 w 1995"/>
              <a:gd name="T5" fmla="*/ 1898 h 1995"/>
              <a:gd name="T6" fmla="*/ 401 w 1995"/>
              <a:gd name="T7" fmla="*/ 1798 h 1995"/>
              <a:gd name="T8" fmla="*/ 259 w 1995"/>
              <a:gd name="T9" fmla="*/ 1668 h 1995"/>
              <a:gd name="T10" fmla="*/ 145 w 1995"/>
              <a:gd name="T11" fmla="*/ 1515 h 1995"/>
              <a:gd name="T12" fmla="*/ 61 w 1995"/>
              <a:gd name="T13" fmla="*/ 1340 h 1995"/>
              <a:gd name="T14" fmla="*/ 12 w 1995"/>
              <a:gd name="T15" fmla="*/ 1150 h 1995"/>
              <a:gd name="T16" fmla="*/ 0 w 1995"/>
              <a:gd name="T17" fmla="*/ 998 h 1995"/>
              <a:gd name="T18" fmla="*/ 12 w 1995"/>
              <a:gd name="T19" fmla="*/ 846 h 1995"/>
              <a:gd name="T20" fmla="*/ 61 w 1995"/>
              <a:gd name="T21" fmla="*/ 655 h 1995"/>
              <a:gd name="T22" fmla="*/ 145 w 1995"/>
              <a:gd name="T23" fmla="*/ 481 h 1995"/>
              <a:gd name="T24" fmla="*/ 259 w 1995"/>
              <a:gd name="T25" fmla="*/ 327 h 1995"/>
              <a:gd name="T26" fmla="*/ 401 w 1995"/>
              <a:gd name="T27" fmla="*/ 198 h 1995"/>
              <a:gd name="T28" fmla="*/ 565 w 1995"/>
              <a:gd name="T29" fmla="*/ 98 h 1995"/>
              <a:gd name="T30" fmla="*/ 748 w 1995"/>
              <a:gd name="T31" fmla="*/ 31 h 1995"/>
              <a:gd name="T32" fmla="*/ 946 w 1995"/>
              <a:gd name="T33" fmla="*/ 1 h 1995"/>
              <a:gd name="T34" fmla="*/ 1049 w 1995"/>
              <a:gd name="T35" fmla="*/ 1 h 1995"/>
              <a:gd name="T36" fmla="*/ 1247 w 1995"/>
              <a:gd name="T37" fmla="*/ 31 h 1995"/>
              <a:gd name="T38" fmla="*/ 1431 w 1995"/>
              <a:gd name="T39" fmla="*/ 98 h 1995"/>
              <a:gd name="T40" fmla="*/ 1594 w 1995"/>
              <a:gd name="T41" fmla="*/ 198 h 1995"/>
              <a:gd name="T42" fmla="*/ 1737 w 1995"/>
              <a:gd name="T43" fmla="*/ 327 h 1995"/>
              <a:gd name="T44" fmla="*/ 1851 w 1995"/>
              <a:gd name="T45" fmla="*/ 481 h 1995"/>
              <a:gd name="T46" fmla="*/ 1935 w 1995"/>
              <a:gd name="T47" fmla="*/ 655 h 1995"/>
              <a:gd name="T48" fmla="*/ 1985 w 1995"/>
              <a:gd name="T49" fmla="*/ 846 h 1995"/>
              <a:gd name="T50" fmla="*/ 1995 w 1995"/>
              <a:gd name="T51" fmla="*/ 998 h 1995"/>
              <a:gd name="T52" fmla="*/ 1985 w 1995"/>
              <a:gd name="T53" fmla="*/ 1150 h 1995"/>
              <a:gd name="T54" fmla="*/ 1935 w 1995"/>
              <a:gd name="T55" fmla="*/ 1340 h 1995"/>
              <a:gd name="T56" fmla="*/ 1851 w 1995"/>
              <a:gd name="T57" fmla="*/ 1515 h 1995"/>
              <a:gd name="T58" fmla="*/ 1737 w 1995"/>
              <a:gd name="T59" fmla="*/ 1668 h 1995"/>
              <a:gd name="T60" fmla="*/ 1594 w 1995"/>
              <a:gd name="T61" fmla="*/ 1798 h 1995"/>
              <a:gd name="T62" fmla="*/ 1431 w 1995"/>
              <a:gd name="T63" fmla="*/ 1898 h 1995"/>
              <a:gd name="T64" fmla="*/ 1247 w 1995"/>
              <a:gd name="T65" fmla="*/ 1964 h 1995"/>
              <a:gd name="T66" fmla="*/ 1049 w 1995"/>
              <a:gd name="T67" fmla="*/ 1993 h 1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95" h="1995">
                <a:moveTo>
                  <a:pt x="998" y="1995"/>
                </a:moveTo>
                <a:lnTo>
                  <a:pt x="946" y="1993"/>
                </a:lnTo>
                <a:lnTo>
                  <a:pt x="847" y="1984"/>
                </a:lnTo>
                <a:lnTo>
                  <a:pt x="748" y="1964"/>
                </a:lnTo>
                <a:lnTo>
                  <a:pt x="655" y="1935"/>
                </a:lnTo>
                <a:lnTo>
                  <a:pt x="565" y="1898"/>
                </a:lnTo>
                <a:lnTo>
                  <a:pt x="481" y="1851"/>
                </a:lnTo>
                <a:lnTo>
                  <a:pt x="401" y="1798"/>
                </a:lnTo>
                <a:lnTo>
                  <a:pt x="327" y="1735"/>
                </a:lnTo>
                <a:lnTo>
                  <a:pt x="259" y="1668"/>
                </a:lnTo>
                <a:lnTo>
                  <a:pt x="198" y="1594"/>
                </a:lnTo>
                <a:lnTo>
                  <a:pt x="145" y="1515"/>
                </a:lnTo>
                <a:lnTo>
                  <a:pt x="99" y="1430"/>
                </a:lnTo>
                <a:lnTo>
                  <a:pt x="61" y="1340"/>
                </a:lnTo>
                <a:lnTo>
                  <a:pt x="31" y="1247"/>
                </a:lnTo>
                <a:lnTo>
                  <a:pt x="12" y="1150"/>
                </a:lnTo>
                <a:lnTo>
                  <a:pt x="1" y="1049"/>
                </a:lnTo>
                <a:lnTo>
                  <a:pt x="0" y="998"/>
                </a:lnTo>
                <a:lnTo>
                  <a:pt x="1" y="946"/>
                </a:lnTo>
                <a:lnTo>
                  <a:pt x="12" y="846"/>
                </a:lnTo>
                <a:lnTo>
                  <a:pt x="31" y="748"/>
                </a:lnTo>
                <a:lnTo>
                  <a:pt x="61" y="655"/>
                </a:lnTo>
                <a:lnTo>
                  <a:pt x="99" y="565"/>
                </a:lnTo>
                <a:lnTo>
                  <a:pt x="145" y="481"/>
                </a:lnTo>
                <a:lnTo>
                  <a:pt x="198" y="400"/>
                </a:lnTo>
                <a:lnTo>
                  <a:pt x="259" y="327"/>
                </a:lnTo>
                <a:lnTo>
                  <a:pt x="327" y="259"/>
                </a:lnTo>
                <a:lnTo>
                  <a:pt x="401" y="198"/>
                </a:lnTo>
                <a:lnTo>
                  <a:pt x="481" y="145"/>
                </a:lnTo>
                <a:lnTo>
                  <a:pt x="565" y="98"/>
                </a:lnTo>
                <a:lnTo>
                  <a:pt x="655" y="61"/>
                </a:lnTo>
                <a:lnTo>
                  <a:pt x="748" y="31"/>
                </a:lnTo>
                <a:lnTo>
                  <a:pt x="847" y="12"/>
                </a:lnTo>
                <a:lnTo>
                  <a:pt x="946" y="1"/>
                </a:lnTo>
                <a:lnTo>
                  <a:pt x="998" y="0"/>
                </a:lnTo>
                <a:lnTo>
                  <a:pt x="1049" y="1"/>
                </a:lnTo>
                <a:lnTo>
                  <a:pt x="1150" y="12"/>
                </a:lnTo>
                <a:lnTo>
                  <a:pt x="1247" y="31"/>
                </a:lnTo>
                <a:lnTo>
                  <a:pt x="1340" y="61"/>
                </a:lnTo>
                <a:lnTo>
                  <a:pt x="1431" y="98"/>
                </a:lnTo>
                <a:lnTo>
                  <a:pt x="1515" y="145"/>
                </a:lnTo>
                <a:lnTo>
                  <a:pt x="1594" y="198"/>
                </a:lnTo>
                <a:lnTo>
                  <a:pt x="1668" y="259"/>
                </a:lnTo>
                <a:lnTo>
                  <a:pt x="1737" y="327"/>
                </a:lnTo>
                <a:lnTo>
                  <a:pt x="1798" y="400"/>
                </a:lnTo>
                <a:lnTo>
                  <a:pt x="1851" y="481"/>
                </a:lnTo>
                <a:lnTo>
                  <a:pt x="1898" y="565"/>
                </a:lnTo>
                <a:lnTo>
                  <a:pt x="1935" y="655"/>
                </a:lnTo>
                <a:lnTo>
                  <a:pt x="1964" y="748"/>
                </a:lnTo>
                <a:lnTo>
                  <a:pt x="1985" y="846"/>
                </a:lnTo>
                <a:lnTo>
                  <a:pt x="1995" y="946"/>
                </a:lnTo>
                <a:lnTo>
                  <a:pt x="1995" y="998"/>
                </a:lnTo>
                <a:lnTo>
                  <a:pt x="1995" y="1049"/>
                </a:lnTo>
                <a:lnTo>
                  <a:pt x="1985" y="1150"/>
                </a:lnTo>
                <a:lnTo>
                  <a:pt x="1964" y="1247"/>
                </a:lnTo>
                <a:lnTo>
                  <a:pt x="1935" y="1340"/>
                </a:lnTo>
                <a:lnTo>
                  <a:pt x="1898" y="1430"/>
                </a:lnTo>
                <a:lnTo>
                  <a:pt x="1851" y="1515"/>
                </a:lnTo>
                <a:lnTo>
                  <a:pt x="1798" y="1594"/>
                </a:lnTo>
                <a:lnTo>
                  <a:pt x="1737" y="1668"/>
                </a:lnTo>
                <a:lnTo>
                  <a:pt x="1668" y="1735"/>
                </a:lnTo>
                <a:lnTo>
                  <a:pt x="1594" y="1798"/>
                </a:lnTo>
                <a:lnTo>
                  <a:pt x="1515" y="1851"/>
                </a:lnTo>
                <a:lnTo>
                  <a:pt x="1431" y="1898"/>
                </a:lnTo>
                <a:lnTo>
                  <a:pt x="1340" y="1935"/>
                </a:lnTo>
                <a:lnTo>
                  <a:pt x="1247" y="1964"/>
                </a:lnTo>
                <a:lnTo>
                  <a:pt x="1150" y="1984"/>
                </a:lnTo>
                <a:lnTo>
                  <a:pt x="1049" y="1993"/>
                </a:lnTo>
                <a:lnTo>
                  <a:pt x="998" y="199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589">
            <a:extLst>
              <a:ext uri="{FF2B5EF4-FFF2-40B4-BE49-F238E27FC236}">
                <a16:creationId xmlns:a16="http://schemas.microsoft.com/office/drawing/2014/main" id="{8BA1A381-CBEF-5F14-E007-76B50337C857}"/>
              </a:ext>
            </a:extLst>
          </p:cNvPr>
          <p:cNvSpPr>
            <a:spLocks/>
          </p:cNvSpPr>
          <p:nvPr/>
        </p:nvSpPr>
        <p:spPr bwMode="auto">
          <a:xfrm>
            <a:off x="7225984" y="5244412"/>
            <a:ext cx="160270" cy="392385"/>
          </a:xfrm>
          <a:custGeom>
            <a:avLst/>
            <a:gdLst>
              <a:gd name="T0" fmla="*/ 462 w 462"/>
              <a:gd name="T1" fmla="*/ 981 h 1135"/>
              <a:gd name="T2" fmla="*/ 460 w 462"/>
              <a:gd name="T3" fmla="*/ 985 h 1135"/>
              <a:gd name="T4" fmla="*/ 457 w 462"/>
              <a:gd name="T5" fmla="*/ 989 h 1135"/>
              <a:gd name="T6" fmla="*/ 443 w 462"/>
              <a:gd name="T7" fmla="*/ 1007 h 1135"/>
              <a:gd name="T8" fmla="*/ 427 w 462"/>
              <a:gd name="T9" fmla="*/ 1025 h 1135"/>
              <a:gd name="T10" fmla="*/ 418 w 462"/>
              <a:gd name="T11" fmla="*/ 1037 h 1135"/>
              <a:gd name="T12" fmla="*/ 409 w 462"/>
              <a:gd name="T13" fmla="*/ 1048 h 1135"/>
              <a:gd name="T14" fmla="*/ 408 w 462"/>
              <a:gd name="T15" fmla="*/ 1050 h 1135"/>
              <a:gd name="T16" fmla="*/ 408 w 462"/>
              <a:gd name="T17" fmla="*/ 1050 h 1135"/>
              <a:gd name="T18" fmla="*/ 396 w 462"/>
              <a:gd name="T19" fmla="*/ 1064 h 1135"/>
              <a:gd name="T20" fmla="*/ 383 w 462"/>
              <a:gd name="T21" fmla="*/ 1078 h 1135"/>
              <a:gd name="T22" fmla="*/ 369 w 462"/>
              <a:gd name="T23" fmla="*/ 1095 h 1135"/>
              <a:gd name="T24" fmla="*/ 355 w 462"/>
              <a:gd name="T25" fmla="*/ 1110 h 1135"/>
              <a:gd name="T26" fmla="*/ 343 w 462"/>
              <a:gd name="T27" fmla="*/ 1123 h 1135"/>
              <a:gd name="T28" fmla="*/ 332 w 462"/>
              <a:gd name="T29" fmla="*/ 1135 h 1135"/>
              <a:gd name="T30" fmla="*/ 276 w 462"/>
              <a:gd name="T31" fmla="*/ 1062 h 1135"/>
              <a:gd name="T32" fmla="*/ 177 w 462"/>
              <a:gd name="T33" fmla="*/ 908 h 1135"/>
              <a:gd name="T34" fmla="*/ 94 w 462"/>
              <a:gd name="T35" fmla="*/ 745 h 1135"/>
              <a:gd name="T36" fmla="*/ 27 w 462"/>
              <a:gd name="T37" fmla="*/ 573 h 1135"/>
              <a:gd name="T38" fmla="*/ 0 w 462"/>
              <a:gd name="T39" fmla="*/ 483 h 1135"/>
              <a:gd name="T40" fmla="*/ 36 w 462"/>
              <a:gd name="T41" fmla="*/ 417 h 1135"/>
              <a:gd name="T42" fmla="*/ 65 w 462"/>
              <a:gd name="T43" fmla="*/ 348 h 1135"/>
              <a:gd name="T44" fmla="*/ 68 w 462"/>
              <a:gd name="T45" fmla="*/ 341 h 1135"/>
              <a:gd name="T46" fmla="*/ 71 w 462"/>
              <a:gd name="T47" fmla="*/ 333 h 1135"/>
              <a:gd name="T48" fmla="*/ 81 w 462"/>
              <a:gd name="T49" fmla="*/ 303 h 1135"/>
              <a:gd name="T50" fmla="*/ 90 w 462"/>
              <a:gd name="T51" fmla="*/ 273 h 1135"/>
              <a:gd name="T52" fmla="*/ 94 w 462"/>
              <a:gd name="T53" fmla="*/ 263 h 1135"/>
              <a:gd name="T54" fmla="*/ 97 w 462"/>
              <a:gd name="T55" fmla="*/ 252 h 1135"/>
              <a:gd name="T56" fmla="*/ 100 w 462"/>
              <a:gd name="T57" fmla="*/ 242 h 1135"/>
              <a:gd name="T58" fmla="*/ 102 w 462"/>
              <a:gd name="T59" fmla="*/ 232 h 1135"/>
              <a:gd name="T60" fmla="*/ 105 w 462"/>
              <a:gd name="T61" fmla="*/ 223 h 1135"/>
              <a:gd name="T62" fmla="*/ 106 w 462"/>
              <a:gd name="T63" fmla="*/ 214 h 1135"/>
              <a:gd name="T64" fmla="*/ 110 w 462"/>
              <a:gd name="T65" fmla="*/ 201 h 1135"/>
              <a:gd name="T66" fmla="*/ 112 w 462"/>
              <a:gd name="T67" fmla="*/ 189 h 1135"/>
              <a:gd name="T68" fmla="*/ 112 w 462"/>
              <a:gd name="T69" fmla="*/ 182 h 1135"/>
              <a:gd name="T70" fmla="*/ 114 w 462"/>
              <a:gd name="T71" fmla="*/ 177 h 1135"/>
              <a:gd name="T72" fmla="*/ 116 w 462"/>
              <a:gd name="T73" fmla="*/ 166 h 1135"/>
              <a:gd name="T74" fmla="*/ 119 w 462"/>
              <a:gd name="T75" fmla="*/ 153 h 1135"/>
              <a:gd name="T76" fmla="*/ 125 w 462"/>
              <a:gd name="T77" fmla="*/ 109 h 1135"/>
              <a:gd name="T78" fmla="*/ 129 w 462"/>
              <a:gd name="T79" fmla="*/ 64 h 1135"/>
              <a:gd name="T80" fmla="*/ 131 w 462"/>
              <a:gd name="T81" fmla="*/ 53 h 1135"/>
              <a:gd name="T82" fmla="*/ 131 w 462"/>
              <a:gd name="T83" fmla="*/ 41 h 1135"/>
              <a:gd name="T84" fmla="*/ 131 w 462"/>
              <a:gd name="T85" fmla="*/ 39 h 1135"/>
              <a:gd name="T86" fmla="*/ 131 w 462"/>
              <a:gd name="T87" fmla="*/ 35 h 1135"/>
              <a:gd name="T88" fmla="*/ 132 w 462"/>
              <a:gd name="T89" fmla="*/ 26 h 1135"/>
              <a:gd name="T90" fmla="*/ 132 w 462"/>
              <a:gd name="T91" fmla="*/ 17 h 1135"/>
              <a:gd name="T92" fmla="*/ 132 w 462"/>
              <a:gd name="T93" fmla="*/ 7 h 1135"/>
              <a:gd name="T94" fmla="*/ 132 w 462"/>
              <a:gd name="T95" fmla="*/ 0 h 1135"/>
              <a:gd name="T96" fmla="*/ 133 w 462"/>
              <a:gd name="T97" fmla="*/ 68 h 1135"/>
              <a:gd name="T98" fmla="*/ 145 w 462"/>
              <a:gd name="T99" fmla="*/ 204 h 1135"/>
              <a:gd name="T100" fmla="*/ 168 w 462"/>
              <a:gd name="T101" fmla="*/ 335 h 1135"/>
              <a:gd name="T102" fmla="*/ 201 w 462"/>
              <a:gd name="T103" fmla="*/ 464 h 1135"/>
              <a:gd name="T104" fmla="*/ 243 w 462"/>
              <a:gd name="T105" fmla="*/ 587 h 1135"/>
              <a:gd name="T106" fmla="*/ 295 w 462"/>
              <a:gd name="T107" fmla="*/ 706 h 1135"/>
              <a:gd name="T108" fmla="*/ 355 w 462"/>
              <a:gd name="T109" fmla="*/ 820 h 1135"/>
              <a:gd name="T110" fmla="*/ 425 w 462"/>
              <a:gd name="T111" fmla="*/ 929 h 1135"/>
              <a:gd name="T112" fmla="*/ 462 w 462"/>
              <a:gd name="T113" fmla="*/ 981 h 1135"/>
              <a:gd name="T114" fmla="*/ 462 w 462"/>
              <a:gd name="T115" fmla="*/ 981 h 1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62" h="1135">
                <a:moveTo>
                  <a:pt x="462" y="981"/>
                </a:moveTo>
                <a:lnTo>
                  <a:pt x="460" y="985"/>
                </a:lnTo>
                <a:lnTo>
                  <a:pt x="457" y="989"/>
                </a:lnTo>
                <a:lnTo>
                  <a:pt x="443" y="1007"/>
                </a:lnTo>
                <a:lnTo>
                  <a:pt x="427" y="1025"/>
                </a:lnTo>
                <a:lnTo>
                  <a:pt x="418" y="1037"/>
                </a:lnTo>
                <a:lnTo>
                  <a:pt x="409" y="1048"/>
                </a:lnTo>
                <a:lnTo>
                  <a:pt x="408" y="1050"/>
                </a:lnTo>
                <a:lnTo>
                  <a:pt x="408" y="1050"/>
                </a:lnTo>
                <a:lnTo>
                  <a:pt x="396" y="1064"/>
                </a:lnTo>
                <a:lnTo>
                  <a:pt x="383" y="1078"/>
                </a:lnTo>
                <a:lnTo>
                  <a:pt x="369" y="1095"/>
                </a:lnTo>
                <a:lnTo>
                  <a:pt x="355" y="1110"/>
                </a:lnTo>
                <a:lnTo>
                  <a:pt x="343" y="1123"/>
                </a:lnTo>
                <a:lnTo>
                  <a:pt x="332" y="1135"/>
                </a:lnTo>
                <a:lnTo>
                  <a:pt x="276" y="1062"/>
                </a:lnTo>
                <a:lnTo>
                  <a:pt x="177" y="908"/>
                </a:lnTo>
                <a:lnTo>
                  <a:pt x="94" y="745"/>
                </a:lnTo>
                <a:lnTo>
                  <a:pt x="27" y="573"/>
                </a:lnTo>
                <a:lnTo>
                  <a:pt x="0" y="483"/>
                </a:lnTo>
                <a:lnTo>
                  <a:pt x="36" y="417"/>
                </a:lnTo>
                <a:lnTo>
                  <a:pt x="65" y="348"/>
                </a:lnTo>
                <a:lnTo>
                  <a:pt x="68" y="341"/>
                </a:lnTo>
                <a:lnTo>
                  <a:pt x="71" y="333"/>
                </a:lnTo>
                <a:lnTo>
                  <a:pt x="81" y="303"/>
                </a:lnTo>
                <a:lnTo>
                  <a:pt x="90" y="273"/>
                </a:lnTo>
                <a:lnTo>
                  <a:pt x="94" y="263"/>
                </a:lnTo>
                <a:lnTo>
                  <a:pt x="97" y="252"/>
                </a:lnTo>
                <a:lnTo>
                  <a:pt x="100" y="242"/>
                </a:lnTo>
                <a:lnTo>
                  <a:pt x="102" y="232"/>
                </a:lnTo>
                <a:lnTo>
                  <a:pt x="105" y="223"/>
                </a:lnTo>
                <a:lnTo>
                  <a:pt x="106" y="214"/>
                </a:lnTo>
                <a:lnTo>
                  <a:pt x="110" y="201"/>
                </a:lnTo>
                <a:lnTo>
                  <a:pt x="112" y="189"/>
                </a:lnTo>
                <a:lnTo>
                  <a:pt x="112" y="182"/>
                </a:lnTo>
                <a:lnTo>
                  <a:pt x="114" y="177"/>
                </a:lnTo>
                <a:lnTo>
                  <a:pt x="116" y="166"/>
                </a:lnTo>
                <a:lnTo>
                  <a:pt x="119" y="153"/>
                </a:lnTo>
                <a:lnTo>
                  <a:pt x="125" y="109"/>
                </a:lnTo>
                <a:lnTo>
                  <a:pt x="129" y="64"/>
                </a:lnTo>
                <a:lnTo>
                  <a:pt x="131" y="53"/>
                </a:lnTo>
                <a:lnTo>
                  <a:pt x="131" y="41"/>
                </a:lnTo>
                <a:lnTo>
                  <a:pt x="131" y="39"/>
                </a:lnTo>
                <a:lnTo>
                  <a:pt x="131" y="35"/>
                </a:lnTo>
                <a:lnTo>
                  <a:pt x="132" y="26"/>
                </a:lnTo>
                <a:lnTo>
                  <a:pt x="132" y="17"/>
                </a:lnTo>
                <a:lnTo>
                  <a:pt x="132" y="7"/>
                </a:lnTo>
                <a:lnTo>
                  <a:pt x="132" y="0"/>
                </a:lnTo>
                <a:lnTo>
                  <a:pt x="133" y="68"/>
                </a:lnTo>
                <a:lnTo>
                  <a:pt x="145" y="204"/>
                </a:lnTo>
                <a:lnTo>
                  <a:pt x="168" y="335"/>
                </a:lnTo>
                <a:lnTo>
                  <a:pt x="201" y="464"/>
                </a:lnTo>
                <a:lnTo>
                  <a:pt x="243" y="587"/>
                </a:lnTo>
                <a:lnTo>
                  <a:pt x="295" y="706"/>
                </a:lnTo>
                <a:lnTo>
                  <a:pt x="355" y="820"/>
                </a:lnTo>
                <a:lnTo>
                  <a:pt x="425" y="929"/>
                </a:lnTo>
                <a:lnTo>
                  <a:pt x="462" y="981"/>
                </a:lnTo>
                <a:lnTo>
                  <a:pt x="462" y="981"/>
                </a:ln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72" name="Freeform 590">
            <a:extLst>
              <a:ext uri="{FF2B5EF4-FFF2-40B4-BE49-F238E27FC236}">
                <a16:creationId xmlns:a16="http://schemas.microsoft.com/office/drawing/2014/main" id="{07F16F78-852E-C709-3AC0-0881181DA8F6}"/>
              </a:ext>
            </a:extLst>
          </p:cNvPr>
          <p:cNvSpPr>
            <a:spLocks/>
          </p:cNvSpPr>
          <p:nvPr/>
        </p:nvSpPr>
        <p:spPr bwMode="auto">
          <a:xfrm>
            <a:off x="7225984" y="5244412"/>
            <a:ext cx="160270" cy="392385"/>
          </a:xfrm>
          <a:custGeom>
            <a:avLst/>
            <a:gdLst>
              <a:gd name="T0" fmla="*/ 132 w 462"/>
              <a:gd name="T1" fmla="*/ 0 h 1135"/>
              <a:gd name="T2" fmla="*/ 132 w 462"/>
              <a:gd name="T3" fmla="*/ 7 h 1135"/>
              <a:gd name="T4" fmla="*/ 132 w 462"/>
              <a:gd name="T5" fmla="*/ 17 h 1135"/>
              <a:gd name="T6" fmla="*/ 132 w 462"/>
              <a:gd name="T7" fmla="*/ 26 h 1135"/>
              <a:gd name="T8" fmla="*/ 131 w 462"/>
              <a:gd name="T9" fmla="*/ 35 h 1135"/>
              <a:gd name="T10" fmla="*/ 131 w 462"/>
              <a:gd name="T11" fmla="*/ 39 h 1135"/>
              <a:gd name="T12" fmla="*/ 131 w 462"/>
              <a:gd name="T13" fmla="*/ 41 h 1135"/>
              <a:gd name="T14" fmla="*/ 131 w 462"/>
              <a:gd name="T15" fmla="*/ 53 h 1135"/>
              <a:gd name="T16" fmla="*/ 129 w 462"/>
              <a:gd name="T17" fmla="*/ 64 h 1135"/>
              <a:gd name="T18" fmla="*/ 125 w 462"/>
              <a:gd name="T19" fmla="*/ 109 h 1135"/>
              <a:gd name="T20" fmla="*/ 119 w 462"/>
              <a:gd name="T21" fmla="*/ 153 h 1135"/>
              <a:gd name="T22" fmla="*/ 116 w 462"/>
              <a:gd name="T23" fmla="*/ 166 h 1135"/>
              <a:gd name="T24" fmla="*/ 114 w 462"/>
              <a:gd name="T25" fmla="*/ 177 h 1135"/>
              <a:gd name="T26" fmla="*/ 112 w 462"/>
              <a:gd name="T27" fmla="*/ 182 h 1135"/>
              <a:gd name="T28" fmla="*/ 112 w 462"/>
              <a:gd name="T29" fmla="*/ 189 h 1135"/>
              <a:gd name="T30" fmla="*/ 110 w 462"/>
              <a:gd name="T31" fmla="*/ 201 h 1135"/>
              <a:gd name="T32" fmla="*/ 106 w 462"/>
              <a:gd name="T33" fmla="*/ 214 h 1135"/>
              <a:gd name="T34" fmla="*/ 105 w 462"/>
              <a:gd name="T35" fmla="*/ 223 h 1135"/>
              <a:gd name="T36" fmla="*/ 102 w 462"/>
              <a:gd name="T37" fmla="*/ 232 h 1135"/>
              <a:gd name="T38" fmla="*/ 100 w 462"/>
              <a:gd name="T39" fmla="*/ 242 h 1135"/>
              <a:gd name="T40" fmla="*/ 97 w 462"/>
              <a:gd name="T41" fmla="*/ 252 h 1135"/>
              <a:gd name="T42" fmla="*/ 94 w 462"/>
              <a:gd name="T43" fmla="*/ 263 h 1135"/>
              <a:gd name="T44" fmla="*/ 90 w 462"/>
              <a:gd name="T45" fmla="*/ 273 h 1135"/>
              <a:gd name="T46" fmla="*/ 81 w 462"/>
              <a:gd name="T47" fmla="*/ 303 h 1135"/>
              <a:gd name="T48" fmla="*/ 71 w 462"/>
              <a:gd name="T49" fmla="*/ 333 h 1135"/>
              <a:gd name="T50" fmla="*/ 65 w 462"/>
              <a:gd name="T51" fmla="*/ 348 h 1135"/>
              <a:gd name="T52" fmla="*/ 36 w 462"/>
              <a:gd name="T53" fmla="*/ 417 h 1135"/>
              <a:gd name="T54" fmla="*/ 0 w 462"/>
              <a:gd name="T55" fmla="*/ 483 h 1135"/>
              <a:gd name="T56" fmla="*/ 27 w 462"/>
              <a:gd name="T57" fmla="*/ 573 h 1135"/>
              <a:gd name="T58" fmla="*/ 94 w 462"/>
              <a:gd name="T59" fmla="*/ 745 h 1135"/>
              <a:gd name="T60" fmla="*/ 177 w 462"/>
              <a:gd name="T61" fmla="*/ 908 h 1135"/>
              <a:gd name="T62" fmla="*/ 276 w 462"/>
              <a:gd name="T63" fmla="*/ 1062 h 1135"/>
              <a:gd name="T64" fmla="*/ 332 w 462"/>
              <a:gd name="T65" fmla="*/ 1135 h 1135"/>
              <a:gd name="T66" fmla="*/ 343 w 462"/>
              <a:gd name="T67" fmla="*/ 1123 h 1135"/>
              <a:gd name="T68" fmla="*/ 355 w 462"/>
              <a:gd name="T69" fmla="*/ 1110 h 1135"/>
              <a:gd name="T70" fmla="*/ 369 w 462"/>
              <a:gd name="T71" fmla="*/ 1095 h 1135"/>
              <a:gd name="T72" fmla="*/ 383 w 462"/>
              <a:gd name="T73" fmla="*/ 1078 h 1135"/>
              <a:gd name="T74" fmla="*/ 396 w 462"/>
              <a:gd name="T75" fmla="*/ 1064 h 1135"/>
              <a:gd name="T76" fmla="*/ 408 w 462"/>
              <a:gd name="T77" fmla="*/ 1050 h 1135"/>
              <a:gd name="T78" fmla="*/ 408 w 462"/>
              <a:gd name="T79" fmla="*/ 1050 h 1135"/>
              <a:gd name="T80" fmla="*/ 409 w 462"/>
              <a:gd name="T81" fmla="*/ 1048 h 1135"/>
              <a:gd name="T82" fmla="*/ 418 w 462"/>
              <a:gd name="T83" fmla="*/ 1037 h 1135"/>
              <a:gd name="T84" fmla="*/ 427 w 462"/>
              <a:gd name="T85" fmla="*/ 1025 h 1135"/>
              <a:gd name="T86" fmla="*/ 443 w 462"/>
              <a:gd name="T87" fmla="*/ 1007 h 1135"/>
              <a:gd name="T88" fmla="*/ 457 w 462"/>
              <a:gd name="T89" fmla="*/ 989 h 1135"/>
              <a:gd name="T90" fmla="*/ 460 w 462"/>
              <a:gd name="T91" fmla="*/ 985 h 1135"/>
              <a:gd name="T92" fmla="*/ 462 w 462"/>
              <a:gd name="T93" fmla="*/ 981 h 1135"/>
              <a:gd name="T94" fmla="*/ 425 w 462"/>
              <a:gd name="T95" fmla="*/ 929 h 1135"/>
              <a:gd name="T96" fmla="*/ 355 w 462"/>
              <a:gd name="T97" fmla="*/ 820 h 1135"/>
              <a:gd name="T98" fmla="*/ 295 w 462"/>
              <a:gd name="T99" fmla="*/ 706 h 1135"/>
              <a:gd name="T100" fmla="*/ 243 w 462"/>
              <a:gd name="T101" fmla="*/ 587 h 1135"/>
              <a:gd name="T102" fmla="*/ 201 w 462"/>
              <a:gd name="T103" fmla="*/ 464 h 1135"/>
              <a:gd name="T104" fmla="*/ 168 w 462"/>
              <a:gd name="T105" fmla="*/ 335 h 1135"/>
              <a:gd name="T106" fmla="*/ 145 w 462"/>
              <a:gd name="T107" fmla="*/ 204 h 1135"/>
              <a:gd name="T108" fmla="*/ 133 w 462"/>
              <a:gd name="T109" fmla="*/ 68 h 1135"/>
              <a:gd name="T110" fmla="*/ 132 w 462"/>
              <a:gd name="T111" fmla="*/ 0 h 1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62" h="1135">
                <a:moveTo>
                  <a:pt x="132" y="0"/>
                </a:moveTo>
                <a:lnTo>
                  <a:pt x="132" y="7"/>
                </a:lnTo>
                <a:lnTo>
                  <a:pt x="132" y="17"/>
                </a:lnTo>
                <a:lnTo>
                  <a:pt x="132" y="26"/>
                </a:lnTo>
                <a:lnTo>
                  <a:pt x="131" y="35"/>
                </a:lnTo>
                <a:lnTo>
                  <a:pt x="131" y="39"/>
                </a:lnTo>
                <a:lnTo>
                  <a:pt x="131" y="41"/>
                </a:lnTo>
                <a:lnTo>
                  <a:pt x="131" y="53"/>
                </a:lnTo>
                <a:lnTo>
                  <a:pt x="129" y="64"/>
                </a:lnTo>
                <a:lnTo>
                  <a:pt x="125" y="109"/>
                </a:lnTo>
                <a:lnTo>
                  <a:pt x="119" y="153"/>
                </a:lnTo>
                <a:lnTo>
                  <a:pt x="116" y="166"/>
                </a:lnTo>
                <a:lnTo>
                  <a:pt x="114" y="177"/>
                </a:lnTo>
                <a:lnTo>
                  <a:pt x="112" y="182"/>
                </a:lnTo>
                <a:lnTo>
                  <a:pt x="112" y="189"/>
                </a:lnTo>
                <a:lnTo>
                  <a:pt x="110" y="201"/>
                </a:lnTo>
                <a:lnTo>
                  <a:pt x="106" y="214"/>
                </a:lnTo>
                <a:lnTo>
                  <a:pt x="105" y="223"/>
                </a:lnTo>
                <a:lnTo>
                  <a:pt x="102" y="232"/>
                </a:lnTo>
                <a:lnTo>
                  <a:pt x="100" y="242"/>
                </a:lnTo>
                <a:lnTo>
                  <a:pt x="97" y="252"/>
                </a:lnTo>
                <a:lnTo>
                  <a:pt x="94" y="263"/>
                </a:lnTo>
                <a:lnTo>
                  <a:pt x="90" y="273"/>
                </a:lnTo>
                <a:lnTo>
                  <a:pt x="81" y="303"/>
                </a:lnTo>
                <a:lnTo>
                  <a:pt x="71" y="333"/>
                </a:lnTo>
                <a:lnTo>
                  <a:pt x="65" y="348"/>
                </a:lnTo>
                <a:lnTo>
                  <a:pt x="36" y="417"/>
                </a:lnTo>
                <a:lnTo>
                  <a:pt x="0" y="483"/>
                </a:lnTo>
                <a:lnTo>
                  <a:pt x="27" y="573"/>
                </a:lnTo>
                <a:lnTo>
                  <a:pt x="94" y="745"/>
                </a:lnTo>
                <a:lnTo>
                  <a:pt x="177" y="908"/>
                </a:lnTo>
                <a:lnTo>
                  <a:pt x="276" y="1062"/>
                </a:lnTo>
                <a:lnTo>
                  <a:pt x="332" y="1135"/>
                </a:lnTo>
                <a:lnTo>
                  <a:pt x="343" y="1123"/>
                </a:lnTo>
                <a:lnTo>
                  <a:pt x="355" y="1110"/>
                </a:lnTo>
                <a:lnTo>
                  <a:pt x="369" y="1095"/>
                </a:lnTo>
                <a:lnTo>
                  <a:pt x="383" y="1078"/>
                </a:lnTo>
                <a:lnTo>
                  <a:pt x="396" y="1064"/>
                </a:lnTo>
                <a:lnTo>
                  <a:pt x="408" y="1050"/>
                </a:lnTo>
                <a:lnTo>
                  <a:pt x="408" y="1050"/>
                </a:lnTo>
                <a:lnTo>
                  <a:pt x="409" y="1048"/>
                </a:lnTo>
                <a:lnTo>
                  <a:pt x="418" y="1037"/>
                </a:lnTo>
                <a:lnTo>
                  <a:pt x="427" y="1025"/>
                </a:lnTo>
                <a:lnTo>
                  <a:pt x="443" y="1007"/>
                </a:lnTo>
                <a:lnTo>
                  <a:pt x="457" y="989"/>
                </a:lnTo>
                <a:lnTo>
                  <a:pt x="460" y="985"/>
                </a:lnTo>
                <a:lnTo>
                  <a:pt x="462" y="981"/>
                </a:lnTo>
                <a:lnTo>
                  <a:pt x="425" y="929"/>
                </a:lnTo>
                <a:lnTo>
                  <a:pt x="355" y="820"/>
                </a:lnTo>
                <a:lnTo>
                  <a:pt x="295" y="706"/>
                </a:lnTo>
                <a:lnTo>
                  <a:pt x="243" y="587"/>
                </a:lnTo>
                <a:lnTo>
                  <a:pt x="201" y="464"/>
                </a:lnTo>
                <a:lnTo>
                  <a:pt x="168" y="335"/>
                </a:lnTo>
                <a:lnTo>
                  <a:pt x="145" y="204"/>
                </a:lnTo>
                <a:lnTo>
                  <a:pt x="133" y="68"/>
                </a:lnTo>
                <a:lnTo>
                  <a:pt x="132" y="0"/>
                </a:ln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73" name="Freeform: Shape 139">
            <a:extLst>
              <a:ext uri="{FF2B5EF4-FFF2-40B4-BE49-F238E27FC236}">
                <a16:creationId xmlns:a16="http://schemas.microsoft.com/office/drawing/2014/main" id="{69420D3E-4AED-FE59-F98C-90DBCCB631F5}"/>
              </a:ext>
            </a:extLst>
          </p:cNvPr>
          <p:cNvSpPr>
            <a:spLocks/>
          </p:cNvSpPr>
          <p:nvPr/>
        </p:nvSpPr>
        <p:spPr bwMode="auto">
          <a:xfrm>
            <a:off x="7271579" y="5240266"/>
            <a:ext cx="3941813" cy="571998"/>
          </a:xfrm>
          <a:custGeom>
            <a:avLst/>
            <a:gdLst>
              <a:gd name="connsiteX0" fmla="*/ 0 w 3941813"/>
              <a:gd name="connsiteY0" fmla="*/ 0 h 571998"/>
              <a:gd name="connsiteX1" fmla="*/ 228336 w 3941813"/>
              <a:gd name="connsiteY1" fmla="*/ 0 h 571998"/>
              <a:gd name="connsiteX2" fmla="*/ 228336 w 3941813"/>
              <a:gd name="connsiteY2" fmla="*/ 1035 h 571998"/>
              <a:gd name="connsiteX3" fmla="*/ 228336 w 3941813"/>
              <a:gd name="connsiteY3" fmla="*/ 2070 h 571998"/>
              <a:gd name="connsiteX4" fmla="*/ 228336 w 3941813"/>
              <a:gd name="connsiteY4" fmla="*/ 3450 h 571998"/>
              <a:gd name="connsiteX5" fmla="*/ 228336 w 3941813"/>
              <a:gd name="connsiteY5" fmla="*/ 4485 h 571998"/>
              <a:gd name="connsiteX6" fmla="*/ 228336 w 3941813"/>
              <a:gd name="connsiteY6" fmla="*/ 6555 h 571998"/>
              <a:gd name="connsiteX7" fmla="*/ 228336 w 3941813"/>
              <a:gd name="connsiteY7" fmla="*/ 8625 h 571998"/>
              <a:gd name="connsiteX8" fmla="*/ 228336 w 3941813"/>
              <a:gd name="connsiteY8" fmla="*/ 13110 h 571998"/>
              <a:gd name="connsiteX9" fmla="*/ 228681 w 3941813"/>
              <a:gd name="connsiteY9" fmla="*/ 17595 h 571998"/>
              <a:gd name="connsiteX10" fmla="*/ 228681 w 3941813"/>
              <a:gd name="connsiteY10" fmla="*/ 21045 h 571998"/>
              <a:gd name="connsiteX11" fmla="*/ 229372 w 3941813"/>
              <a:gd name="connsiteY11" fmla="*/ 24495 h 571998"/>
              <a:gd name="connsiteX12" fmla="*/ 229561 w 3941813"/>
              <a:gd name="connsiteY12" fmla="*/ 29949 h 571998"/>
              <a:gd name="connsiteX13" fmla="*/ 230860 w 3941813"/>
              <a:gd name="connsiteY13" fmla="*/ 43059 h 571998"/>
              <a:gd name="connsiteX14" fmla="*/ 231099 w 3941813"/>
              <a:gd name="connsiteY14" fmla="*/ 44849 h 571998"/>
              <a:gd name="connsiteX15" fmla="*/ 231445 w 3941813"/>
              <a:gd name="connsiteY15" fmla="*/ 47954 h 571998"/>
              <a:gd name="connsiteX16" fmla="*/ 231790 w 3941813"/>
              <a:gd name="connsiteY16" fmla="*/ 51059 h 571998"/>
              <a:gd name="connsiteX17" fmla="*/ 232439 w 3941813"/>
              <a:gd name="connsiteY17" fmla="*/ 55431 h 571998"/>
              <a:gd name="connsiteX18" fmla="*/ 237460 w 3941813"/>
              <a:gd name="connsiteY18" fmla="*/ 78594 h 571998"/>
              <a:gd name="connsiteX19" fmla="*/ 239935 w 3941813"/>
              <a:gd name="connsiteY19" fmla="*/ 88754 h 571998"/>
              <a:gd name="connsiteX20" fmla="*/ 249062 w 3941813"/>
              <a:gd name="connsiteY20" fmla="*/ 117988 h 571998"/>
              <a:gd name="connsiteX21" fmla="*/ 258766 w 3941813"/>
              <a:gd name="connsiteY21" fmla="*/ 141560 h 571998"/>
              <a:gd name="connsiteX22" fmla="*/ 260462 w 3941813"/>
              <a:gd name="connsiteY22" fmla="*/ 145242 h 571998"/>
              <a:gd name="connsiteX23" fmla="*/ 261844 w 3941813"/>
              <a:gd name="connsiteY23" fmla="*/ 148347 h 571998"/>
              <a:gd name="connsiteX24" fmla="*/ 263571 w 3941813"/>
              <a:gd name="connsiteY24" fmla="*/ 152142 h 571998"/>
              <a:gd name="connsiteX25" fmla="*/ 265643 w 3941813"/>
              <a:gd name="connsiteY25" fmla="*/ 155592 h 571998"/>
              <a:gd name="connsiteX26" fmla="*/ 267371 w 3941813"/>
              <a:gd name="connsiteY26" fmla="*/ 158697 h 571998"/>
              <a:gd name="connsiteX27" fmla="*/ 269060 w 3941813"/>
              <a:gd name="connsiteY27" fmla="*/ 162072 h 571998"/>
              <a:gd name="connsiteX28" fmla="*/ 276558 w 3941813"/>
              <a:gd name="connsiteY28" fmla="*/ 175613 h 571998"/>
              <a:gd name="connsiteX29" fmla="*/ 277043 w 3941813"/>
              <a:gd name="connsiteY29" fmla="*/ 176291 h 571998"/>
              <a:gd name="connsiteX30" fmla="*/ 278368 w 3941813"/>
              <a:gd name="connsiteY30" fmla="*/ 178791 h 571998"/>
              <a:gd name="connsiteX31" fmla="*/ 295536 w 3941813"/>
              <a:gd name="connsiteY31" fmla="*/ 204348 h 571998"/>
              <a:gd name="connsiteX32" fmla="*/ 296042 w 3941813"/>
              <a:gd name="connsiteY32" fmla="*/ 204926 h 571998"/>
              <a:gd name="connsiteX33" fmla="*/ 298303 w 3941813"/>
              <a:gd name="connsiteY33" fmla="*/ 207936 h 571998"/>
              <a:gd name="connsiteX34" fmla="*/ 316635 w 3941813"/>
              <a:gd name="connsiteY34" fmla="*/ 230146 h 571998"/>
              <a:gd name="connsiteX35" fmla="*/ 318158 w 3941813"/>
              <a:gd name="connsiteY35" fmla="*/ 231823 h 571998"/>
              <a:gd name="connsiteX36" fmla="*/ 341295 w 3941813"/>
              <a:gd name="connsiteY36" fmla="*/ 254260 h 571998"/>
              <a:gd name="connsiteX37" fmla="*/ 364855 w 3941813"/>
              <a:gd name="connsiteY37" fmla="*/ 274566 h 571998"/>
              <a:gd name="connsiteX38" fmla="*/ 383255 w 3941813"/>
              <a:gd name="connsiteY38" fmla="*/ 287072 h 571998"/>
              <a:gd name="connsiteX39" fmla="*/ 390494 w 3941813"/>
              <a:gd name="connsiteY39" fmla="*/ 291862 h 571998"/>
              <a:gd name="connsiteX40" fmla="*/ 396550 w 3941813"/>
              <a:gd name="connsiteY40" fmla="*/ 295622 h 571998"/>
              <a:gd name="connsiteX41" fmla="*/ 409034 w 3941813"/>
              <a:gd name="connsiteY41" fmla="*/ 302598 h 571998"/>
              <a:gd name="connsiteX42" fmla="*/ 419364 w 3941813"/>
              <a:gd name="connsiteY42" fmla="*/ 308079 h 571998"/>
              <a:gd name="connsiteX43" fmla="*/ 431109 w 3941813"/>
              <a:gd name="connsiteY43" fmla="*/ 313598 h 571998"/>
              <a:gd name="connsiteX44" fmla="*/ 433413 w 3941813"/>
              <a:gd name="connsiteY44" fmla="*/ 314749 h 571998"/>
              <a:gd name="connsiteX45" fmla="*/ 445124 w 3941813"/>
              <a:gd name="connsiteY45" fmla="*/ 319611 h 571998"/>
              <a:gd name="connsiteX46" fmla="*/ 450799 w 3941813"/>
              <a:gd name="connsiteY46" fmla="*/ 321878 h 571998"/>
              <a:gd name="connsiteX47" fmla="*/ 462312 w 3941813"/>
              <a:gd name="connsiteY47" fmla="*/ 325820 h 571998"/>
              <a:gd name="connsiteX48" fmla="*/ 480775 w 3941813"/>
              <a:gd name="connsiteY48" fmla="*/ 331449 h 571998"/>
              <a:gd name="connsiteX49" fmla="*/ 490525 w 3941813"/>
              <a:gd name="connsiteY49" fmla="*/ 333953 h 571998"/>
              <a:gd name="connsiteX50" fmla="*/ 499752 w 3941813"/>
              <a:gd name="connsiteY50" fmla="*/ 335946 h 571998"/>
              <a:gd name="connsiteX51" fmla="*/ 520232 w 3941813"/>
              <a:gd name="connsiteY51" fmla="*/ 340163 h 571998"/>
              <a:gd name="connsiteX52" fmla="*/ 554124 w 3941813"/>
              <a:gd name="connsiteY52" fmla="*/ 343209 h 571998"/>
              <a:gd name="connsiteX53" fmla="*/ 555122 w 3941813"/>
              <a:gd name="connsiteY53" fmla="*/ 343268 h 571998"/>
              <a:gd name="connsiteX54" fmla="*/ 555467 w 3941813"/>
              <a:gd name="connsiteY54" fmla="*/ 343294 h 571998"/>
              <a:gd name="connsiteX55" fmla="*/ 572739 w 3941813"/>
              <a:gd name="connsiteY55" fmla="*/ 343958 h 571998"/>
              <a:gd name="connsiteX56" fmla="*/ 3862707 w 3941813"/>
              <a:gd name="connsiteY56" fmla="*/ 343958 h 571998"/>
              <a:gd name="connsiteX57" fmla="*/ 3941813 w 3941813"/>
              <a:gd name="connsiteY57" fmla="*/ 343958 h 571998"/>
              <a:gd name="connsiteX58" fmla="*/ 3941813 w 3941813"/>
              <a:gd name="connsiteY58" fmla="*/ 388462 h 571998"/>
              <a:gd name="connsiteX59" fmla="*/ 3940777 w 3941813"/>
              <a:gd name="connsiteY59" fmla="*/ 407437 h 571998"/>
              <a:gd name="connsiteX60" fmla="*/ 3933868 w 3941813"/>
              <a:gd name="connsiteY60" fmla="*/ 442971 h 571998"/>
              <a:gd name="connsiteX61" fmla="*/ 3920050 w 3941813"/>
              <a:gd name="connsiteY61" fmla="*/ 476090 h 571998"/>
              <a:gd name="connsiteX62" fmla="*/ 3900015 w 3941813"/>
              <a:gd name="connsiteY62" fmla="*/ 505415 h 571998"/>
              <a:gd name="connsiteX63" fmla="*/ 3875143 w 3941813"/>
              <a:gd name="connsiteY63" fmla="*/ 530254 h 571998"/>
              <a:gd name="connsiteX64" fmla="*/ 3846126 w 3941813"/>
              <a:gd name="connsiteY64" fmla="*/ 549919 h 571998"/>
              <a:gd name="connsiteX65" fmla="*/ 3812964 w 3941813"/>
              <a:gd name="connsiteY65" fmla="*/ 563718 h 571998"/>
              <a:gd name="connsiteX66" fmla="*/ 3777038 w 3941813"/>
              <a:gd name="connsiteY66" fmla="*/ 570963 h 571998"/>
              <a:gd name="connsiteX67" fmla="*/ 3758385 w 3941813"/>
              <a:gd name="connsiteY67" fmla="*/ 571998 h 571998"/>
              <a:gd name="connsiteX68" fmla="*/ 572739 w 3941813"/>
              <a:gd name="connsiteY68" fmla="*/ 571998 h 571998"/>
              <a:gd name="connsiteX69" fmla="*/ 543032 w 3941813"/>
              <a:gd name="connsiteY69" fmla="*/ 571308 h 571998"/>
              <a:gd name="connsiteX70" fmla="*/ 485343 w 3941813"/>
              <a:gd name="connsiteY70" fmla="*/ 565788 h 571998"/>
              <a:gd name="connsiteX71" fmla="*/ 429382 w 3941813"/>
              <a:gd name="connsiteY71" fmla="*/ 554059 h 571998"/>
              <a:gd name="connsiteX72" fmla="*/ 375493 w 3941813"/>
              <a:gd name="connsiteY72" fmla="*/ 537499 h 571998"/>
              <a:gd name="connsiteX73" fmla="*/ 324023 w 3941813"/>
              <a:gd name="connsiteY73" fmla="*/ 515419 h 571998"/>
              <a:gd name="connsiteX74" fmla="*/ 275661 w 3941813"/>
              <a:gd name="connsiteY74" fmla="*/ 489200 h 571998"/>
              <a:gd name="connsiteX75" fmla="*/ 229718 w 3941813"/>
              <a:gd name="connsiteY75" fmla="*/ 458495 h 571998"/>
              <a:gd name="connsiteX76" fmla="*/ 187574 w 3941813"/>
              <a:gd name="connsiteY76" fmla="*/ 423306 h 571998"/>
              <a:gd name="connsiteX77" fmla="*/ 148539 w 3941813"/>
              <a:gd name="connsiteY77" fmla="*/ 384667 h 571998"/>
              <a:gd name="connsiteX78" fmla="*/ 113650 w 3941813"/>
              <a:gd name="connsiteY78" fmla="*/ 342233 h 571998"/>
              <a:gd name="connsiteX79" fmla="*/ 82906 w 3941813"/>
              <a:gd name="connsiteY79" fmla="*/ 296349 h 571998"/>
              <a:gd name="connsiteX80" fmla="*/ 56307 w 3941813"/>
              <a:gd name="connsiteY80" fmla="*/ 248050 h 571998"/>
              <a:gd name="connsiteX81" fmla="*/ 34544 w 3941813"/>
              <a:gd name="connsiteY81" fmla="*/ 196646 h 571998"/>
              <a:gd name="connsiteX82" fmla="*/ 17963 w 3941813"/>
              <a:gd name="connsiteY82" fmla="*/ 143172 h 571998"/>
              <a:gd name="connsiteX83" fmla="*/ 6218 w 3941813"/>
              <a:gd name="connsiteY83" fmla="*/ 87283 h 571998"/>
              <a:gd name="connsiteX84" fmla="*/ 346 w 3941813"/>
              <a:gd name="connsiteY84" fmla="*/ 29669 h 571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3941813" h="571998">
                <a:moveTo>
                  <a:pt x="0" y="0"/>
                </a:moveTo>
                <a:lnTo>
                  <a:pt x="228336" y="0"/>
                </a:lnTo>
                <a:lnTo>
                  <a:pt x="228336" y="1035"/>
                </a:lnTo>
                <a:lnTo>
                  <a:pt x="228336" y="2070"/>
                </a:lnTo>
                <a:lnTo>
                  <a:pt x="228336" y="3450"/>
                </a:lnTo>
                <a:lnTo>
                  <a:pt x="228336" y="4485"/>
                </a:lnTo>
                <a:lnTo>
                  <a:pt x="228336" y="6555"/>
                </a:lnTo>
                <a:lnTo>
                  <a:pt x="228336" y="8625"/>
                </a:lnTo>
                <a:lnTo>
                  <a:pt x="228336" y="13110"/>
                </a:lnTo>
                <a:lnTo>
                  <a:pt x="228681" y="17595"/>
                </a:lnTo>
                <a:lnTo>
                  <a:pt x="228681" y="21045"/>
                </a:lnTo>
                <a:lnTo>
                  <a:pt x="229372" y="24495"/>
                </a:lnTo>
                <a:lnTo>
                  <a:pt x="229561" y="29949"/>
                </a:lnTo>
                <a:lnTo>
                  <a:pt x="230860" y="43059"/>
                </a:lnTo>
                <a:lnTo>
                  <a:pt x="231099" y="44849"/>
                </a:lnTo>
                <a:lnTo>
                  <a:pt x="231445" y="47954"/>
                </a:lnTo>
                <a:lnTo>
                  <a:pt x="231790" y="51059"/>
                </a:lnTo>
                <a:lnTo>
                  <a:pt x="232439" y="55431"/>
                </a:lnTo>
                <a:lnTo>
                  <a:pt x="237460" y="78594"/>
                </a:lnTo>
                <a:lnTo>
                  <a:pt x="239935" y="88754"/>
                </a:lnTo>
                <a:lnTo>
                  <a:pt x="249062" y="117988"/>
                </a:lnTo>
                <a:lnTo>
                  <a:pt x="258766" y="141560"/>
                </a:lnTo>
                <a:lnTo>
                  <a:pt x="260462" y="145242"/>
                </a:lnTo>
                <a:lnTo>
                  <a:pt x="261844" y="148347"/>
                </a:lnTo>
                <a:lnTo>
                  <a:pt x="263571" y="152142"/>
                </a:lnTo>
                <a:lnTo>
                  <a:pt x="265643" y="155592"/>
                </a:lnTo>
                <a:lnTo>
                  <a:pt x="267371" y="158697"/>
                </a:lnTo>
                <a:lnTo>
                  <a:pt x="269060" y="162072"/>
                </a:lnTo>
                <a:lnTo>
                  <a:pt x="276558" y="175613"/>
                </a:lnTo>
                <a:lnTo>
                  <a:pt x="277043" y="176291"/>
                </a:lnTo>
                <a:lnTo>
                  <a:pt x="278368" y="178791"/>
                </a:lnTo>
                <a:lnTo>
                  <a:pt x="295536" y="204348"/>
                </a:lnTo>
                <a:lnTo>
                  <a:pt x="296042" y="204926"/>
                </a:lnTo>
                <a:lnTo>
                  <a:pt x="298303" y="207936"/>
                </a:lnTo>
                <a:lnTo>
                  <a:pt x="316635" y="230146"/>
                </a:lnTo>
                <a:lnTo>
                  <a:pt x="318158" y="231823"/>
                </a:lnTo>
                <a:lnTo>
                  <a:pt x="341295" y="254260"/>
                </a:lnTo>
                <a:lnTo>
                  <a:pt x="364855" y="274566"/>
                </a:lnTo>
                <a:lnTo>
                  <a:pt x="383255" y="287072"/>
                </a:lnTo>
                <a:lnTo>
                  <a:pt x="390494" y="291862"/>
                </a:lnTo>
                <a:lnTo>
                  <a:pt x="396550" y="295622"/>
                </a:lnTo>
                <a:lnTo>
                  <a:pt x="409034" y="302598"/>
                </a:lnTo>
                <a:lnTo>
                  <a:pt x="419364" y="308079"/>
                </a:lnTo>
                <a:lnTo>
                  <a:pt x="431109" y="313598"/>
                </a:lnTo>
                <a:lnTo>
                  <a:pt x="433413" y="314749"/>
                </a:lnTo>
                <a:lnTo>
                  <a:pt x="445124" y="319611"/>
                </a:lnTo>
                <a:lnTo>
                  <a:pt x="450799" y="321878"/>
                </a:lnTo>
                <a:lnTo>
                  <a:pt x="462312" y="325820"/>
                </a:lnTo>
                <a:lnTo>
                  <a:pt x="480775" y="331449"/>
                </a:lnTo>
                <a:lnTo>
                  <a:pt x="490525" y="333953"/>
                </a:lnTo>
                <a:lnTo>
                  <a:pt x="499752" y="335946"/>
                </a:lnTo>
                <a:lnTo>
                  <a:pt x="520232" y="340163"/>
                </a:lnTo>
                <a:lnTo>
                  <a:pt x="554124" y="343209"/>
                </a:lnTo>
                <a:lnTo>
                  <a:pt x="555122" y="343268"/>
                </a:lnTo>
                <a:lnTo>
                  <a:pt x="555467" y="343294"/>
                </a:lnTo>
                <a:lnTo>
                  <a:pt x="572739" y="343958"/>
                </a:lnTo>
                <a:lnTo>
                  <a:pt x="3862707" y="343958"/>
                </a:lnTo>
                <a:lnTo>
                  <a:pt x="3941813" y="343958"/>
                </a:lnTo>
                <a:lnTo>
                  <a:pt x="3941813" y="388462"/>
                </a:lnTo>
                <a:lnTo>
                  <a:pt x="3940777" y="407437"/>
                </a:lnTo>
                <a:lnTo>
                  <a:pt x="3933868" y="442971"/>
                </a:lnTo>
                <a:lnTo>
                  <a:pt x="3920050" y="476090"/>
                </a:lnTo>
                <a:lnTo>
                  <a:pt x="3900015" y="505415"/>
                </a:lnTo>
                <a:lnTo>
                  <a:pt x="3875143" y="530254"/>
                </a:lnTo>
                <a:lnTo>
                  <a:pt x="3846126" y="549919"/>
                </a:lnTo>
                <a:lnTo>
                  <a:pt x="3812964" y="563718"/>
                </a:lnTo>
                <a:lnTo>
                  <a:pt x="3777038" y="570963"/>
                </a:lnTo>
                <a:lnTo>
                  <a:pt x="3758385" y="571998"/>
                </a:lnTo>
                <a:lnTo>
                  <a:pt x="572739" y="571998"/>
                </a:lnTo>
                <a:lnTo>
                  <a:pt x="543032" y="571308"/>
                </a:lnTo>
                <a:lnTo>
                  <a:pt x="485343" y="565788"/>
                </a:lnTo>
                <a:lnTo>
                  <a:pt x="429382" y="554059"/>
                </a:lnTo>
                <a:lnTo>
                  <a:pt x="375493" y="537499"/>
                </a:lnTo>
                <a:lnTo>
                  <a:pt x="324023" y="515419"/>
                </a:lnTo>
                <a:lnTo>
                  <a:pt x="275661" y="489200"/>
                </a:lnTo>
                <a:lnTo>
                  <a:pt x="229718" y="458495"/>
                </a:lnTo>
                <a:lnTo>
                  <a:pt x="187574" y="423306"/>
                </a:lnTo>
                <a:lnTo>
                  <a:pt x="148539" y="384667"/>
                </a:lnTo>
                <a:lnTo>
                  <a:pt x="113650" y="342233"/>
                </a:lnTo>
                <a:lnTo>
                  <a:pt x="82906" y="296349"/>
                </a:lnTo>
                <a:lnTo>
                  <a:pt x="56307" y="248050"/>
                </a:lnTo>
                <a:lnTo>
                  <a:pt x="34544" y="196646"/>
                </a:lnTo>
                <a:lnTo>
                  <a:pt x="17963" y="143172"/>
                </a:lnTo>
                <a:lnTo>
                  <a:pt x="6218" y="87283"/>
                </a:lnTo>
                <a:lnTo>
                  <a:pt x="346" y="29669"/>
                </a:lnTo>
                <a:close/>
              </a:path>
            </a:pathLst>
          </a:custGeom>
          <a:solidFill>
            <a:schemeClr val="accent6"/>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74" name="Freeform 585">
            <a:extLst>
              <a:ext uri="{FF2B5EF4-FFF2-40B4-BE49-F238E27FC236}">
                <a16:creationId xmlns:a16="http://schemas.microsoft.com/office/drawing/2014/main" id="{53B0CD41-345D-31A0-47B4-87022C2E62D5}"/>
              </a:ext>
            </a:extLst>
          </p:cNvPr>
          <p:cNvSpPr>
            <a:spLocks/>
          </p:cNvSpPr>
          <p:nvPr/>
        </p:nvSpPr>
        <p:spPr bwMode="auto">
          <a:xfrm>
            <a:off x="6582141" y="4894857"/>
            <a:ext cx="689438" cy="68943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r>
              <a:rPr lang="en-US" sz="4400" b="1">
                <a:solidFill>
                  <a:srgbClr val="191C21"/>
                </a:solidFill>
              </a:rPr>
              <a:t>6</a:t>
            </a:r>
          </a:p>
        </p:txBody>
      </p:sp>
    </p:spTree>
    <p:extLst>
      <p:ext uri="{BB962C8B-B14F-4D97-AF65-F5344CB8AC3E}">
        <p14:creationId xmlns:p14="http://schemas.microsoft.com/office/powerpoint/2010/main" val="291799889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03ED5A-E704-8BD8-C768-49520D5EF0D8}"/>
              </a:ext>
            </a:extLst>
          </p:cNvPr>
          <p:cNvSpPr>
            <a:spLocks noGrp="1"/>
          </p:cNvSpPr>
          <p:nvPr>
            <p:ph type="title"/>
          </p:nvPr>
        </p:nvSpPr>
        <p:spPr/>
        <p:txBody>
          <a:bodyPr/>
          <a:lstStyle/>
          <a:p>
            <a:r>
              <a:rPr lang="en-US"/>
              <a:t>Why Tools Matter in the Age of AI Agents</a:t>
            </a:r>
          </a:p>
        </p:txBody>
      </p:sp>
      <p:sp>
        <p:nvSpPr>
          <p:cNvPr id="3" name="Freeform: Shape 60">
            <a:extLst>
              <a:ext uri="{FF2B5EF4-FFF2-40B4-BE49-F238E27FC236}">
                <a16:creationId xmlns:a16="http://schemas.microsoft.com/office/drawing/2014/main" id="{3B65C510-66C3-DF91-8ED5-710A00852376}"/>
              </a:ext>
            </a:extLst>
          </p:cNvPr>
          <p:cNvSpPr/>
          <p:nvPr/>
        </p:nvSpPr>
        <p:spPr>
          <a:xfrm>
            <a:off x="3811559" y="981284"/>
            <a:ext cx="4568909" cy="5094880"/>
          </a:xfrm>
          <a:custGeom>
            <a:avLst/>
            <a:gdLst>
              <a:gd name="connsiteX0" fmla="*/ 364288 w 4568909"/>
              <a:gd name="connsiteY0" fmla="*/ 3058190 h 5094880"/>
              <a:gd name="connsiteX1" fmla="*/ 427036 w 4568909"/>
              <a:gd name="connsiteY1" fmla="*/ 3210773 h 5094880"/>
              <a:gd name="connsiteX2" fmla="*/ 346338 w 4568909"/>
              <a:gd name="connsiteY2" fmla="*/ 3474113 h 5094880"/>
              <a:gd name="connsiteX3" fmla="*/ 418522 w 4568909"/>
              <a:gd name="connsiteY3" fmla="*/ 3767206 h 5094880"/>
              <a:gd name="connsiteX4" fmla="*/ 700966 w 4568909"/>
              <a:gd name="connsiteY4" fmla="*/ 3898918 h 5094880"/>
              <a:gd name="connsiteX5" fmla="*/ 1017392 w 4568909"/>
              <a:gd name="connsiteY5" fmla="*/ 3864903 h 5094880"/>
              <a:gd name="connsiteX6" fmla="*/ 1125705 w 4568909"/>
              <a:gd name="connsiteY6" fmla="*/ 3926497 h 5094880"/>
              <a:gd name="connsiteX7" fmla="*/ 1064108 w 4568909"/>
              <a:gd name="connsiteY7" fmla="*/ 4034808 h 5094880"/>
              <a:gd name="connsiteX8" fmla="*/ 849628 w 4568909"/>
              <a:gd name="connsiteY8" fmla="*/ 4079436 h 5094880"/>
              <a:gd name="connsiteX9" fmla="*/ 847481 w 4568909"/>
              <a:gd name="connsiteY9" fmla="*/ 4094313 h 5094880"/>
              <a:gd name="connsiteX10" fmla="*/ 883610 w 4568909"/>
              <a:gd name="connsiteY10" fmla="*/ 4406460 h 5094880"/>
              <a:gd name="connsiteX11" fmla="*/ 1087503 w 4568909"/>
              <a:gd name="connsiteY11" fmla="*/ 4553048 h 5094880"/>
              <a:gd name="connsiteX12" fmla="*/ 1605674 w 4568909"/>
              <a:gd name="connsiteY12" fmla="*/ 4351218 h 5094880"/>
              <a:gd name="connsiteX13" fmla="*/ 1730941 w 4568909"/>
              <a:gd name="connsiteY13" fmla="*/ 4351218 h 5094880"/>
              <a:gd name="connsiteX14" fmla="*/ 1730941 w 4568909"/>
              <a:gd name="connsiteY14" fmla="*/ 4476578 h 5094880"/>
              <a:gd name="connsiteX15" fmla="*/ 1015245 w 4568909"/>
              <a:gd name="connsiteY15" fmla="*/ 4714428 h 5094880"/>
              <a:gd name="connsiteX16" fmla="*/ 722214 w 4568909"/>
              <a:gd name="connsiteY16" fmla="*/ 4478667 h 5094880"/>
              <a:gd name="connsiteX17" fmla="*/ 675498 w 4568909"/>
              <a:gd name="connsiteY17" fmla="*/ 4070912 h 5094880"/>
              <a:gd name="connsiteX18" fmla="*/ 641516 w 4568909"/>
              <a:gd name="connsiteY18" fmla="*/ 4066650 h 5094880"/>
              <a:gd name="connsiteX19" fmla="*/ 278373 w 4568909"/>
              <a:gd name="connsiteY19" fmla="*/ 3873428 h 5094880"/>
              <a:gd name="connsiteX20" fmla="*/ 170060 w 4568909"/>
              <a:gd name="connsiteY20" fmla="*/ 3461410 h 5094880"/>
              <a:gd name="connsiteX21" fmla="*/ 301695 w 4568909"/>
              <a:gd name="connsiteY21" fmla="*/ 3085496 h 5094880"/>
              <a:gd name="connsiteX22" fmla="*/ 364288 w 4568909"/>
              <a:gd name="connsiteY22" fmla="*/ 3058190 h 5094880"/>
              <a:gd name="connsiteX23" fmla="*/ 4277900 w 4568909"/>
              <a:gd name="connsiteY23" fmla="*/ 2230817 h 5094880"/>
              <a:gd name="connsiteX24" fmla="*/ 4352575 w 4568909"/>
              <a:gd name="connsiteY24" fmla="*/ 2293851 h 5094880"/>
              <a:gd name="connsiteX25" fmla="*/ 4507588 w 4568909"/>
              <a:gd name="connsiteY25" fmla="*/ 2665536 h 5094880"/>
              <a:gd name="connsiteX26" fmla="*/ 4556440 w 4568909"/>
              <a:gd name="connsiteY26" fmla="*/ 3071121 h 5094880"/>
              <a:gd name="connsiteX27" fmla="*/ 4401427 w 4568909"/>
              <a:gd name="connsiteY27" fmla="*/ 3432203 h 5094880"/>
              <a:gd name="connsiteX28" fmla="*/ 4101952 w 4568909"/>
              <a:gd name="connsiteY28" fmla="*/ 3631822 h 5094880"/>
              <a:gd name="connsiteX29" fmla="*/ 3912901 w 4568909"/>
              <a:gd name="connsiteY29" fmla="*/ 3595674 h 5094880"/>
              <a:gd name="connsiteX30" fmla="*/ 3815268 w 4568909"/>
              <a:gd name="connsiteY30" fmla="*/ 3750710 h 5094880"/>
              <a:gd name="connsiteX31" fmla="*/ 3080384 w 4568909"/>
              <a:gd name="connsiteY31" fmla="*/ 3778343 h 5094880"/>
              <a:gd name="connsiteX32" fmla="*/ 3048586 w 4568909"/>
              <a:gd name="connsiteY32" fmla="*/ 3657287 h 5094880"/>
              <a:gd name="connsiteX33" fmla="*/ 3169634 w 4568909"/>
              <a:gd name="connsiteY33" fmla="*/ 3625476 h 5094880"/>
              <a:gd name="connsiteX34" fmla="*/ 3689957 w 4568909"/>
              <a:gd name="connsiteY34" fmla="*/ 3625476 h 5094880"/>
              <a:gd name="connsiteX35" fmla="*/ 3668711 w 4568909"/>
              <a:gd name="connsiteY35" fmla="*/ 3058429 h 5094880"/>
              <a:gd name="connsiteX36" fmla="*/ 3821628 w 4568909"/>
              <a:gd name="connsiteY36" fmla="*/ 2969182 h 5094880"/>
              <a:gd name="connsiteX37" fmla="*/ 3946939 w 4568909"/>
              <a:gd name="connsiteY37" fmla="*/ 3393966 h 5094880"/>
              <a:gd name="connsiteX38" fmla="*/ 3959658 w 4568909"/>
              <a:gd name="connsiteY38" fmla="*/ 3410915 h 5094880"/>
              <a:gd name="connsiteX39" fmla="*/ 4182675 w 4568909"/>
              <a:gd name="connsiteY39" fmla="*/ 3413084 h 5094880"/>
              <a:gd name="connsiteX40" fmla="*/ 4373821 w 4568909"/>
              <a:gd name="connsiteY40" fmla="*/ 3083893 h 5094880"/>
              <a:gd name="connsiteX41" fmla="*/ 4333424 w 4568909"/>
              <a:gd name="connsiteY41" fmla="*/ 2707950 h 5094880"/>
              <a:gd name="connsiteX42" fmla="*/ 4182675 w 4568909"/>
              <a:gd name="connsiteY42" fmla="*/ 2340602 h 5094880"/>
              <a:gd name="connsiteX43" fmla="*/ 4244246 w 4568909"/>
              <a:gd name="connsiteY43" fmla="*/ 2232238 h 5094880"/>
              <a:gd name="connsiteX44" fmla="*/ 4277900 w 4568909"/>
              <a:gd name="connsiteY44" fmla="*/ 2230817 h 5094880"/>
              <a:gd name="connsiteX45" fmla="*/ 3617504 w 4568909"/>
              <a:gd name="connsiteY45" fmla="*/ 1274149 h 5094880"/>
              <a:gd name="connsiteX46" fmla="*/ 3702456 w 4568909"/>
              <a:gd name="connsiteY46" fmla="*/ 1358569 h 5094880"/>
              <a:gd name="connsiteX47" fmla="*/ 3560179 w 4568909"/>
              <a:gd name="connsiteY47" fmla="*/ 1666519 h 5094880"/>
              <a:gd name="connsiteX48" fmla="*/ 3033468 w 4568909"/>
              <a:gd name="connsiteY48" fmla="*/ 1936240 h 5094880"/>
              <a:gd name="connsiteX49" fmla="*/ 2691541 w 4568909"/>
              <a:gd name="connsiteY49" fmla="*/ 1942611 h 5094880"/>
              <a:gd name="connsiteX50" fmla="*/ 2553504 w 4568909"/>
              <a:gd name="connsiteY50" fmla="*/ 1615548 h 5094880"/>
              <a:gd name="connsiteX51" fmla="*/ 2723366 w 4568909"/>
              <a:gd name="connsiteY51" fmla="*/ 1568824 h 5094880"/>
              <a:gd name="connsiteX52" fmla="*/ 2761633 w 4568909"/>
              <a:gd name="connsiteY52" fmla="*/ 1751470 h 5094880"/>
              <a:gd name="connsiteX53" fmla="*/ 2850832 w 4568909"/>
              <a:gd name="connsiteY53" fmla="*/ 1804565 h 5094880"/>
              <a:gd name="connsiteX54" fmla="*/ 3003735 w 4568909"/>
              <a:gd name="connsiteY54" fmla="*/ 1757841 h 5094880"/>
              <a:gd name="connsiteX55" fmla="*/ 3137533 w 4568909"/>
              <a:gd name="connsiteY55" fmla="*/ 1708994 h 5094880"/>
              <a:gd name="connsiteX56" fmla="*/ 3396649 w 4568909"/>
              <a:gd name="connsiteY56" fmla="*/ 1575196 h 5094880"/>
              <a:gd name="connsiteX57" fmla="*/ 3526152 w 4568909"/>
              <a:gd name="connsiteY57" fmla="*/ 1358569 h 5094880"/>
              <a:gd name="connsiteX58" fmla="*/ 3617504 w 4568909"/>
              <a:gd name="connsiteY58" fmla="*/ 1274149 h 5094880"/>
              <a:gd name="connsiteX59" fmla="*/ 418294 w 4568909"/>
              <a:gd name="connsiteY59" fmla="*/ 998109 h 5094880"/>
              <a:gd name="connsiteX60" fmla="*/ 480954 w 4568909"/>
              <a:gd name="connsiteY60" fmla="*/ 1023586 h 5094880"/>
              <a:gd name="connsiteX61" fmla="*/ 480954 w 4568909"/>
              <a:gd name="connsiteY61" fmla="*/ 1148887 h 5094880"/>
              <a:gd name="connsiteX62" fmla="*/ 466061 w 4568909"/>
              <a:gd name="connsiteY62" fmla="*/ 1168007 h 5094880"/>
              <a:gd name="connsiteX63" fmla="*/ 449072 w 4568909"/>
              <a:gd name="connsiteY63" fmla="*/ 1191396 h 5094880"/>
              <a:gd name="connsiteX64" fmla="*/ 410866 w 4568909"/>
              <a:gd name="connsiteY64" fmla="*/ 1246621 h 5094880"/>
              <a:gd name="connsiteX65" fmla="*/ 334417 w 4568909"/>
              <a:gd name="connsiteY65" fmla="*/ 1373963 h 5094880"/>
              <a:gd name="connsiteX66" fmla="*/ 213364 w 4568909"/>
              <a:gd name="connsiteY66" fmla="*/ 1656493 h 5094880"/>
              <a:gd name="connsiteX67" fmla="*/ 179386 w 4568909"/>
              <a:gd name="connsiteY67" fmla="*/ 1945241 h 5094880"/>
              <a:gd name="connsiteX68" fmla="*/ 236714 w 4568909"/>
              <a:gd name="connsiteY68" fmla="*/ 2085484 h 5094880"/>
              <a:gd name="connsiteX69" fmla="*/ 425722 w 4568909"/>
              <a:gd name="connsiteY69" fmla="*/ 1949510 h 5094880"/>
              <a:gd name="connsiteX70" fmla="*/ 514931 w 4568909"/>
              <a:gd name="connsiteY70" fmla="*/ 2102469 h 5094880"/>
              <a:gd name="connsiteX71" fmla="*/ 294041 w 4568909"/>
              <a:gd name="connsiteY71" fmla="*/ 2285037 h 5094880"/>
              <a:gd name="connsiteX72" fmla="*/ 183615 w 4568909"/>
              <a:gd name="connsiteY72" fmla="*/ 2569701 h 5094880"/>
              <a:gd name="connsiteX73" fmla="*/ 342911 w 4568909"/>
              <a:gd name="connsiteY73" fmla="*/ 2750226 h 5094880"/>
              <a:gd name="connsiteX74" fmla="*/ 659335 w 4568909"/>
              <a:gd name="connsiteY74" fmla="*/ 2811763 h 5094880"/>
              <a:gd name="connsiteX75" fmla="*/ 657202 w 4568909"/>
              <a:gd name="connsiteY75" fmla="*/ 2985884 h 5094880"/>
              <a:gd name="connsiteX76" fmla="*/ 7366 w 4568909"/>
              <a:gd name="connsiteY76" fmla="*/ 2597267 h 5094880"/>
              <a:gd name="connsiteX77" fmla="*/ 119926 w 4568909"/>
              <a:gd name="connsiteY77" fmla="*/ 2221366 h 5094880"/>
              <a:gd name="connsiteX78" fmla="*/ 34945 w 4568909"/>
              <a:gd name="connsiteY78" fmla="*/ 1628834 h 5094880"/>
              <a:gd name="connsiteX79" fmla="*/ 355635 w 4568909"/>
              <a:gd name="connsiteY79" fmla="*/ 1023586 h 5094880"/>
              <a:gd name="connsiteX80" fmla="*/ 418294 w 4568909"/>
              <a:gd name="connsiteY80" fmla="*/ 998109 h 5094880"/>
              <a:gd name="connsiteX81" fmla="*/ 3915473 w 4568909"/>
              <a:gd name="connsiteY81" fmla="*/ 807576 h 5094880"/>
              <a:gd name="connsiteX82" fmla="*/ 3953016 w 4568909"/>
              <a:gd name="connsiteY82" fmla="*/ 811426 h 5094880"/>
              <a:gd name="connsiteX83" fmla="*/ 4314039 w 4568909"/>
              <a:gd name="connsiteY83" fmla="*/ 1072660 h 5094880"/>
              <a:gd name="connsiteX84" fmla="*/ 4350138 w 4568909"/>
              <a:gd name="connsiteY84" fmla="*/ 1779874 h 5094880"/>
              <a:gd name="connsiteX85" fmla="*/ 4135661 w 4568909"/>
              <a:gd name="connsiteY85" fmla="*/ 2066581 h 5094880"/>
              <a:gd name="connsiteX86" fmla="*/ 3698174 w 4568909"/>
              <a:gd name="connsiteY86" fmla="*/ 2138777 h 5094880"/>
              <a:gd name="connsiteX87" fmla="*/ 3821347 w 4568909"/>
              <a:gd name="connsiteY87" fmla="*/ 2011344 h 5094880"/>
              <a:gd name="connsiteX88" fmla="*/ 3959398 w 4568909"/>
              <a:gd name="connsiteY88" fmla="*/ 1973135 h 5094880"/>
              <a:gd name="connsiteX89" fmla="*/ 4080418 w 4568909"/>
              <a:gd name="connsiteY89" fmla="*/ 1873320 h 5094880"/>
              <a:gd name="connsiteX90" fmla="*/ 4214240 w 4568909"/>
              <a:gd name="connsiteY90" fmla="*/ 1637559 h 5094880"/>
              <a:gd name="connsiteX91" fmla="*/ 4233346 w 4568909"/>
              <a:gd name="connsiteY91" fmla="*/ 1563217 h 5094880"/>
              <a:gd name="connsiteX92" fmla="*/ 4239728 w 4568909"/>
              <a:gd name="connsiteY92" fmla="*/ 1531376 h 5094880"/>
              <a:gd name="connsiteX93" fmla="*/ 4241842 w 4568909"/>
              <a:gd name="connsiteY93" fmla="*/ 1508049 h 5094880"/>
              <a:gd name="connsiteX94" fmla="*/ 4243957 w 4568909"/>
              <a:gd name="connsiteY94" fmla="*/ 1427340 h 5094880"/>
              <a:gd name="connsiteX95" fmla="*/ 4241842 w 4568909"/>
              <a:gd name="connsiteY95" fmla="*/ 1391207 h 5094880"/>
              <a:gd name="connsiteX96" fmla="*/ 4239728 w 4568909"/>
              <a:gd name="connsiteY96" fmla="*/ 1367880 h 5094880"/>
              <a:gd name="connsiteX97" fmla="*/ 4205744 w 4568909"/>
              <a:gd name="connsiteY97" fmla="*/ 1240447 h 5094880"/>
              <a:gd name="connsiteX98" fmla="*/ 4192981 w 4568909"/>
              <a:gd name="connsiteY98" fmla="*/ 1212829 h 5094880"/>
              <a:gd name="connsiteX99" fmla="*/ 4175989 w 4568909"/>
              <a:gd name="connsiteY99" fmla="*/ 1183065 h 5094880"/>
              <a:gd name="connsiteX100" fmla="*/ 4156882 w 4568909"/>
              <a:gd name="connsiteY100" fmla="*/ 1153370 h 5094880"/>
              <a:gd name="connsiteX101" fmla="*/ 4144157 w 4568909"/>
              <a:gd name="connsiteY101" fmla="*/ 1136341 h 5094880"/>
              <a:gd name="connsiteX102" fmla="*/ 3906307 w 4568909"/>
              <a:gd name="connsiteY102" fmla="*/ 981290 h 5094880"/>
              <a:gd name="connsiteX103" fmla="*/ 3915473 w 4568909"/>
              <a:gd name="connsiteY103" fmla="*/ 807576 h 5094880"/>
              <a:gd name="connsiteX104" fmla="*/ 1197932 w 4568909"/>
              <a:gd name="connsiteY104" fmla="*/ 403636 h 5094880"/>
              <a:gd name="connsiteX105" fmla="*/ 1264953 w 4568909"/>
              <a:gd name="connsiteY105" fmla="*/ 411804 h 5094880"/>
              <a:gd name="connsiteX106" fmla="*/ 1220356 w 4568909"/>
              <a:gd name="connsiteY106" fmla="*/ 571060 h 5094880"/>
              <a:gd name="connsiteX107" fmla="*/ 874224 w 4568909"/>
              <a:gd name="connsiteY107" fmla="*/ 762216 h 5094880"/>
              <a:gd name="connsiteX108" fmla="*/ 1039848 w 4568909"/>
              <a:gd name="connsiteY108" fmla="*/ 1386603 h 5094880"/>
              <a:gd name="connsiteX109" fmla="*/ 1668449 w 4568909"/>
              <a:gd name="connsiteY109" fmla="*/ 1409935 h 5094880"/>
              <a:gd name="connsiteX110" fmla="*/ 1785239 w 4568909"/>
              <a:gd name="connsiteY110" fmla="*/ 1409935 h 5094880"/>
              <a:gd name="connsiteX111" fmla="*/ 1785239 w 4568909"/>
              <a:gd name="connsiteY111" fmla="*/ 1526780 h 5094880"/>
              <a:gd name="connsiteX112" fmla="*/ 1290430 w 4568909"/>
              <a:gd name="connsiteY112" fmla="*/ 1660577 h 5094880"/>
              <a:gd name="connsiteX113" fmla="*/ 644825 w 4568909"/>
              <a:gd name="connsiteY113" fmla="*/ 1080789 h 5094880"/>
              <a:gd name="connsiteX114" fmla="*/ 797739 w 4568909"/>
              <a:gd name="connsiteY114" fmla="*/ 598707 h 5094880"/>
              <a:gd name="connsiteX115" fmla="*/ 1197932 w 4568909"/>
              <a:gd name="connsiteY115" fmla="*/ 403636 h 5094880"/>
              <a:gd name="connsiteX116" fmla="*/ 3286497 w 4568909"/>
              <a:gd name="connsiteY116" fmla="*/ 276675 h 5094880"/>
              <a:gd name="connsiteX117" fmla="*/ 3319746 w 4568909"/>
              <a:gd name="connsiteY117" fmla="*/ 286636 h 5094880"/>
              <a:gd name="connsiteX118" fmla="*/ 3631939 w 4568909"/>
              <a:gd name="connsiteY118" fmla="*/ 634933 h 5094880"/>
              <a:gd name="connsiteX119" fmla="*/ 3544864 w 4568909"/>
              <a:gd name="connsiteY119" fmla="*/ 1102156 h 5094880"/>
              <a:gd name="connsiteX120" fmla="*/ 3391962 w 4568909"/>
              <a:gd name="connsiteY120" fmla="*/ 1012951 h 5094880"/>
              <a:gd name="connsiteX121" fmla="*/ 3468413 w 4568909"/>
              <a:gd name="connsiteY121" fmla="*/ 826062 h 5094880"/>
              <a:gd name="connsiteX122" fmla="*/ 3470542 w 4568909"/>
              <a:gd name="connsiteY122" fmla="*/ 811180 h 5094880"/>
              <a:gd name="connsiteX123" fmla="*/ 3472672 w 4568909"/>
              <a:gd name="connsiteY123" fmla="*/ 796341 h 5094880"/>
              <a:gd name="connsiteX124" fmla="*/ 3472672 w 4568909"/>
              <a:gd name="connsiteY124" fmla="*/ 749619 h 5094880"/>
              <a:gd name="connsiteX125" fmla="*/ 3470542 w 4568909"/>
              <a:gd name="connsiteY125" fmla="*/ 728378 h 5094880"/>
              <a:gd name="connsiteX126" fmla="*/ 3470542 w 4568909"/>
              <a:gd name="connsiteY126" fmla="*/ 724138 h 5094880"/>
              <a:gd name="connsiteX127" fmla="*/ 3470542 w 4568909"/>
              <a:gd name="connsiteY127" fmla="*/ 722018 h 5094880"/>
              <a:gd name="connsiteX128" fmla="*/ 3462048 w 4568909"/>
              <a:gd name="connsiteY128" fmla="*/ 681656 h 5094880"/>
              <a:gd name="connsiteX129" fmla="*/ 3455683 w 4568909"/>
              <a:gd name="connsiteY129" fmla="*/ 662534 h 5094880"/>
              <a:gd name="connsiteX130" fmla="*/ 3449294 w 4568909"/>
              <a:gd name="connsiteY130" fmla="*/ 647652 h 5094880"/>
              <a:gd name="connsiteX131" fmla="*/ 3432305 w 4568909"/>
              <a:gd name="connsiteY131" fmla="*/ 613692 h 5094880"/>
              <a:gd name="connsiteX132" fmla="*/ 3411080 w 4568909"/>
              <a:gd name="connsiteY132" fmla="*/ 579732 h 5094880"/>
              <a:gd name="connsiteX133" fmla="*/ 3400456 w 4568909"/>
              <a:gd name="connsiteY133" fmla="*/ 566969 h 5094880"/>
              <a:gd name="connsiteX134" fmla="*/ 3387703 w 4568909"/>
              <a:gd name="connsiteY134" fmla="*/ 554251 h 5094880"/>
              <a:gd name="connsiteX135" fmla="*/ 3228435 w 4568909"/>
              <a:gd name="connsiteY135" fmla="*/ 437445 h 5094880"/>
              <a:gd name="connsiteX136" fmla="*/ 3198692 w 4568909"/>
              <a:gd name="connsiteY136" fmla="*/ 318476 h 5094880"/>
              <a:gd name="connsiteX137" fmla="*/ 3286497 w 4568909"/>
              <a:gd name="connsiteY137" fmla="*/ 276675 h 5094880"/>
              <a:gd name="connsiteX138" fmla="*/ 2753580 w 4568909"/>
              <a:gd name="connsiteY138" fmla="*/ 2208 h 5094880"/>
              <a:gd name="connsiteX139" fmla="*/ 3032365 w 4568909"/>
              <a:gd name="connsiteY139" fmla="*/ 59829 h 5094880"/>
              <a:gd name="connsiteX140" fmla="*/ 2985561 w 4568909"/>
              <a:gd name="connsiteY140" fmla="*/ 229797 h 5094880"/>
              <a:gd name="connsiteX141" fmla="*/ 2484419 w 4568909"/>
              <a:gd name="connsiteY141" fmla="*/ 212609 h 5094880"/>
              <a:gd name="connsiteX142" fmla="*/ 2250835 w 4568909"/>
              <a:gd name="connsiteY142" fmla="*/ 592888 h 5094880"/>
              <a:gd name="connsiteX143" fmla="*/ 2250835 w 4568909"/>
              <a:gd name="connsiteY143" fmla="*/ 595037 h 5094880"/>
              <a:gd name="connsiteX144" fmla="*/ 2329425 w 4568909"/>
              <a:gd name="connsiteY144" fmla="*/ 798903 h 5094880"/>
              <a:gd name="connsiteX145" fmla="*/ 2947359 w 4568909"/>
              <a:gd name="connsiteY145" fmla="*/ 949534 h 5094880"/>
              <a:gd name="connsiteX146" fmla="*/ 2994163 w 4568909"/>
              <a:gd name="connsiteY146" fmla="*/ 1119502 h 5094880"/>
              <a:gd name="connsiteX147" fmla="*/ 2495063 w 4568909"/>
              <a:gd name="connsiteY147" fmla="*/ 1113057 h 5094880"/>
              <a:gd name="connsiteX148" fmla="*/ 2274164 w 4568909"/>
              <a:gd name="connsiteY148" fmla="*/ 989878 h 5094880"/>
              <a:gd name="connsiteX149" fmla="*/ 2308137 w 4568909"/>
              <a:gd name="connsiteY149" fmla="*/ 1716299 h 5094880"/>
              <a:gd name="connsiteX150" fmla="*/ 2325197 w 4568909"/>
              <a:gd name="connsiteY150" fmla="*/ 2113289 h 5094880"/>
              <a:gd name="connsiteX151" fmla="*/ 2325197 w 4568909"/>
              <a:gd name="connsiteY151" fmla="*/ 2145277 h 5094880"/>
              <a:gd name="connsiteX152" fmla="*/ 2325197 w 4568909"/>
              <a:gd name="connsiteY152" fmla="*/ 2149574 h 5094880"/>
              <a:gd name="connsiteX153" fmla="*/ 2344297 w 4568909"/>
              <a:gd name="connsiteY153" fmla="*/ 2671891 h 5094880"/>
              <a:gd name="connsiteX154" fmla="*/ 2427116 w 4568909"/>
              <a:gd name="connsiteY154" fmla="*/ 2909894 h 5094880"/>
              <a:gd name="connsiteX155" fmla="*/ 2633143 w 4568909"/>
              <a:gd name="connsiteY155" fmla="*/ 2992729 h 5094880"/>
              <a:gd name="connsiteX156" fmla="*/ 2803009 w 4568909"/>
              <a:gd name="connsiteY156" fmla="*/ 2863105 h 5094880"/>
              <a:gd name="connsiteX157" fmla="*/ 2945318 w 4568909"/>
              <a:gd name="connsiteY157" fmla="*/ 2584758 h 5094880"/>
              <a:gd name="connsiteX158" fmla="*/ 3406071 w 4568909"/>
              <a:gd name="connsiteY158" fmla="*/ 2274901 h 5094880"/>
              <a:gd name="connsiteX159" fmla="*/ 3811709 w 4568909"/>
              <a:gd name="connsiteY159" fmla="*/ 2621044 h 5094880"/>
              <a:gd name="connsiteX160" fmla="*/ 3750178 w 4568909"/>
              <a:gd name="connsiteY160" fmla="*/ 2729183 h 5094880"/>
              <a:gd name="connsiteX161" fmla="*/ 3641842 w 4568909"/>
              <a:gd name="connsiteY161" fmla="*/ 2667594 h 5094880"/>
              <a:gd name="connsiteX162" fmla="*/ 3491077 w 4568909"/>
              <a:gd name="connsiteY162" fmla="*/ 2470173 h 5094880"/>
              <a:gd name="connsiteX163" fmla="*/ 3227748 w 4568909"/>
              <a:gd name="connsiteY163" fmla="*/ 2504071 h 5094880"/>
              <a:gd name="connsiteX164" fmla="*/ 3074795 w 4568909"/>
              <a:gd name="connsiteY164" fmla="*/ 2716531 h 5094880"/>
              <a:gd name="connsiteX165" fmla="*/ 2926217 w 4568909"/>
              <a:gd name="connsiteY165" fmla="*/ 3005381 h 5094880"/>
              <a:gd name="connsiteX166" fmla="*/ 2410057 w 4568909"/>
              <a:gd name="connsiteY166" fmla="*/ 3115670 h 5094880"/>
              <a:gd name="connsiteX167" fmla="*/ 2323010 w 4568909"/>
              <a:gd name="connsiteY167" fmla="*/ 3054080 h 5094880"/>
              <a:gd name="connsiteX168" fmla="*/ 2323010 w 4568909"/>
              <a:gd name="connsiteY168" fmla="*/ 3315477 h 5094880"/>
              <a:gd name="connsiteX169" fmla="*/ 2325197 w 4568909"/>
              <a:gd name="connsiteY169" fmla="*/ 3922778 h 5094880"/>
              <a:gd name="connsiteX170" fmla="*/ 2327238 w 4568909"/>
              <a:gd name="connsiteY170" fmla="*/ 3941876 h 5094880"/>
              <a:gd name="connsiteX171" fmla="*/ 2325197 w 4568909"/>
              <a:gd name="connsiteY171" fmla="*/ 3956676 h 5094880"/>
              <a:gd name="connsiteX172" fmla="*/ 2325197 w 4568909"/>
              <a:gd name="connsiteY172" fmla="*/ 3963122 h 5094880"/>
              <a:gd name="connsiteX173" fmla="*/ 2747748 w 4568909"/>
              <a:gd name="connsiteY173" fmla="*/ 4022563 h 5094880"/>
              <a:gd name="connsiteX174" fmla="*/ 3064151 w 4568909"/>
              <a:gd name="connsiteY174" fmla="*/ 4268921 h 5094880"/>
              <a:gd name="connsiteX175" fmla="*/ 3157614 w 4568909"/>
              <a:gd name="connsiteY175" fmla="*/ 4455838 h 5094880"/>
              <a:gd name="connsiteX176" fmla="*/ 3204418 w 4568909"/>
              <a:gd name="connsiteY176" fmla="*/ 4527931 h 5094880"/>
              <a:gd name="connsiteX177" fmla="*/ 3251077 w 4568909"/>
              <a:gd name="connsiteY177" fmla="*/ 4559919 h 5094880"/>
              <a:gd name="connsiteX178" fmla="*/ 3527091 w 4568909"/>
              <a:gd name="connsiteY178" fmla="*/ 4409049 h 5094880"/>
              <a:gd name="connsiteX179" fmla="*/ 3586581 w 4568909"/>
              <a:gd name="connsiteY179" fmla="*/ 4245526 h 5094880"/>
              <a:gd name="connsiteX180" fmla="*/ 3580311 w 4568909"/>
              <a:gd name="connsiteY180" fmla="*/ 4154336 h 5094880"/>
              <a:gd name="connsiteX181" fmla="*/ 3539923 w 4568909"/>
              <a:gd name="connsiteY181" fmla="*/ 4145742 h 5094880"/>
              <a:gd name="connsiteX182" fmla="*/ 3431587 w 4568909"/>
              <a:gd name="connsiteY182" fmla="*/ 4084152 h 5094880"/>
              <a:gd name="connsiteX183" fmla="*/ 3493118 w 4568909"/>
              <a:gd name="connsiteY183" fmla="*/ 3975774 h 5094880"/>
              <a:gd name="connsiteX184" fmla="*/ 3760822 w 4568909"/>
              <a:gd name="connsiteY184" fmla="*/ 4128793 h 5094880"/>
              <a:gd name="connsiteX185" fmla="*/ 3728890 w 4568909"/>
              <a:gd name="connsiteY185" fmla="*/ 4402842 h 5094880"/>
              <a:gd name="connsiteX186" fmla="*/ 3380700 w 4568909"/>
              <a:gd name="connsiteY186" fmla="*/ 4733945 h 5094880"/>
              <a:gd name="connsiteX187" fmla="*/ 3134285 w 4568909"/>
              <a:gd name="connsiteY187" fmla="*/ 4695750 h 5094880"/>
              <a:gd name="connsiteX188" fmla="*/ 2994163 w 4568909"/>
              <a:gd name="connsiteY188" fmla="*/ 4513130 h 5094880"/>
              <a:gd name="connsiteX189" fmla="*/ 2879413 w 4568909"/>
              <a:gd name="connsiteY189" fmla="*/ 4311413 h 5094880"/>
              <a:gd name="connsiteX190" fmla="*/ 2718003 w 4568909"/>
              <a:gd name="connsiteY190" fmla="*/ 4196828 h 5094880"/>
              <a:gd name="connsiteX191" fmla="*/ 2329425 w 4568909"/>
              <a:gd name="connsiteY191" fmla="*/ 4137387 h 5094880"/>
              <a:gd name="connsiteX192" fmla="*/ 2329425 w 4568909"/>
              <a:gd name="connsiteY192" fmla="*/ 4143593 h 5094880"/>
              <a:gd name="connsiteX193" fmla="*/ 2335695 w 4568909"/>
              <a:gd name="connsiteY193" fmla="*/ 4254120 h 5094880"/>
              <a:gd name="connsiteX194" fmla="*/ 2346339 w 4568909"/>
              <a:gd name="connsiteY194" fmla="*/ 4547267 h 5094880"/>
              <a:gd name="connsiteX195" fmla="*/ 2348526 w 4568909"/>
              <a:gd name="connsiteY195" fmla="*/ 4555622 h 5094880"/>
              <a:gd name="connsiteX196" fmla="*/ 2596983 w 4568909"/>
              <a:gd name="connsiteY196" fmla="*/ 4901765 h 5094880"/>
              <a:gd name="connsiteX197" fmla="*/ 2945318 w 4568909"/>
              <a:gd name="connsiteY197" fmla="*/ 4795535 h 5094880"/>
              <a:gd name="connsiteX198" fmla="*/ 3070567 w 4568909"/>
              <a:gd name="connsiteY198" fmla="*/ 4795535 h 5094880"/>
              <a:gd name="connsiteX199" fmla="*/ 3070567 w 4568909"/>
              <a:gd name="connsiteY199" fmla="*/ 4920862 h 5094880"/>
              <a:gd name="connsiteX200" fmla="*/ 2545950 w 4568909"/>
              <a:gd name="connsiteY200" fmla="*/ 5071733 h 5094880"/>
              <a:gd name="connsiteX201" fmla="*/ 2269935 w 4568909"/>
              <a:gd name="connsiteY201" fmla="*/ 4842324 h 5094880"/>
              <a:gd name="connsiteX202" fmla="*/ 2259291 w 4568909"/>
              <a:gd name="connsiteY202" fmla="*/ 4861421 h 5094880"/>
              <a:gd name="connsiteX203" fmla="*/ 1928016 w 4568909"/>
              <a:gd name="connsiteY203" fmla="*/ 5086533 h 5094880"/>
              <a:gd name="connsiteX204" fmla="*/ 1513921 w 4568909"/>
              <a:gd name="connsiteY204" fmla="*/ 4978155 h 5094880"/>
              <a:gd name="connsiteX205" fmla="*/ 1513921 w 4568909"/>
              <a:gd name="connsiteY205" fmla="*/ 4853066 h 5094880"/>
              <a:gd name="connsiteX206" fmla="*/ 1639170 w 4568909"/>
              <a:gd name="connsiteY206" fmla="*/ 4853066 h 5094880"/>
              <a:gd name="connsiteX207" fmla="*/ 1976861 w 4568909"/>
              <a:gd name="connsiteY207" fmla="*/ 4886964 h 5094880"/>
              <a:gd name="connsiteX208" fmla="*/ 2165829 w 4568909"/>
              <a:gd name="connsiteY208" fmla="*/ 4649200 h 5094880"/>
              <a:gd name="connsiteX209" fmla="*/ 2170057 w 4568909"/>
              <a:gd name="connsiteY209" fmla="*/ 4629864 h 5094880"/>
              <a:gd name="connsiteX210" fmla="*/ 2170057 w 4568909"/>
              <a:gd name="connsiteY210" fmla="*/ 4627954 h 5094880"/>
              <a:gd name="connsiteX211" fmla="*/ 2170057 w 4568909"/>
              <a:gd name="connsiteY211" fmla="*/ 4625806 h 5094880"/>
              <a:gd name="connsiteX212" fmla="*/ 2174431 w 4568909"/>
              <a:gd name="connsiteY212" fmla="*/ 4572571 h 5094880"/>
              <a:gd name="connsiteX213" fmla="*/ 2174431 w 4568909"/>
              <a:gd name="connsiteY213" fmla="*/ 4562068 h 5094880"/>
              <a:gd name="connsiteX214" fmla="*/ 2155185 w 4568909"/>
              <a:gd name="connsiteY214" fmla="*/ 4152187 h 5094880"/>
              <a:gd name="connsiteX215" fmla="*/ 2157372 w 4568909"/>
              <a:gd name="connsiteY215" fmla="*/ 3956676 h 5094880"/>
              <a:gd name="connsiteX216" fmla="*/ 2157372 w 4568909"/>
              <a:gd name="connsiteY216" fmla="*/ 3778353 h 5094880"/>
              <a:gd name="connsiteX217" fmla="*/ 2123398 w 4568909"/>
              <a:gd name="connsiteY217" fmla="*/ 3816548 h 5094880"/>
              <a:gd name="connsiteX218" fmla="*/ 1671102 w 4568909"/>
              <a:gd name="connsiteY218" fmla="*/ 3920630 h 5094880"/>
              <a:gd name="connsiteX219" fmla="*/ 1405586 w 4568909"/>
              <a:gd name="connsiteY219" fmla="*/ 3551093 h 5094880"/>
              <a:gd name="connsiteX220" fmla="*/ 1106096 w 4568909"/>
              <a:gd name="connsiteY220" fmla="*/ 3279192 h 5094880"/>
              <a:gd name="connsiteX221" fmla="*/ 851224 w 4568909"/>
              <a:gd name="connsiteY221" fmla="*/ 3444863 h 5094880"/>
              <a:gd name="connsiteX222" fmla="*/ 743035 w 4568909"/>
              <a:gd name="connsiteY222" fmla="*/ 3506452 h 5094880"/>
              <a:gd name="connsiteX223" fmla="*/ 681358 w 4568909"/>
              <a:gd name="connsiteY223" fmla="*/ 3398313 h 5094880"/>
              <a:gd name="connsiteX224" fmla="*/ 1048794 w 4568909"/>
              <a:gd name="connsiteY224" fmla="*/ 3103017 h 5094880"/>
              <a:gd name="connsiteX225" fmla="*/ 1454432 w 4568909"/>
              <a:gd name="connsiteY225" fmla="*/ 3300438 h 5094880"/>
              <a:gd name="connsiteX226" fmla="*/ 1573411 w 4568909"/>
              <a:gd name="connsiteY226" fmla="*/ 3495949 h 5094880"/>
              <a:gd name="connsiteX227" fmla="*/ 1671102 w 4568909"/>
              <a:gd name="connsiteY227" fmla="*/ 3699815 h 5094880"/>
              <a:gd name="connsiteX228" fmla="*/ 1832512 w 4568909"/>
              <a:gd name="connsiteY228" fmla="*/ 3771908 h 5094880"/>
              <a:gd name="connsiteX229" fmla="*/ 1989547 w 4568909"/>
              <a:gd name="connsiteY229" fmla="*/ 3699815 h 5094880"/>
              <a:gd name="connsiteX230" fmla="*/ 2153143 w 4568909"/>
              <a:gd name="connsiteY230" fmla="*/ 3302586 h 5094880"/>
              <a:gd name="connsiteX231" fmla="*/ 2155185 w 4568909"/>
              <a:gd name="connsiteY231" fmla="*/ 3285637 h 5094880"/>
              <a:gd name="connsiteX232" fmla="*/ 2153143 w 4568909"/>
              <a:gd name="connsiteY232" fmla="*/ 2667594 h 5094880"/>
              <a:gd name="connsiteX233" fmla="*/ 1749693 w 4568909"/>
              <a:gd name="connsiteY233" fmla="*/ 2716531 h 5094880"/>
              <a:gd name="connsiteX234" fmla="*/ 1605197 w 4568909"/>
              <a:gd name="connsiteY234" fmla="*/ 2440333 h 5094880"/>
              <a:gd name="connsiteX235" fmla="*/ 1592512 w 4568909"/>
              <a:gd name="connsiteY235" fmla="*/ 2272753 h 5094880"/>
              <a:gd name="connsiteX236" fmla="*/ 1505464 w 4568909"/>
              <a:gd name="connsiteY236" fmla="*/ 2196124 h 5094880"/>
              <a:gd name="connsiteX237" fmla="*/ 1017008 w 4568909"/>
              <a:gd name="connsiteY237" fmla="*/ 2346994 h 5094880"/>
              <a:gd name="connsiteX238" fmla="*/ 908673 w 4568909"/>
              <a:gd name="connsiteY238" fmla="*/ 2408584 h 5094880"/>
              <a:gd name="connsiteX239" fmla="*/ 846996 w 4568909"/>
              <a:gd name="connsiteY239" fmla="*/ 2300205 h 5094880"/>
              <a:gd name="connsiteX240" fmla="*/ 1065853 w 4568909"/>
              <a:gd name="connsiteY240" fmla="*/ 2022098 h 5094880"/>
              <a:gd name="connsiteX241" fmla="*/ 1471345 w 4568909"/>
              <a:gd name="connsiteY241" fmla="*/ 2000852 h 5094880"/>
              <a:gd name="connsiteX242" fmla="*/ 1745318 w 4568909"/>
              <a:gd name="connsiteY242" fmla="*/ 2185620 h 5094880"/>
              <a:gd name="connsiteX243" fmla="*/ 1781479 w 4568909"/>
              <a:gd name="connsiteY243" fmla="*/ 2370389 h 5094880"/>
              <a:gd name="connsiteX244" fmla="*/ 1792123 w 4568909"/>
              <a:gd name="connsiteY244" fmla="*/ 2519111 h 5094880"/>
              <a:gd name="connsiteX245" fmla="*/ 1966217 w 4568909"/>
              <a:gd name="connsiteY245" fmla="*/ 2582849 h 5094880"/>
              <a:gd name="connsiteX246" fmla="*/ 2127627 w 4568909"/>
              <a:gd name="connsiteY246" fmla="*/ 2398080 h 5094880"/>
              <a:gd name="connsiteX247" fmla="*/ 2155185 w 4568909"/>
              <a:gd name="connsiteY247" fmla="*/ 2170820 h 5094880"/>
              <a:gd name="connsiteX248" fmla="*/ 2155185 w 4568909"/>
              <a:gd name="connsiteY248" fmla="*/ 2153871 h 5094880"/>
              <a:gd name="connsiteX249" fmla="*/ 2155185 w 4568909"/>
              <a:gd name="connsiteY249" fmla="*/ 2151722 h 5094880"/>
              <a:gd name="connsiteX250" fmla="*/ 2148915 w 4568909"/>
              <a:gd name="connsiteY250" fmla="*/ 2015652 h 5094880"/>
              <a:gd name="connsiteX251" fmla="*/ 2129814 w 4568909"/>
              <a:gd name="connsiteY251" fmla="*/ 1605772 h 5094880"/>
              <a:gd name="connsiteX252" fmla="*/ 2102110 w 4568909"/>
              <a:gd name="connsiteY252" fmla="*/ 1000620 h 5094880"/>
              <a:gd name="connsiteX253" fmla="*/ 2002378 w 4568909"/>
              <a:gd name="connsiteY253" fmla="*/ 1081307 h 5094880"/>
              <a:gd name="connsiteX254" fmla="*/ 1471345 w 4568909"/>
              <a:gd name="connsiteY254" fmla="*/ 1134303 h 5094880"/>
              <a:gd name="connsiteX255" fmla="*/ 1384298 w 4568909"/>
              <a:gd name="connsiteY255" fmla="*/ 1047409 h 5094880"/>
              <a:gd name="connsiteX256" fmla="*/ 1471345 w 4568909"/>
              <a:gd name="connsiteY256" fmla="*/ 960276 h 5094880"/>
              <a:gd name="connsiteX257" fmla="*/ 1764419 w 4568909"/>
              <a:gd name="connsiteY257" fmla="*/ 977225 h 5094880"/>
              <a:gd name="connsiteX258" fmla="*/ 1938660 w 4568909"/>
              <a:gd name="connsiteY258" fmla="*/ 915636 h 5094880"/>
              <a:gd name="connsiteX259" fmla="*/ 1985318 w 4568909"/>
              <a:gd name="connsiteY259" fmla="*/ 873144 h 5094880"/>
              <a:gd name="connsiteX260" fmla="*/ 2019292 w 4568909"/>
              <a:gd name="connsiteY260" fmla="*/ 828504 h 5094880"/>
              <a:gd name="connsiteX261" fmla="*/ 2068137 w 4568909"/>
              <a:gd name="connsiteY261" fmla="*/ 707473 h 5094880"/>
              <a:gd name="connsiteX262" fmla="*/ 2078781 w 4568909"/>
              <a:gd name="connsiteY262" fmla="*/ 601243 h 5094880"/>
              <a:gd name="connsiteX263" fmla="*/ 2076740 w 4568909"/>
              <a:gd name="connsiteY263" fmla="*/ 569494 h 5094880"/>
              <a:gd name="connsiteX264" fmla="*/ 2049036 w 4568909"/>
              <a:gd name="connsiteY264" fmla="*/ 444166 h 5094880"/>
              <a:gd name="connsiteX265" fmla="*/ 1989547 w 4568909"/>
              <a:gd name="connsiteY265" fmla="*/ 337936 h 5094880"/>
              <a:gd name="connsiteX266" fmla="*/ 1872755 w 4568909"/>
              <a:gd name="connsiteY266" fmla="*/ 246746 h 5094880"/>
              <a:gd name="connsiteX267" fmla="*/ 1492633 w 4568909"/>
              <a:gd name="connsiteY267" fmla="*/ 251043 h 5094880"/>
              <a:gd name="connsiteX268" fmla="*/ 1384298 w 4568909"/>
              <a:gd name="connsiteY268" fmla="*/ 189453 h 5094880"/>
              <a:gd name="connsiteX269" fmla="*/ 1445975 w 4568909"/>
              <a:gd name="connsiteY269" fmla="*/ 81075 h 5094880"/>
              <a:gd name="connsiteX270" fmla="*/ 1998149 w 4568909"/>
              <a:gd name="connsiteY270" fmla="*/ 112824 h 5094880"/>
              <a:gd name="connsiteX271" fmla="*/ 2155185 w 4568909"/>
              <a:gd name="connsiteY271" fmla="*/ 270140 h 5094880"/>
              <a:gd name="connsiteX272" fmla="*/ 2471734 w 4568909"/>
              <a:gd name="connsiteY272" fmla="*/ 32137 h 5094880"/>
              <a:gd name="connsiteX273" fmla="*/ 2753580 w 4568909"/>
              <a:gd name="connsiteY273" fmla="*/ 2208 h 5094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Lst>
            <a:rect l="l" t="t" r="r" b="b"/>
            <a:pathLst>
              <a:path w="4568909" h="5094880">
                <a:moveTo>
                  <a:pt x="364288" y="3058190"/>
                </a:moveTo>
                <a:cubicBezTo>
                  <a:pt x="428202" y="3061876"/>
                  <a:pt x="484339" y="3147090"/>
                  <a:pt x="427036" y="3210773"/>
                </a:cubicBezTo>
                <a:cubicBezTo>
                  <a:pt x="361145" y="3282981"/>
                  <a:pt x="346338" y="3380678"/>
                  <a:pt x="346338" y="3474113"/>
                </a:cubicBezTo>
                <a:cubicBezTo>
                  <a:pt x="346338" y="3567632"/>
                  <a:pt x="352705" y="3692909"/>
                  <a:pt x="418522" y="3767206"/>
                </a:cubicBezTo>
                <a:cubicBezTo>
                  <a:pt x="486486" y="3843676"/>
                  <a:pt x="603239" y="3881869"/>
                  <a:pt x="700966" y="3898918"/>
                </a:cubicBezTo>
                <a:cubicBezTo>
                  <a:pt x="809279" y="3915883"/>
                  <a:pt x="917592" y="3903180"/>
                  <a:pt x="1017392" y="3864903"/>
                </a:cubicBezTo>
                <a:cubicBezTo>
                  <a:pt x="1061961" y="3847938"/>
                  <a:pt x="1112971" y="3884042"/>
                  <a:pt x="1125705" y="3926497"/>
                </a:cubicBezTo>
                <a:cubicBezTo>
                  <a:pt x="1138439" y="3975387"/>
                  <a:pt x="1108751" y="4017843"/>
                  <a:pt x="1064108" y="4034808"/>
                </a:cubicBezTo>
                <a:cubicBezTo>
                  <a:pt x="994071" y="4060298"/>
                  <a:pt x="921812" y="4075174"/>
                  <a:pt x="849628" y="4079436"/>
                </a:cubicBezTo>
                <a:cubicBezTo>
                  <a:pt x="849628" y="4083699"/>
                  <a:pt x="847481" y="4090050"/>
                  <a:pt x="847481" y="4094313"/>
                </a:cubicBezTo>
                <a:cubicBezTo>
                  <a:pt x="830527" y="4198362"/>
                  <a:pt x="826233" y="4313025"/>
                  <a:pt x="883610" y="4406460"/>
                </a:cubicBezTo>
                <a:cubicBezTo>
                  <a:pt x="930326" y="4478667"/>
                  <a:pt x="1006805" y="4529647"/>
                  <a:pt x="1087503" y="4553048"/>
                </a:cubicBezTo>
                <a:cubicBezTo>
                  <a:pt x="1284954" y="4610379"/>
                  <a:pt x="1480333" y="4499895"/>
                  <a:pt x="1605674" y="4351218"/>
                </a:cubicBezTo>
                <a:cubicBezTo>
                  <a:pt x="1637509" y="4315114"/>
                  <a:pt x="1699106" y="4319376"/>
                  <a:pt x="1730941" y="4351218"/>
                </a:cubicBezTo>
                <a:cubicBezTo>
                  <a:pt x="1767071" y="4387321"/>
                  <a:pt x="1760704" y="4440474"/>
                  <a:pt x="1730941" y="4476578"/>
                </a:cubicBezTo>
                <a:cubicBezTo>
                  <a:pt x="1561105" y="4680414"/>
                  <a:pt x="1278587" y="4807863"/>
                  <a:pt x="1015245" y="4714428"/>
                </a:cubicBezTo>
                <a:cubicBezTo>
                  <a:pt x="894197" y="4671973"/>
                  <a:pt x="785884" y="4591241"/>
                  <a:pt x="722214" y="4478667"/>
                </a:cubicBezTo>
                <a:cubicBezTo>
                  <a:pt x="654250" y="4353391"/>
                  <a:pt x="654250" y="4208975"/>
                  <a:pt x="675498" y="4070912"/>
                </a:cubicBezTo>
                <a:cubicBezTo>
                  <a:pt x="662764" y="4070912"/>
                  <a:pt x="652103" y="4068823"/>
                  <a:pt x="641516" y="4066650"/>
                </a:cubicBezTo>
                <a:cubicBezTo>
                  <a:pt x="509807" y="4041160"/>
                  <a:pt x="363292" y="3979566"/>
                  <a:pt x="278373" y="3873428"/>
                </a:cubicBezTo>
                <a:cubicBezTo>
                  <a:pt x="189161" y="3762943"/>
                  <a:pt x="167913" y="3599474"/>
                  <a:pt x="170060" y="3461410"/>
                </a:cubicBezTo>
                <a:cubicBezTo>
                  <a:pt x="172133" y="3323347"/>
                  <a:pt x="208262" y="3189545"/>
                  <a:pt x="301695" y="3085496"/>
                </a:cubicBezTo>
                <a:cubicBezTo>
                  <a:pt x="320814" y="3064791"/>
                  <a:pt x="342983" y="3056961"/>
                  <a:pt x="364288" y="3058190"/>
                </a:cubicBezTo>
                <a:close/>
                <a:moveTo>
                  <a:pt x="4277900" y="2230817"/>
                </a:moveTo>
                <a:cubicBezTo>
                  <a:pt x="4312344" y="2235697"/>
                  <a:pt x="4346179" y="2258787"/>
                  <a:pt x="4352575" y="2293851"/>
                </a:cubicBezTo>
                <a:cubicBezTo>
                  <a:pt x="4378013" y="2429768"/>
                  <a:pt x="4454471" y="2542310"/>
                  <a:pt x="4507588" y="2665536"/>
                </a:cubicBezTo>
                <a:cubicBezTo>
                  <a:pt x="4564968" y="2797196"/>
                  <a:pt x="4584046" y="2928857"/>
                  <a:pt x="4556440" y="3071121"/>
                </a:cubicBezTo>
                <a:cubicBezTo>
                  <a:pt x="4533098" y="3198524"/>
                  <a:pt x="4475718" y="3328096"/>
                  <a:pt x="4401427" y="3432203"/>
                </a:cubicBezTo>
                <a:cubicBezTo>
                  <a:pt x="4329160" y="3531972"/>
                  <a:pt x="4231527" y="3616961"/>
                  <a:pt x="4101952" y="3631822"/>
                </a:cubicBezTo>
                <a:cubicBezTo>
                  <a:pt x="4034021" y="3640337"/>
                  <a:pt x="3968186" y="3625476"/>
                  <a:pt x="3912901" y="3595674"/>
                </a:cubicBezTo>
                <a:cubicBezTo>
                  <a:pt x="3891727" y="3650941"/>
                  <a:pt x="3859857" y="3704038"/>
                  <a:pt x="3815268" y="3750710"/>
                </a:cubicBezTo>
                <a:cubicBezTo>
                  <a:pt x="3619858" y="3956756"/>
                  <a:pt x="3297041" y="3933380"/>
                  <a:pt x="3080384" y="3778343"/>
                </a:cubicBezTo>
                <a:cubicBezTo>
                  <a:pt x="3042154" y="3750790"/>
                  <a:pt x="3023076" y="3701870"/>
                  <a:pt x="3048586" y="3657287"/>
                </a:cubicBezTo>
                <a:cubicBezTo>
                  <a:pt x="3071929" y="3619050"/>
                  <a:pt x="3131404" y="3597843"/>
                  <a:pt x="3169634" y="3625476"/>
                </a:cubicBezTo>
                <a:cubicBezTo>
                  <a:pt x="3322551" y="3733760"/>
                  <a:pt x="3545495" y="3776255"/>
                  <a:pt x="3689957" y="3625476"/>
                </a:cubicBezTo>
                <a:cubicBezTo>
                  <a:pt x="3840706" y="3468271"/>
                  <a:pt x="3757888" y="3221900"/>
                  <a:pt x="3668711" y="3058429"/>
                </a:cubicBezTo>
                <a:cubicBezTo>
                  <a:pt x="3615594" y="2958579"/>
                  <a:pt x="3766416" y="2869413"/>
                  <a:pt x="3821628" y="2969182"/>
                </a:cubicBezTo>
                <a:cubicBezTo>
                  <a:pt x="3891727" y="3096666"/>
                  <a:pt x="3944771" y="3247445"/>
                  <a:pt x="3946939" y="3393966"/>
                </a:cubicBezTo>
                <a:cubicBezTo>
                  <a:pt x="3951131" y="3398223"/>
                  <a:pt x="3955394" y="3404569"/>
                  <a:pt x="3959658" y="3410915"/>
                </a:cubicBezTo>
                <a:cubicBezTo>
                  <a:pt x="4008511" y="3487389"/>
                  <a:pt x="4121031" y="3461925"/>
                  <a:pt x="4182675" y="3413084"/>
                </a:cubicBezTo>
                <a:cubicBezTo>
                  <a:pt x="4280380" y="3336610"/>
                  <a:pt x="4341951" y="3200693"/>
                  <a:pt x="4373821" y="3083893"/>
                </a:cubicBezTo>
                <a:cubicBezTo>
                  <a:pt x="4407787" y="2952233"/>
                  <a:pt x="4390804" y="2829007"/>
                  <a:pt x="4333424" y="2707950"/>
                </a:cubicBezTo>
                <a:cubicBezTo>
                  <a:pt x="4278212" y="2589062"/>
                  <a:pt x="4206017" y="2472263"/>
                  <a:pt x="4182675" y="2340602"/>
                </a:cubicBezTo>
                <a:cubicBezTo>
                  <a:pt x="4174147" y="2293851"/>
                  <a:pt x="4195394" y="2245010"/>
                  <a:pt x="4244246" y="2232238"/>
                </a:cubicBezTo>
                <a:cubicBezTo>
                  <a:pt x="4254870" y="2229587"/>
                  <a:pt x="4266419" y="2229190"/>
                  <a:pt x="4277900" y="2230817"/>
                </a:cubicBezTo>
                <a:close/>
                <a:moveTo>
                  <a:pt x="3617504" y="1274149"/>
                </a:moveTo>
                <a:cubicBezTo>
                  <a:pt x="3661573" y="1274149"/>
                  <a:pt x="3704576" y="1302289"/>
                  <a:pt x="3702456" y="1358569"/>
                </a:cubicBezTo>
                <a:cubicBezTo>
                  <a:pt x="3698216" y="1479625"/>
                  <a:pt x="3647230" y="1583691"/>
                  <a:pt x="3560179" y="1666519"/>
                </a:cubicBezTo>
                <a:cubicBezTo>
                  <a:pt x="3415755" y="1804565"/>
                  <a:pt x="3218252" y="1870402"/>
                  <a:pt x="3033468" y="1936240"/>
                </a:cubicBezTo>
                <a:cubicBezTo>
                  <a:pt x="2925164" y="1974468"/>
                  <a:pt x="2795606" y="2010572"/>
                  <a:pt x="2691541" y="1942611"/>
                </a:cubicBezTo>
                <a:cubicBezTo>
                  <a:pt x="2576850" y="1866155"/>
                  <a:pt x="2591716" y="1732356"/>
                  <a:pt x="2553504" y="1615548"/>
                </a:cubicBezTo>
                <a:cubicBezTo>
                  <a:pt x="2517384" y="1507235"/>
                  <a:pt x="2687301" y="1462635"/>
                  <a:pt x="2723366" y="1568824"/>
                </a:cubicBezTo>
                <a:cubicBezTo>
                  <a:pt x="2742527" y="1628290"/>
                  <a:pt x="2742527" y="1692004"/>
                  <a:pt x="2761633" y="1751470"/>
                </a:cubicBezTo>
                <a:cubicBezTo>
                  <a:pt x="2776500" y="1798193"/>
                  <a:pt x="2804085" y="1808812"/>
                  <a:pt x="2850832" y="1804565"/>
                </a:cubicBezTo>
                <a:cubicBezTo>
                  <a:pt x="2901763" y="1800317"/>
                  <a:pt x="2954897" y="1779079"/>
                  <a:pt x="3003735" y="1757841"/>
                </a:cubicBezTo>
                <a:cubicBezTo>
                  <a:pt x="3048335" y="1742975"/>
                  <a:pt x="3092934" y="1725985"/>
                  <a:pt x="3137533" y="1708994"/>
                </a:cubicBezTo>
                <a:cubicBezTo>
                  <a:pt x="3224584" y="1677137"/>
                  <a:pt x="3324409" y="1630414"/>
                  <a:pt x="3396649" y="1575196"/>
                </a:cubicBezTo>
                <a:cubicBezTo>
                  <a:pt x="3473073" y="1515730"/>
                  <a:pt x="3521912" y="1445645"/>
                  <a:pt x="3526152" y="1358569"/>
                </a:cubicBezTo>
                <a:cubicBezTo>
                  <a:pt x="3528299" y="1302289"/>
                  <a:pt x="3573435" y="1274149"/>
                  <a:pt x="3617504" y="1274149"/>
                </a:cubicBezTo>
                <a:close/>
                <a:moveTo>
                  <a:pt x="418294" y="998109"/>
                </a:moveTo>
                <a:cubicBezTo>
                  <a:pt x="441654" y="998642"/>
                  <a:pt x="465013" y="1007668"/>
                  <a:pt x="480954" y="1023586"/>
                </a:cubicBezTo>
                <a:cubicBezTo>
                  <a:pt x="517064" y="1059691"/>
                  <a:pt x="510666" y="1112782"/>
                  <a:pt x="480954" y="1148887"/>
                </a:cubicBezTo>
                <a:cubicBezTo>
                  <a:pt x="478821" y="1151022"/>
                  <a:pt x="466061" y="1168007"/>
                  <a:pt x="466061" y="1168007"/>
                </a:cubicBezTo>
                <a:cubicBezTo>
                  <a:pt x="459700" y="1176453"/>
                  <a:pt x="455471" y="1182857"/>
                  <a:pt x="449072" y="1191396"/>
                </a:cubicBezTo>
                <a:cubicBezTo>
                  <a:pt x="436349" y="1208381"/>
                  <a:pt x="423589" y="1227501"/>
                  <a:pt x="410866" y="1246621"/>
                </a:cubicBezTo>
                <a:cubicBezTo>
                  <a:pt x="383250" y="1289037"/>
                  <a:pt x="357767" y="1331547"/>
                  <a:pt x="334417" y="1373963"/>
                </a:cubicBezTo>
                <a:cubicBezTo>
                  <a:pt x="285547" y="1463159"/>
                  <a:pt x="243075" y="1558758"/>
                  <a:pt x="213364" y="1656493"/>
                </a:cubicBezTo>
                <a:cubicBezTo>
                  <a:pt x="183615" y="1751999"/>
                  <a:pt x="164493" y="1845464"/>
                  <a:pt x="179386" y="1945241"/>
                </a:cubicBezTo>
                <a:cubicBezTo>
                  <a:pt x="185748" y="1996289"/>
                  <a:pt x="204869" y="2042975"/>
                  <a:pt x="236714" y="2085484"/>
                </a:cubicBezTo>
                <a:cubicBezTo>
                  <a:pt x="294041" y="2032394"/>
                  <a:pt x="355635" y="1985615"/>
                  <a:pt x="425722" y="1949510"/>
                </a:cubicBezTo>
                <a:cubicBezTo>
                  <a:pt x="527654" y="1898555"/>
                  <a:pt x="614731" y="2051514"/>
                  <a:pt x="514931" y="2102469"/>
                </a:cubicBezTo>
                <a:cubicBezTo>
                  <a:pt x="429988" y="2147021"/>
                  <a:pt x="353502" y="2208650"/>
                  <a:pt x="294041" y="2285037"/>
                </a:cubicBezTo>
                <a:cubicBezTo>
                  <a:pt x="234581" y="2363651"/>
                  <a:pt x="179386" y="2469832"/>
                  <a:pt x="183615" y="2569701"/>
                </a:cubicBezTo>
                <a:cubicBezTo>
                  <a:pt x="187881" y="2661031"/>
                  <a:pt x="264330" y="2718298"/>
                  <a:pt x="342911" y="2750226"/>
                </a:cubicBezTo>
                <a:cubicBezTo>
                  <a:pt x="440578" y="2790508"/>
                  <a:pt x="553137" y="2807493"/>
                  <a:pt x="659335" y="2811763"/>
                </a:cubicBezTo>
                <a:cubicBezTo>
                  <a:pt x="771894" y="2816032"/>
                  <a:pt x="771894" y="2992288"/>
                  <a:pt x="657202" y="2985884"/>
                </a:cubicBezTo>
                <a:cubicBezTo>
                  <a:pt x="408734" y="2973169"/>
                  <a:pt x="41344" y="2898824"/>
                  <a:pt x="7366" y="2597267"/>
                </a:cubicBezTo>
                <a:cubicBezTo>
                  <a:pt x="-7526" y="2465562"/>
                  <a:pt x="47705" y="2329681"/>
                  <a:pt x="119926" y="2221366"/>
                </a:cubicBezTo>
                <a:cubicBezTo>
                  <a:pt x="-22382" y="2064230"/>
                  <a:pt x="-20250" y="1828479"/>
                  <a:pt x="34945" y="1628834"/>
                </a:cubicBezTo>
                <a:cubicBezTo>
                  <a:pt x="96538" y="1410068"/>
                  <a:pt x="213364" y="1199842"/>
                  <a:pt x="355635" y="1023586"/>
                </a:cubicBezTo>
                <a:cubicBezTo>
                  <a:pt x="371575" y="1005534"/>
                  <a:pt x="394935" y="997575"/>
                  <a:pt x="418294" y="998109"/>
                </a:cubicBezTo>
                <a:close/>
                <a:moveTo>
                  <a:pt x="3915473" y="807576"/>
                </a:moveTo>
                <a:cubicBezTo>
                  <a:pt x="3926904" y="806115"/>
                  <a:pt x="3939479" y="807177"/>
                  <a:pt x="3953016" y="811426"/>
                </a:cubicBezTo>
                <a:cubicBezTo>
                  <a:pt x="4099563" y="858149"/>
                  <a:pt x="4226965" y="943081"/>
                  <a:pt x="4314039" y="1072660"/>
                </a:cubicBezTo>
                <a:cubicBezTo>
                  <a:pt x="4452090" y="1280802"/>
                  <a:pt x="4447823" y="1556849"/>
                  <a:pt x="4350138" y="1779874"/>
                </a:cubicBezTo>
                <a:cubicBezTo>
                  <a:pt x="4303429" y="1890279"/>
                  <a:pt x="4229079" y="1992239"/>
                  <a:pt x="4135661" y="2066581"/>
                </a:cubicBezTo>
                <a:cubicBezTo>
                  <a:pt x="4020984" y="2160027"/>
                  <a:pt x="3823462" y="2272578"/>
                  <a:pt x="3698174" y="2138777"/>
                </a:cubicBezTo>
                <a:cubicBezTo>
                  <a:pt x="3621710" y="2055921"/>
                  <a:pt x="3744883" y="1930634"/>
                  <a:pt x="3821347" y="2011344"/>
                </a:cubicBezTo>
                <a:cubicBezTo>
                  <a:pt x="3851064" y="2043185"/>
                  <a:pt x="3927528" y="1992239"/>
                  <a:pt x="3959398" y="1973135"/>
                </a:cubicBezTo>
                <a:cubicBezTo>
                  <a:pt x="4008221" y="1943370"/>
                  <a:pt x="4037976" y="1917898"/>
                  <a:pt x="4080418" y="1873320"/>
                </a:cubicBezTo>
                <a:cubicBezTo>
                  <a:pt x="4139890" y="1807493"/>
                  <a:pt x="4188752" y="1722491"/>
                  <a:pt x="4214240" y="1637559"/>
                </a:cubicBezTo>
                <a:cubicBezTo>
                  <a:pt x="4222736" y="1612086"/>
                  <a:pt x="4229079" y="1588690"/>
                  <a:pt x="4233346" y="1563217"/>
                </a:cubicBezTo>
                <a:cubicBezTo>
                  <a:pt x="4235461" y="1552627"/>
                  <a:pt x="4237575" y="1541967"/>
                  <a:pt x="4239728" y="1531376"/>
                </a:cubicBezTo>
                <a:cubicBezTo>
                  <a:pt x="4239728" y="1531376"/>
                  <a:pt x="4241842" y="1512272"/>
                  <a:pt x="4241842" y="1508049"/>
                </a:cubicBezTo>
                <a:cubicBezTo>
                  <a:pt x="4243957" y="1480431"/>
                  <a:pt x="4243957" y="1454958"/>
                  <a:pt x="4243957" y="1427340"/>
                </a:cubicBezTo>
                <a:cubicBezTo>
                  <a:pt x="4243957" y="1414603"/>
                  <a:pt x="4241842" y="1403943"/>
                  <a:pt x="4241842" y="1391207"/>
                </a:cubicBezTo>
                <a:cubicBezTo>
                  <a:pt x="4241842" y="1386985"/>
                  <a:pt x="4239728" y="1369957"/>
                  <a:pt x="4239728" y="1367880"/>
                </a:cubicBezTo>
                <a:cubicBezTo>
                  <a:pt x="4233346" y="1325379"/>
                  <a:pt x="4222736" y="1280802"/>
                  <a:pt x="4205744" y="1240447"/>
                </a:cubicBezTo>
                <a:cubicBezTo>
                  <a:pt x="4205744" y="1240447"/>
                  <a:pt x="4195134" y="1217051"/>
                  <a:pt x="4192981" y="1212829"/>
                </a:cubicBezTo>
                <a:cubicBezTo>
                  <a:pt x="4186638" y="1202169"/>
                  <a:pt x="4182370" y="1193725"/>
                  <a:pt x="4175989" y="1183065"/>
                </a:cubicBezTo>
                <a:cubicBezTo>
                  <a:pt x="4169645" y="1172474"/>
                  <a:pt x="4163264" y="1163960"/>
                  <a:pt x="4156882" y="1153370"/>
                </a:cubicBezTo>
                <a:cubicBezTo>
                  <a:pt x="4148386" y="1140633"/>
                  <a:pt x="4150539" y="1142710"/>
                  <a:pt x="4144157" y="1136341"/>
                </a:cubicBezTo>
                <a:cubicBezTo>
                  <a:pt x="4080418" y="1057778"/>
                  <a:pt x="4001878" y="1011055"/>
                  <a:pt x="3906307" y="981290"/>
                </a:cubicBezTo>
                <a:cubicBezTo>
                  <a:pt x="3811515" y="951612"/>
                  <a:pt x="3835457" y="817797"/>
                  <a:pt x="3915473" y="807576"/>
                </a:cubicBezTo>
                <a:close/>
                <a:moveTo>
                  <a:pt x="1197932" y="403636"/>
                </a:moveTo>
                <a:cubicBezTo>
                  <a:pt x="1220026" y="404373"/>
                  <a:pt x="1242390" y="407027"/>
                  <a:pt x="1264953" y="411804"/>
                </a:cubicBezTo>
                <a:cubicBezTo>
                  <a:pt x="1369033" y="433071"/>
                  <a:pt x="1324435" y="592327"/>
                  <a:pt x="1220356" y="571060"/>
                </a:cubicBezTo>
                <a:cubicBezTo>
                  <a:pt x="1084445" y="541348"/>
                  <a:pt x="948534" y="662385"/>
                  <a:pt x="874224" y="762216"/>
                </a:cubicBezTo>
                <a:cubicBezTo>
                  <a:pt x="714899" y="976705"/>
                  <a:pt x="840218" y="1252806"/>
                  <a:pt x="1039848" y="1386603"/>
                </a:cubicBezTo>
                <a:cubicBezTo>
                  <a:pt x="1222474" y="1509766"/>
                  <a:pt x="1483704" y="1560745"/>
                  <a:pt x="1668449" y="1409935"/>
                </a:cubicBezTo>
                <a:cubicBezTo>
                  <a:pt x="1702455" y="1382349"/>
                  <a:pt x="1751289" y="1375969"/>
                  <a:pt x="1785239" y="1409935"/>
                </a:cubicBezTo>
                <a:cubicBezTo>
                  <a:pt x="1815008" y="1439708"/>
                  <a:pt x="1819245" y="1499133"/>
                  <a:pt x="1785239" y="1526780"/>
                </a:cubicBezTo>
                <a:cubicBezTo>
                  <a:pt x="1642973" y="1643563"/>
                  <a:pt x="1470938" y="1686036"/>
                  <a:pt x="1290430" y="1660577"/>
                </a:cubicBezTo>
                <a:cubicBezTo>
                  <a:pt x="993132" y="1618104"/>
                  <a:pt x="693715" y="1388729"/>
                  <a:pt x="644825" y="1080789"/>
                </a:cubicBezTo>
                <a:cubicBezTo>
                  <a:pt x="615112" y="898140"/>
                  <a:pt x="672476" y="732504"/>
                  <a:pt x="797739" y="598707"/>
                </a:cubicBezTo>
                <a:cubicBezTo>
                  <a:pt x="901832" y="487217"/>
                  <a:pt x="1043272" y="398475"/>
                  <a:pt x="1197932" y="403636"/>
                </a:cubicBezTo>
                <a:close/>
                <a:moveTo>
                  <a:pt x="3286497" y="276675"/>
                </a:moveTo>
                <a:cubicBezTo>
                  <a:pt x="3297846" y="278005"/>
                  <a:pt x="3309128" y="281326"/>
                  <a:pt x="3319746" y="286636"/>
                </a:cubicBezTo>
                <a:cubicBezTo>
                  <a:pt x="3462048" y="360959"/>
                  <a:pt x="3587337" y="477765"/>
                  <a:pt x="3631939" y="634933"/>
                </a:cubicBezTo>
                <a:cubicBezTo>
                  <a:pt x="3678671" y="796341"/>
                  <a:pt x="3627704" y="961989"/>
                  <a:pt x="3544864" y="1102156"/>
                </a:cubicBezTo>
                <a:cubicBezTo>
                  <a:pt x="3485402" y="1199840"/>
                  <a:pt x="3332500" y="1110635"/>
                  <a:pt x="3391962" y="1012951"/>
                </a:cubicBezTo>
                <a:cubicBezTo>
                  <a:pt x="3430199" y="951347"/>
                  <a:pt x="3453553" y="898265"/>
                  <a:pt x="3468413" y="826062"/>
                </a:cubicBezTo>
                <a:cubicBezTo>
                  <a:pt x="3468413" y="826062"/>
                  <a:pt x="3470542" y="815463"/>
                  <a:pt x="3470542" y="811180"/>
                </a:cubicBezTo>
                <a:cubicBezTo>
                  <a:pt x="3470542" y="806941"/>
                  <a:pt x="3472672" y="798461"/>
                  <a:pt x="3472672" y="796341"/>
                </a:cubicBezTo>
                <a:cubicBezTo>
                  <a:pt x="3472672" y="781459"/>
                  <a:pt x="3472672" y="766621"/>
                  <a:pt x="3472672" y="749619"/>
                </a:cubicBezTo>
                <a:cubicBezTo>
                  <a:pt x="3472672" y="743216"/>
                  <a:pt x="3470542" y="734737"/>
                  <a:pt x="3470542" y="728378"/>
                </a:cubicBezTo>
                <a:cubicBezTo>
                  <a:pt x="3470542" y="726258"/>
                  <a:pt x="3470542" y="724138"/>
                  <a:pt x="3470542" y="724138"/>
                </a:cubicBezTo>
                <a:cubicBezTo>
                  <a:pt x="3470542" y="724138"/>
                  <a:pt x="3470542" y="724138"/>
                  <a:pt x="3470542" y="722018"/>
                </a:cubicBezTo>
                <a:cubicBezTo>
                  <a:pt x="3468413" y="709256"/>
                  <a:pt x="3466283" y="694374"/>
                  <a:pt x="3462048" y="681656"/>
                </a:cubicBezTo>
                <a:cubicBezTo>
                  <a:pt x="3459918" y="675296"/>
                  <a:pt x="3457789" y="668893"/>
                  <a:pt x="3455683" y="662534"/>
                </a:cubicBezTo>
                <a:cubicBezTo>
                  <a:pt x="3453553" y="660414"/>
                  <a:pt x="3451424" y="651935"/>
                  <a:pt x="3449294" y="647652"/>
                </a:cubicBezTo>
                <a:cubicBezTo>
                  <a:pt x="3445059" y="634933"/>
                  <a:pt x="3438694" y="624291"/>
                  <a:pt x="3432305" y="613692"/>
                </a:cubicBezTo>
                <a:cubicBezTo>
                  <a:pt x="3425940" y="600929"/>
                  <a:pt x="3419575" y="590331"/>
                  <a:pt x="3411080" y="579732"/>
                </a:cubicBezTo>
                <a:cubicBezTo>
                  <a:pt x="3408951" y="577569"/>
                  <a:pt x="3400456" y="566969"/>
                  <a:pt x="3400456" y="566969"/>
                </a:cubicBezTo>
                <a:cubicBezTo>
                  <a:pt x="3396197" y="562730"/>
                  <a:pt x="3391962" y="558490"/>
                  <a:pt x="3387703" y="554251"/>
                </a:cubicBezTo>
                <a:cubicBezTo>
                  <a:pt x="3338865" y="501126"/>
                  <a:pt x="3292133" y="471405"/>
                  <a:pt x="3228435" y="437445"/>
                </a:cubicBezTo>
                <a:cubicBezTo>
                  <a:pt x="3185962" y="414084"/>
                  <a:pt x="3173209" y="356719"/>
                  <a:pt x="3198692" y="318476"/>
                </a:cubicBezTo>
                <a:cubicBezTo>
                  <a:pt x="3217805" y="286614"/>
                  <a:pt x="3252451" y="272686"/>
                  <a:pt x="3286497" y="276675"/>
                </a:cubicBezTo>
                <a:close/>
                <a:moveTo>
                  <a:pt x="2753580" y="2208"/>
                </a:moveTo>
                <a:cubicBezTo>
                  <a:pt x="2848611" y="8862"/>
                  <a:pt x="2943131" y="30108"/>
                  <a:pt x="3032365" y="59829"/>
                </a:cubicBezTo>
                <a:cubicBezTo>
                  <a:pt x="3138513" y="95875"/>
                  <a:pt x="3093896" y="265843"/>
                  <a:pt x="2985561" y="229797"/>
                </a:cubicBezTo>
                <a:cubicBezTo>
                  <a:pt x="2826338" y="174414"/>
                  <a:pt x="2645828" y="148871"/>
                  <a:pt x="2484419" y="212609"/>
                </a:cubicBezTo>
                <a:cubicBezTo>
                  <a:pt x="2323010" y="274198"/>
                  <a:pt x="2238003" y="435572"/>
                  <a:pt x="2250835" y="592888"/>
                </a:cubicBezTo>
                <a:cubicBezTo>
                  <a:pt x="2250835" y="592888"/>
                  <a:pt x="2250835" y="595037"/>
                  <a:pt x="2250835" y="595037"/>
                </a:cubicBezTo>
                <a:cubicBezTo>
                  <a:pt x="2255063" y="664981"/>
                  <a:pt x="2282621" y="737313"/>
                  <a:pt x="2329425" y="798903"/>
                </a:cubicBezTo>
                <a:cubicBezTo>
                  <a:pt x="2471734" y="979374"/>
                  <a:pt x="2741333" y="1007065"/>
                  <a:pt x="2947359" y="949534"/>
                </a:cubicBezTo>
                <a:cubicBezTo>
                  <a:pt x="3055694" y="917784"/>
                  <a:pt x="3102353" y="1089901"/>
                  <a:pt x="2994163" y="1119502"/>
                </a:cubicBezTo>
                <a:cubicBezTo>
                  <a:pt x="2832754" y="1164142"/>
                  <a:pt x="2654285" y="1166291"/>
                  <a:pt x="2495063" y="1113057"/>
                </a:cubicBezTo>
                <a:cubicBezTo>
                  <a:pt x="2414285" y="1085604"/>
                  <a:pt x="2337882" y="1043112"/>
                  <a:pt x="2274164" y="989878"/>
                </a:cubicBezTo>
                <a:cubicBezTo>
                  <a:pt x="2286849" y="1232177"/>
                  <a:pt x="2297493" y="1474238"/>
                  <a:pt x="2308137" y="1716299"/>
                </a:cubicBezTo>
                <a:cubicBezTo>
                  <a:pt x="2312366" y="1847833"/>
                  <a:pt x="2320822" y="1981754"/>
                  <a:pt x="2325197" y="2113289"/>
                </a:cubicBezTo>
                <a:cubicBezTo>
                  <a:pt x="2325197" y="2124031"/>
                  <a:pt x="2325197" y="2134534"/>
                  <a:pt x="2325197" y="2145277"/>
                </a:cubicBezTo>
                <a:cubicBezTo>
                  <a:pt x="2325197" y="2145277"/>
                  <a:pt x="2325197" y="2147425"/>
                  <a:pt x="2325197" y="2149574"/>
                </a:cubicBezTo>
                <a:cubicBezTo>
                  <a:pt x="2327238" y="2323600"/>
                  <a:pt x="2337882" y="2497865"/>
                  <a:pt x="2344297" y="2671891"/>
                </a:cubicBezTo>
                <a:cubicBezTo>
                  <a:pt x="2346339" y="2759023"/>
                  <a:pt x="2363398" y="2846156"/>
                  <a:pt x="2427116" y="2909894"/>
                </a:cubicBezTo>
                <a:cubicBezTo>
                  <a:pt x="2482232" y="2965038"/>
                  <a:pt x="2556594" y="2998936"/>
                  <a:pt x="2633143" y="2992729"/>
                </a:cubicBezTo>
                <a:cubicBezTo>
                  <a:pt x="2720190" y="2986284"/>
                  <a:pt x="2764808" y="2935198"/>
                  <a:pt x="2803009" y="2863105"/>
                </a:cubicBezTo>
                <a:cubicBezTo>
                  <a:pt x="2851855" y="2771675"/>
                  <a:pt x="2894285" y="2676188"/>
                  <a:pt x="2945318" y="2584758"/>
                </a:cubicBezTo>
                <a:cubicBezTo>
                  <a:pt x="3040822" y="2410732"/>
                  <a:pt x="3193775" y="2264159"/>
                  <a:pt x="3406071" y="2274901"/>
                </a:cubicBezTo>
                <a:cubicBezTo>
                  <a:pt x="3601454" y="2285405"/>
                  <a:pt x="3771320" y="2427681"/>
                  <a:pt x="3811709" y="2621044"/>
                </a:cubicBezTo>
                <a:cubicBezTo>
                  <a:pt x="3822353" y="2667594"/>
                  <a:pt x="3799023" y="2716531"/>
                  <a:pt x="3750178" y="2729183"/>
                </a:cubicBezTo>
                <a:cubicBezTo>
                  <a:pt x="3705560" y="2742074"/>
                  <a:pt x="3652486" y="2714383"/>
                  <a:pt x="3641842" y="2667594"/>
                </a:cubicBezTo>
                <a:cubicBezTo>
                  <a:pt x="3624783" y="2582849"/>
                  <a:pt x="3571709" y="2506220"/>
                  <a:pt x="3491077" y="2470173"/>
                </a:cubicBezTo>
                <a:cubicBezTo>
                  <a:pt x="3406071" y="2434127"/>
                  <a:pt x="3299923" y="2446779"/>
                  <a:pt x="3227748" y="2504071"/>
                </a:cubicBezTo>
                <a:cubicBezTo>
                  <a:pt x="3157614" y="2557306"/>
                  <a:pt x="3115184" y="2640141"/>
                  <a:pt x="3074795" y="2716531"/>
                </a:cubicBezTo>
                <a:cubicBezTo>
                  <a:pt x="3025950" y="2812019"/>
                  <a:pt x="2983519" y="2916100"/>
                  <a:pt x="2926217" y="3005381"/>
                </a:cubicBezTo>
                <a:cubicBezTo>
                  <a:pt x="2813653" y="3179407"/>
                  <a:pt x="2586339" y="3211396"/>
                  <a:pt x="2410057" y="3115670"/>
                </a:cubicBezTo>
                <a:cubicBezTo>
                  <a:pt x="2378271" y="3098720"/>
                  <a:pt x="2348526" y="3077474"/>
                  <a:pt x="2323010" y="3054080"/>
                </a:cubicBezTo>
                <a:cubicBezTo>
                  <a:pt x="2323010" y="3141212"/>
                  <a:pt x="2323010" y="3228345"/>
                  <a:pt x="2323010" y="3315477"/>
                </a:cubicBezTo>
                <a:cubicBezTo>
                  <a:pt x="2323010" y="3517195"/>
                  <a:pt x="2325197" y="3721061"/>
                  <a:pt x="2325197" y="3922778"/>
                </a:cubicBezTo>
                <a:cubicBezTo>
                  <a:pt x="2327238" y="3929224"/>
                  <a:pt x="2327238" y="3935430"/>
                  <a:pt x="2327238" y="3941876"/>
                </a:cubicBezTo>
                <a:cubicBezTo>
                  <a:pt x="2325197" y="3946173"/>
                  <a:pt x="2325197" y="3952618"/>
                  <a:pt x="2325197" y="3956676"/>
                </a:cubicBezTo>
                <a:cubicBezTo>
                  <a:pt x="2325197" y="3958825"/>
                  <a:pt x="2325197" y="3960973"/>
                  <a:pt x="2325197" y="3963122"/>
                </a:cubicBezTo>
                <a:cubicBezTo>
                  <a:pt x="2467359" y="3963122"/>
                  <a:pt x="2613896" y="3971716"/>
                  <a:pt x="2747748" y="4022563"/>
                </a:cubicBezTo>
                <a:cubicBezTo>
                  <a:pt x="2877371" y="4071500"/>
                  <a:pt x="2985561" y="4154336"/>
                  <a:pt x="3064151" y="4268921"/>
                </a:cubicBezTo>
                <a:cubicBezTo>
                  <a:pt x="3102353" y="4328362"/>
                  <a:pt x="3125828" y="4394248"/>
                  <a:pt x="3157614" y="4455838"/>
                </a:cubicBezTo>
                <a:cubicBezTo>
                  <a:pt x="3172487" y="4483529"/>
                  <a:pt x="3185172" y="4508833"/>
                  <a:pt x="3204418" y="4527931"/>
                </a:cubicBezTo>
                <a:cubicBezTo>
                  <a:pt x="3221332" y="4545119"/>
                  <a:pt x="3234018" y="4553474"/>
                  <a:pt x="3251077" y="4559919"/>
                </a:cubicBezTo>
                <a:cubicBezTo>
                  <a:pt x="3359412" y="4600263"/>
                  <a:pt x="3471976" y="4500478"/>
                  <a:pt x="3527091" y="4409049"/>
                </a:cubicBezTo>
                <a:cubicBezTo>
                  <a:pt x="3556836" y="4360350"/>
                  <a:pt x="3580311" y="4296612"/>
                  <a:pt x="3586581" y="4245526"/>
                </a:cubicBezTo>
                <a:cubicBezTo>
                  <a:pt x="3588768" y="4218074"/>
                  <a:pt x="3590810" y="4181788"/>
                  <a:pt x="3580311" y="4154336"/>
                </a:cubicBezTo>
                <a:cubicBezTo>
                  <a:pt x="3571709" y="4128793"/>
                  <a:pt x="3561065" y="4137387"/>
                  <a:pt x="3539923" y="4145742"/>
                </a:cubicBezTo>
                <a:cubicBezTo>
                  <a:pt x="3495305" y="4164839"/>
                  <a:pt x="3442231" y="4124496"/>
                  <a:pt x="3431587" y="4084152"/>
                </a:cubicBezTo>
                <a:cubicBezTo>
                  <a:pt x="3418902" y="4033305"/>
                  <a:pt x="3448647" y="3995110"/>
                  <a:pt x="3493118" y="3975774"/>
                </a:cubicBezTo>
                <a:cubicBezTo>
                  <a:pt x="3614285" y="3924927"/>
                  <a:pt x="3733118" y="4007762"/>
                  <a:pt x="3760822" y="4128793"/>
                </a:cubicBezTo>
                <a:cubicBezTo>
                  <a:pt x="3777735" y="4220222"/>
                  <a:pt x="3762863" y="4315710"/>
                  <a:pt x="3728890" y="4402842"/>
                </a:cubicBezTo>
                <a:cubicBezTo>
                  <a:pt x="3667359" y="4551325"/>
                  <a:pt x="3544151" y="4700047"/>
                  <a:pt x="3380700" y="4733945"/>
                </a:cubicBezTo>
                <a:cubicBezTo>
                  <a:pt x="3297736" y="4751133"/>
                  <a:pt x="3206460" y="4744688"/>
                  <a:pt x="3134285" y="4695750"/>
                </a:cubicBezTo>
                <a:cubicBezTo>
                  <a:pt x="3068380" y="4651110"/>
                  <a:pt x="3025950" y="4583314"/>
                  <a:pt x="2994163" y="4513130"/>
                </a:cubicBezTo>
                <a:cubicBezTo>
                  <a:pt x="2962231" y="4441037"/>
                  <a:pt x="2932487" y="4370854"/>
                  <a:pt x="2879413" y="4311413"/>
                </a:cubicBezTo>
                <a:cubicBezTo>
                  <a:pt x="2832754" y="4260566"/>
                  <a:pt x="2781721" y="4224280"/>
                  <a:pt x="2718003" y="4196828"/>
                </a:cubicBezTo>
                <a:cubicBezTo>
                  <a:pt x="2601211" y="4145742"/>
                  <a:pt x="2461090" y="4137387"/>
                  <a:pt x="2329425" y="4137387"/>
                </a:cubicBezTo>
                <a:cubicBezTo>
                  <a:pt x="2329425" y="4139296"/>
                  <a:pt x="2329425" y="4141445"/>
                  <a:pt x="2329425" y="4143593"/>
                </a:cubicBezTo>
                <a:cubicBezTo>
                  <a:pt x="2331466" y="4179640"/>
                  <a:pt x="2333654" y="4218074"/>
                  <a:pt x="2335695" y="4254120"/>
                </a:cubicBezTo>
                <a:cubicBezTo>
                  <a:pt x="2340069" y="4351756"/>
                  <a:pt x="2348526" y="4449392"/>
                  <a:pt x="2346339" y="4547267"/>
                </a:cubicBezTo>
                <a:cubicBezTo>
                  <a:pt x="2348526" y="4549177"/>
                  <a:pt x="2348526" y="4553474"/>
                  <a:pt x="2348526" y="4555622"/>
                </a:cubicBezTo>
                <a:cubicBezTo>
                  <a:pt x="2376084" y="4695750"/>
                  <a:pt x="2448259" y="4857124"/>
                  <a:pt x="2596983" y="4901765"/>
                </a:cubicBezTo>
                <a:cubicBezTo>
                  <a:pt x="2724419" y="4939960"/>
                  <a:pt x="2862499" y="4897468"/>
                  <a:pt x="2945318" y="4795535"/>
                </a:cubicBezTo>
                <a:cubicBezTo>
                  <a:pt x="2977104" y="4759488"/>
                  <a:pt x="3038781" y="4763785"/>
                  <a:pt x="3070567" y="4795535"/>
                </a:cubicBezTo>
                <a:cubicBezTo>
                  <a:pt x="3106727" y="4831820"/>
                  <a:pt x="3100312" y="4884816"/>
                  <a:pt x="3070567" y="4920862"/>
                </a:cubicBezTo>
                <a:cubicBezTo>
                  <a:pt x="2949546" y="5071733"/>
                  <a:pt x="2728647" y="5131174"/>
                  <a:pt x="2545950" y="5071733"/>
                </a:cubicBezTo>
                <a:cubicBezTo>
                  <a:pt x="2424929" y="5031389"/>
                  <a:pt x="2333654" y="4946405"/>
                  <a:pt x="2269935" y="4842324"/>
                </a:cubicBezTo>
                <a:cubicBezTo>
                  <a:pt x="2265707" y="4848769"/>
                  <a:pt x="2263520" y="4854976"/>
                  <a:pt x="2259291" y="4861421"/>
                </a:cubicBezTo>
                <a:cubicBezTo>
                  <a:pt x="2184929" y="4976245"/>
                  <a:pt x="2063909" y="5063139"/>
                  <a:pt x="1928016" y="5086533"/>
                </a:cubicBezTo>
                <a:cubicBezTo>
                  <a:pt x="1777250" y="5114224"/>
                  <a:pt x="1632755" y="5071733"/>
                  <a:pt x="1513921" y="4978155"/>
                </a:cubicBezTo>
                <a:cubicBezTo>
                  <a:pt x="1475720" y="4948554"/>
                  <a:pt x="1484176" y="4882667"/>
                  <a:pt x="1513921" y="4853066"/>
                </a:cubicBezTo>
                <a:cubicBezTo>
                  <a:pt x="1552123" y="4816781"/>
                  <a:pt x="1600969" y="4823226"/>
                  <a:pt x="1639170" y="4853066"/>
                </a:cubicBezTo>
                <a:cubicBezTo>
                  <a:pt x="1732633" y="4925159"/>
                  <a:pt x="1870713" y="4939960"/>
                  <a:pt x="1976861" y="4886964"/>
                </a:cubicBezTo>
                <a:cubicBezTo>
                  <a:pt x="2074553" y="4840175"/>
                  <a:pt x="2136084" y="4751133"/>
                  <a:pt x="2165829" y="4649200"/>
                </a:cubicBezTo>
                <a:cubicBezTo>
                  <a:pt x="2168016" y="4642755"/>
                  <a:pt x="2168016" y="4636309"/>
                  <a:pt x="2170057" y="4629864"/>
                </a:cubicBezTo>
                <a:cubicBezTo>
                  <a:pt x="2170057" y="4629864"/>
                  <a:pt x="2170057" y="4627954"/>
                  <a:pt x="2170057" y="4627954"/>
                </a:cubicBezTo>
                <a:cubicBezTo>
                  <a:pt x="2170057" y="4625806"/>
                  <a:pt x="2170057" y="4625806"/>
                  <a:pt x="2170057" y="4625806"/>
                </a:cubicBezTo>
                <a:cubicBezTo>
                  <a:pt x="2172244" y="4606708"/>
                  <a:pt x="2174431" y="4589520"/>
                  <a:pt x="2174431" y="4572571"/>
                </a:cubicBezTo>
                <a:cubicBezTo>
                  <a:pt x="2174431" y="4568513"/>
                  <a:pt x="2174431" y="4566365"/>
                  <a:pt x="2174431" y="4562068"/>
                </a:cubicBezTo>
                <a:cubicBezTo>
                  <a:pt x="2153143" y="4428146"/>
                  <a:pt x="2153143" y="4288018"/>
                  <a:pt x="2155185" y="4152187"/>
                </a:cubicBezTo>
                <a:cubicBezTo>
                  <a:pt x="2153143" y="4086301"/>
                  <a:pt x="2150956" y="4020414"/>
                  <a:pt x="2157372" y="3956676"/>
                </a:cubicBezTo>
                <a:cubicBezTo>
                  <a:pt x="2157372" y="3897235"/>
                  <a:pt x="2157372" y="3837794"/>
                  <a:pt x="2157372" y="3778353"/>
                </a:cubicBezTo>
                <a:cubicBezTo>
                  <a:pt x="2146728" y="3791005"/>
                  <a:pt x="2136084" y="3803896"/>
                  <a:pt x="2123398" y="3816548"/>
                </a:cubicBezTo>
                <a:cubicBezTo>
                  <a:pt x="2008648" y="3931372"/>
                  <a:pt x="1826096" y="3986516"/>
                  <a:pt x="1671102" y="3920630"/>
                </a:cubicBezTo>
                <a:cubicBezTo>
                  <a:pt x="1513921" y="3854743"/>
                  <a:pt x="1471345" y="3691221"/>
                  <a:pt x="1405586" y="3551093"/>
                </a:cubicBezTo>
                <a:cubicBezTo>
                  <a:pt x="1348283" y="3430062"/>
                  <a:pt x="1246364" y="3300438"/>
                  <a:pt x="1106096" y="3279192"/>
                </a:cubicBezTo>
                <a:cubicBezTo>
                  <a:pt x="993533" y="3262243"/>
                  <a:pt x="870471" y="3330278"/>
                  <a:pt x="851224" y="3444863"/>
                </a:cubicBezTo>
                <a:cubicBezTo>
                  <a:pt x="842767" y="3491652"/>
                  <a:pt x="785465" y="3517195"/>
                  <a:pt x="743035" y="3506452"/>
                </a:cubicBezTo>
                <a:cubicBezTo>
                  <a:pt x="694189" y="3493800"/>
                  <a:pt x="672901" y="3444863"/>
                  <a:pt x="681358" y="3398313"/>
                </a:cubicBezTo>
                <a:cubicBezTo>
                  <a:pt x="709061" y="3224048"/>
                  <a:pt x="880969" y="3115670"/>
                  <a:pt x="1048794" y="3103017"/>
                </a:cubicBezTo>
                <a:cubicBezTo>
                  <a:pt x="1205975" y="3090365"/>
                  <a:pt x="1356740" y="3181556"/>
                  <a:pt x="1454432" y="3300438"/>
                </a:cubicBezTo>
                <a:cubicBezTo>
                  <a:pt x="1503277" y="3360118"/>
                  <a:pt x="1543666" y="3425765"/>
                  <a:pt x="1573411" y="3495949"/>
                </a:cubicBezTo>
                <a:cubicBezTo>
                  <a:pt x="1603156" y="3563984"/>
                  <a:pt x="1626485" y="3638225"/>
                  <a:pt x="1671102" y="3699815"/>
                </a:cubicBezTo>
                <a:cubicBezTo>
                  <a:pt x="1709304" y="3754959"/>
                  <a:pt x="1766606" y="3778353"/>
                  <a:pt x="1832512" y="3771908"/>
                </a:cubicBezTo>
                <a:cubicBezTo>
                  <a:pt x="1898271" y="3765701"/>
                  <a:pt x="1942888" y="3744455"/>
                  <a:pt x="1989547" y="3699815"/>
                </a:cubicBezTo>
                <a:cubicBezTo>
                  <a:pt x="2097882" y="3600030"/>
                  <a:pt x="2150956" y="3449160"/>
                  <a:pt x="2153143" y="3302586"/>
                </a:cubicBezTo>
                <a:cubicBezTo>
                  <a:pt x="2153143" y="3296380"/>
                  <a:pt x="2155185" y="3292083"/>
                  <a:pt x="2155185" y="3285637"/>
                </a:cubicBezTo>
                <a:cubicBezTo>
                  <a:pt x="2155185" y="3079623"/>
                  <a:pt x="2153143" y="2873608"/>
                  <a:pt x="2153143" y="2667594"/>
                </a:cubicBezTo>
                <a:cubicBezTo>
                  <a:pt x="2042621" y="2761172"/>
                  <a:pt x="1889814" y="2799367"/>
                  <a:pt x="1749693" y="2716531"/>
                </a:cubicBezTo>
                <a:cubicBezTo>
                  <a:pt x="1647627" y="2657090"/>
                  <a:pt x="1607384" y="2553009"/>
                  <a:pt x="1605197" y="2440333"/>
                </a:cubicBezTo>
                <a:cubicBezTo>
                  <a:pt x="1603156" y="2387338"/>
                  <a:pt x="1613654" y="2323600"/>
                  <a:pt x="1592512" y="2272753"/>
                </a:cubicBezTo>
                <a:cubicBezTo>
                  <a:pt x="1577639" y="2234558"/>
                  <a:pt x="1539438" y="2213312"/>
                  <a:pt x="1505464" y="2196124"/>
                </a:cubicBezTo>
                <a:cubicBezTo>
                  <a:pt x="1341868" y="2119734"/>
                  <a:pt x="1050981" y="2119734"/>
                  <a:pt x="1017008" y="2346994"/>
                </a:cubicBezTo>
                <a:cubicBezTo>
                  <a:pt x="1010592" y="2393783"/>
                  <a:pt x="951103" y="2419326"/>
                  <a:pt x="908673" y="2408584"/>
                </a:cubicBezTo>
                <a:cubicBezTo>
                  <a:pt x="859827" y="2395932"/>
                  <a:pt x="840726" y="2346994"/>
                  <a:pt x="846996" y="2300205"/>
                </a:cubicBezTo>
                <a:cubicBezTo>
                  <a:pt x="866097" y="2179175"/>
                  <a:pt x="957518" y="2075093"/>
                  <a:pt x="1065853" y="2022098"/>
                </a:cubicBezTo>
                <a:cubicBezTo>
                  <a:pt x="1191103" y="1962657"/>
                  <a:pt x="1337639" y="1964805"/>
                  <a:pt x="1471345" y="2000852"/>
                </a:cubicBezTo>
                <a:cubicBezTo>
                  <a:pt x="1579681" y="2030692"/>
                  <a:pt x="1692244" y="2083687"/>
                  <a:pt x="1745318" y="2185620"/>
                </a:cubicBezTo>
                <a:cubicBezTo>
                  <a:pt x="1775063" y="2242913"/>
                  <a:pt x="1781479" y="2306651"/>
                  <a:pt x="1781479" y="2370389"/>
                </a:cubicBezTo>
                <a:cubicBezTo>
                  <a:pt x="1781479" y="2419326"/>
                  <a:pt x="1773022" y="2474470"/>
                  <a:pt x="1792123" y="2519111"/>
                </a:cubicBezTo>
                <a:cubicBezTo>
                  <a:pt x="1819681" y="2582849"/>
                  <a:pt x="1906728" y="2601946"/>
                  <a:pt x="1966217" y="2582849"/>
                </a:cubicBezTo>
                <a:cubicBezTo>
                  <a:pt x="2046995" y="2557306"/>
                  <a:pt x="2102110" y="2476619"/>
                  <a:pt x="2127627" y="2398080"/>
                </a:cubicBezTo>
                <a:cubicBezTo>
                  <a:pt x="2150956" y="2325748"/>
                  <a:pt x="2155185" y="2247210"/>
                  <a:pt x="2155185" y="2170820"/>
                </a:cubicBezTo>
                <a:cubicBezTo>
                  <a:pt x="2155185" y="2164374"/>
                  <a:pt x="2155185" y="2160077"/>
                  <a:pt x="2155185" y="2153871"/>
                </a:cubicBezTo>
                <a:cubicBezTo>
                  <a:pt x="2155185" y="2153871"/>
                  <a:pt x="2155185" y="2151722"/>
                  <a:pt x="2155185" y="2151722"/>
                </a:cubicBezTo>
                <a:cubicBezTo>
                  <a:pt x="2153143" y="2107082"/>
                  <a:pt x="2150956" y="2060293"/>
                  <a:pt x="2148915" y="2015652"/>
                </a:cubicBezTo>
                <a:cubicBezTo>
                  <a:pt x="2142499" y="1879821"/>
                  <a:pt x="2136084" y="1741842"/>
                  <a:pt x="2129814" y="1605772"/>
                </a:cubicBezTo>
                <a:cubicBezTo>
                  <a:pt x="2121211" y="1404055"/>
                  <a:pt x="2110713" y="1202337"/>
                  <a:pt x="2102110" y="1000620"/>
                </a:cubicBezTo>
                <a:cubicBezTo>
                  <a:pt x="2072366" y="1032370"/>
                  <a:pt x="2040580" y="1060061"/>
                  <a:pt x="2002378" y="1081307"/>
                </a:cubicBezTo>
                <a:cubicBezTo>
                  <a:pt x="1840968" y="1176795"/>
                  <a:pt x="1649814" y="1157697"/>
                  <a:pt x="1471345" y="1134303"/>
                </a:cubicBezTo>
                <a:cubicBezTo>
                  <a:pt x="1424687" y="1130244"/>
                  <a:pt x="1384298" y="1100404"/>
                  <a:pt x="1384298" y="1047409"/>
                </a:cubicBezTo>
                <a:cubicBezTo>
                  <a:pt x="1384298" y="1004917"/>
                  <a:pt x="1424687" y="953831"/>
                  <a:pt x="1471345" y="960276"/>
                </a:cubicBezTo>
                <a:cubicBezTo>
                  <a:pt x="1569037" y="970780"/>
                  <a:pt x="1666728" y="985819"/>
                  <a:pt x="1764419" y="977225"/>
                </a:cubicBezTo>
                <a:cubicBezTo>
                  <a:pt x="1832512" y="970780"/>
                  <a:pt x="1885586" y="951683"/>
                  <a:pt x="1938660" y="915636"/>
                </a:cubicBezTo>
                <a:cubicBezTo>
                  <a:pt x="1949304" y="907042"/>
                  <a:pt x="1970446" y="890093"/>
                  <a:pt x="1985318" y="873144"/>
                </a:cubicBezTo>
                <a:cubicBezTo>
                  <a:pt x="2002378" y="854047"/>
                  <a:pt x="2004419" y="851898"/>
                  <a:pt x="2019292" y="828504"/>
                </a:cubicBezTo>
                <a:cubicBezTo>
                  <a:pt x="2044808" y="786012"/>
                  <a:pt x="2055452" y="758559"/>
                  <a:pt x="2068137" y="707473"/>
                </a:cubicBezTo>
                <a:cubicBezTo>
                  <a:pt x="2076740" y="673575"/>
                  <a:pt x="2078781" y="639677"/>
                  <a:pt x="2078781" y="601243"/>
                </a:cubicBezTo>
                <a:cubicBezTo>
                  <a:pt x="2076740" y="590739"/>
                  <a:pt x="2076740" y="579997"/>
                  <a:pt x="2076740" y="569494"/>
                </a:cubicBezTo>
                <a:cubicBezTo>
                  <a:pt x="2074553" y="531299"/>
                  <a:pt x="2066096" y="490955"/>
                  <a:pt x="2049036" y="444166"/>
                </a:cubicBezTo>
                <a:cubicBezTo>
                  <a:pt x="2038392" y="416475"/>
                  <a:pt x="2008648" y="359182"/>
                  <a:pt x="1989547" y="337936"/>
                </a:cubicBezTo>
                <a:cubicBezTo>
                  <a:pt x="1957761" y="299741"/>
                  <a:pt x="1919559" y="265843"/>
                  <a:pt x="1872755" y="246746"/>
                </a:cubicBezTo>
                <a:cubicBezTo>
                  <a:pt x="1753921" y="195660"/>
                  <a:pt x="1613654" y="225500"/>
                  <a:pt x="1492633" y="251043"/>
                </a:cubicBezTo>
                <a:cubicBezTo>
                  <a:pt x="1445975" y="261546"/>
                  <a:pt x="1397129" y="238152"/>
                  <a:pt x="1384298" y="189453"/>
                </a:cubicBezTo>
                <a:cubicBezTo>
                  <a:pt x="1371613" y="144813"/>
                  <a:pt x="1399170" y="91578"/>
                  <a:pt x="1445975" y="81075"/>
                </a:cubicBezTo>
                <a:cubicBezTo>
                  <a:pt x="1626485" y="42880"/>
                  <a:pt x="1832512" y="10891"/>
                  <a:pt x="1998149" y="112824"/>
                </a:cubicBezTo>
                <a:cubicBezTo>
                  <a:pt x="2061868" y="153168"/>
                  <a:pt x="2114942" y="206402"/>
                  <a:pt x="2155185" y="270140"/>
                </a:cubicBezTo>
                <a:cubicBezTo>
                  <a:pt x="2227505" y="155316"/>
                  <a:pt x="2337882" y="72481"/>
                  <a:pt x="2471734" y="32137"/>
                </a:cubicBezTo>
                <a:cubicBezTo>
                  <a:pt x="2563010" y="3491"/>
                  <a:pt x="2658550" y="-4446"/>
                  <a:pt x="2753580" y="2208"/>
                </a:cubicBezTo>
                <a:close/>
              </a:path>
            </a:pathLst>
          </a:custGeom>
          <a:solidFill>
            <a:schemeClr val="tx2"/>
          </a:solidFill>
          <a:ln w="12700">
            <a:miter lim="400000"/>
          </a:ln>
        </p:spPr>
        <p:txBody>
          <a:bodyPr wrap="square" lIns="38100" tIns="38100" rIns="38100" bIns="38100" anchor="ctr">
            <a:noAutofit/>
          </a:bodyPr>
          <a:lstStyle/>
          <a:p>
            <a:pPr>
              <a:defRPr sz="3000">
                <a:solidFill>
                  <a:srgbClr val="FFFFFF"/>
                </a:solidFill>
              </a:defRPr>
            </a:pPr>
            <a:endParaRPr/>
          </a:p>
        </p:txBody>
      </p:sp>
      <p:sp>
        <p:nvSpPr>
          <p:cNvPr id="4" name="Circle">
            <a:extLst>
              <a:ext uri="{FF2B5EF4-FFF2-40B4-BE49-F238E27FC236}">
                <a16:creationId xmlns:a16="http://schemas.microsoft.com/office/drawing/2014/main" id="{87556578-21C5-F21E-70FB-F2EDEE65FC03}"/>
              </a:ext>
            </a:extLst>
          </p:cNvPr>
          <p:cNvSpPr/>
          <p:nvPr/>
        </p:nvSpPr>
        <p:spPr>
          <a:xfrm>
            <a:off x="6593662" y="1745738"/>
            <a:ext cx="505450" cy="505450"/>
          </a:xfrm>
          <a:prstGeom prst="ellipse">
            <a:avLst/>
          </a:prstGeom>
          <a:solidFill>
            <a:schemeClr val="bg1">
              <a:lumMod val="95000"/>
            </a:schemeClr>
          </a:solidFill>
          <a:ln w="12700">
            <a:miter lim="400000"/>
          </a:ln>
        </p:spPr>
        <p:txBody>
          <a:bodyPr lIns="38100" tIns="38100" rIns="38100" bIns="38100" anchor="ctr"/>
          <a:lstStyle/>
          <a:p>
            <a:pPr>
              <a:defRPr sz="3000">
                <a:solidFill>
                  <a:srgbClr val="FFFFFF"/>
                </a:solidFill>
              </a:defRPr>
            </a:pPr>
            <a:endParaRPr/>
          </a:p>
        </p:txBody>
      </p:sp>
      <p:sp>
        <p:nvSpPr>
          <p:cNvPr id="5" name="Circle">
            <a:extLst>
              <a:ext uri="{FF2B5EF4-FFF2-40B4-BE49-F238E27FC236}">
                <a16:creationId xmlns:a16="http://schemas.microsoft.com/office/drawing/2014/main" id="{7618C591-BD31-62B1-953B-441E98A81342}"/>
              </a:ext>
            </a:extLst>
          </p:cNvPr>
          <p:cNvSpPr/>
          <p:nvPr/>
        </p:nvSpPr>
        <p:spPr>
          <a:xfrm>
            <a:off x="6667994" y="1820070"/>
            <a:ext cx="356787" cy="356787"/>
          </a:xfrm>
          <a:prstGeom prst="ellipse">
            <a:avLst/>
          </a:prstGeom>
          <a:solidFill>
            <a:schemeClr val="accent2"/>
          </a:solidFill>
          <a:ln w="12700">
            <a:miter lim="400000"/>
          </a:ln>
        </p:spPr>
        <p:txBody>
          <a:bodyPr lIns="38100" tIns="38100" rIns="38100" bIns="38100" anchor="ctr"/>
          <a:lstStyle/>
          <a:p>
            <a:pPr>
              <a:defRPr sz="3000">
                <a:solidFill>
                  <a:srgbClr val="FFFFFF"/>
                </a:solidFill>
              </a:defRPr>
            </a:pPr>
            <a:endParaRPr/>
          </a:p>
        </p:txBody>
      </p:sp>
      <p:sp>
        <p:nvSpPr>
          <p:cNvPr id="6" name="Circle">
            <a:extLst>
              <a:ext uri="{FF2B5EF4-FFF2-40B4-BE49-F238E27FC236}">
                <a16:creationId xmlns:a16="http://schemas.microsoft.com/office/drawing/2014/main" id="{8E1BDB24-A0B5-2309-76F7-13934867AB63}"/>
              </a:ext>
            </a:extLst>
          </p:cNvPr>
          <p:cNvSpPr/>
          <p:nvPr/>
        </p:nvSpPr>
        <p:spPr>
          <a:xfrm>
            <a:off x="4512404" y="3083689"/>
            <a:ext cx="505450" cy="505450"/>
          </a:xfrm>
          <a:prstGeom prst="ellipse">
            <a:avLst/>
          </a:prstGeom>
          <a:solidFill>
            <a:schemeClr val="bg1">
              <a:lumMod val="95000"/>
            </a:schemeClr>
          </a:solidFill>
          <a:ln w="12700">
            <a:miter lim="400000"/>
          </a:ln>
        </p:spPr>
        <p:txBody>
          <a:bodyPr lIns="38100" tIns="38100" rIns="38100" bIns="38100" anchor="ctr"/>
          <a:lstStyle/>
          <a:p>
            <a:pPr>
              <a:defRPr sz="3000">
                <a:solidFill>
                  <a:srgbClr val="FFFFFF"/>
                </a:solidFill>
              </a:defRPr>
            </a:pPr>
            <a:endParaRPr/>
          </a:p>
        </p:txBody>
      </p:sp>
      <p:sp>
        <p:nvSpPr>
          <p:cNvPr id="7" name="Circle">
            <a:extLst>
              <a:ext uri="{FF2B5EF4-FFF2-40B4-BE49-F238E27FC236}">
                <a16:creationId xmlns:a16="http://schemas.microsoft.com/office/drawing/2014/main" id="{C7CC62D8-7278-DB2B-69F7-51617BBB0E9D}"/>
              </a:ext>
            </a:extLst>
          </p:cNvPr>
          <p:cNvSpPr/>
          <p:nvPr/>
        </p:nvSpPr>
        <p:spPr>
          <a:xfrm>
            <a:off x="4586736" y="3158021"/>
            <a:ext cx="356787" cy="356787"/>
          </a:xfrm>
          <a:prstGeom prst="ellipse">
            <a:avLst/>
          </a:prstGeom>
          <a:solidFill>
            <a:schemeClr val="accent4"/>
          </a:solidFill>
          <a:ln w="12700">
            <a:miter lim="400000"/>
          </a:ln>
        </p:spPr>
        <p:txBody>
          <a:bodyPr lIns="38100" tIns="38100" rIns="38100" bIns="38100" anchor="ctr"/>
          <a:lstStyle/>
          <a:p>
            <a:pPr>
              <a:defRPr sz="3000">
                <a:solidFill>
                  <a:srgbClr val="FFFFFF"/>
                </a:solidFill>
              </a:defRPr>
            </a:pPr>
            <a:endParaRPr/>
          </a:p>
        </p:txBody>
      </p:sp>
      <p:sp>
        <p:nvSpPr>
          <p:cNvPr id="8" name="Circle">
            <a:extLst>
              <a:ext uri="{FF2B5EF4-FFF2-40B4-BE49-F238E27FC236}">
                <a16:creationId xmlns:a16="http://schemas.microsoft.com/office/drawing/2014/main" id="{81120BDD-1E07-9D88-7C21-79DD603DF97B}"/>
              </a:ext>
            </a:extLst>
          </p:cNvPr>
          <p:cNvSpPr/>
          <p:nvPr/>
        </p:nvSpPr>
        <p:spPr>
          <a:xfrm>
            <a:off x="7846665" y="3083689"/>
            <a:ext cx="505450" cy="505450"/>
          </a:xfrm>
          <a:prstGeom prst="ellipse">
            <a:avLst/>
          </a:prstGeom>
          <a:solidFill>
            <a:schemeClr val="bg1">
              <a:lumMod val="95000"/>
            </a:schemeClr>
          </a:solidFill>
          <a:ln w="12700">
            <a:miter lim="400000"/>
          </a:ln>
        </p:spPr>
        <p:txBody>
          <a:bodyPr lIns="38100" tIns="38100" rIns="38100" bIns="38100" anchor="ctr"/>
          <a:lstStyle/>
          <a:p>
            <a:pPr>
              <a:defRPr sz="3000">
                <a:solidFill>
                  <a:srgbClr val="FFFFFF"/>
                </a:solidFill>
              </a:defRPr>
            </a:pPr>
            <a:endParaRPr/>
          </a:p>
        </p:txBody>
      </p:sp>
      <p:sp>
        <p:nvSpPr>
          <p:cNvPr id="9" name="Circle">
            <a:extLst>
              <a:ext uri="{FF2B5EF4-FFF2-40B4-BE49-F238E27FC236}">
                <a16:creationId xmlns:a16="http://schemas.microsoft.com/office/drawing/2014/main" id="{012D9E47-B347-767C-E585-549DE10EA508}"/>
              </a:ext>
            </a:extLst>
          </p:cNvPr>
          <p:cNvSpPr/>
          <p:nvPr/>
        </p:nvSpPr>
        <p:spPr>
          <a:xfrm>
            <a:off x="7920997" y="3158021"/>
            <a:ext cx="356787" cy="356787"/>
          </a:xfrm>
          <a:prstGeom prst="ellipse">
            <a:avLst/>
          </a:prstGeom>
          <a:solidFill>
            <a:schemeClr val="accent6"/>
          </a:solidFill>
          <a:ln w="12700">
            <a:miter lim="400000"/>
          </a:ln>
        </p:spPr>
        <p:txBody>
          <a:bodyPr lIns="38100" tIns="38100" rIns="38100" bIns="38100" anchor="ctr"/>
          <a:lstStyle/>
          <a:p>
            <a:pPr>
              <a:defRPr sz="3000">
                <a:solidFill>
                  <a:srgbClr val="FFFFFF"/>
                </a:solidFill>
              </a:defRPr>
            </a:pPr>
            <a:endParaRPr/>
          </a:p>
        </p:txBody>
      </p:sp>
      <p:sp>
        <p:nvSpPr>
          <p:cNvPr id="10" name="Circle">
            <a:extLst>
              <a:ext uri="{FF2B5EF4-FFF2-40B4-BE49-F238E27FC236}">
                <a16:creationId xmlns:a16="http://schemas.microsoft.com/office/drawing/2014/main" id="{8A3377D4-3A79-114A-3D2B-95ED849F01EC}"/>
              </a:ext>
            </a:extLst>
          </p:cNvPr>
          <p:cNvSpPr/>
          <p:nvPr/>
        </p:nvSpPr>
        <p:spPr>
          <a:xfrm>
            <a:off x="5170762" y="5632167"/>
            <a:ext cx="505450" cy="505450"/>
          </a:xfrm>
          <a:prstGeom prst="ellipse">
            <a:avLst/>
          </a:prstGeom>
          <a:solidFill>
            <a:schemeClr val="bg1">
              <a:lumMod val="95000"/>
            </a:schemeClr>
          </a:solidFill>
          <a:ln w="12700">
            <a:miter lim="400000"/>
          </a:ln>
        </p:spPr>
        <p:txBody>
          <a:bodyPr lIns="38100" tIns="38100" rIns="38100" bIns="38100" anchor="ctr"/>
          <a:lstStyle/>
          <a:p>
            <a:pPr>
              <a:defRPr sz="3000">
                <a:solidFill>
                  <a:srgbClr val="FFFFFF"/>
                </a:solidFill>
              </a:defRPr>
            </a:pPr>
            <a:endParaRPr/>
          </a:p>
        </p:txBody>
      </p:sp>
      <p:sp>
        <p:nvSpPr>
          <p:cNvPr id="11" name="Circle">
            <a:extLst>
              <a:ext uri="{FF2B5EF4-FFF2-40B4-BE49-F238E27FC236}">
                <a16:creationId xmlns:a16="http://schemas.microsoft.com/office/drawing/2014/main" id="{EC672CBA-3356-9782-B053-AAB319C27F53}"/>
              </a:ext>
            </a:extLst>
          </p:cNvPr>
          <p:cNvSpPr/>
          <p:nvPr/>
        </p:nvSpPr>
        <p:spPr>
          <a:xfrm>
            <a:off x="5245094" y="5706499"/>
            <a:ext cx="356787" cy="356787"/>
          </a:xfrm>
          <a:prstGeom prst="ellipse">
            <a:avLst/>
          </a:prstGeom>
          <a:solidFill>
            <a:schemeClr val="accent3"/>
          </a:solidFill>
          <a:ln w="12700">
            <a:miter lim="400000"/>
          </a:ln>
        </p:spPr>
        <p:txBody>
          <a:bodyPr lIns="38100" tIns="38100" rIns="38100" bIns="38100" anchor="ctr"/>
          <a:lstStyle/>
          <a:p>
            <a:pPr>
              <a:defRPr sz="3000">
                <a:solidFill>
                  <a:srgbClr val="FFFFFF"/>
                </a:solidFill>
              </a:defRPr>
            </a:pPr>
            <a:endParaRPr/>
          </a:p>
        </p:txBody>
      </p:sp>
      <p:sp>
        <p:nvSpPr>
          <p:cNvPr id="12" name="Circle">
            <a:extLst>
              <a:ext uri="{FF2B5EF4-FFF2-40B4-BE49-F238E27FC236}">
                <a16:creationId xmlns:a16="http://schemas.microsoft.com/office/drawing/2014/main" id="{2DEE4BFD-A88C-A257-C498-919018F23961}"/>
              </a:ext>
            </a:extLst>
          </p:cNvPr>
          <p:cNvSpPr/>
          <p:nvPr/>
        </p:nvSpPr>
        <p:spPr>
          <a:xfrm>
            <a:off x="6699849" y="4464115"/>
            <a:ext cx="505450" cy="505450"/>
          </a:xfrm>
          <a:prstGeom prst="ellipse">
            <a:avLst/>
          </a:prstGeom>
          <a:solidFill>
            <a:srgbClr val="FFFFFF"/>
          </a:solidFill>
          <a:ln w="12700">
            <a:miter lim="400000"/>
          </a:ln>
        </p:spPr>
        <p:txBody>
          <a:bodyPr lIns="38100" tIns="38100" rIns="38100" bIns="38100" anchor="ctr"/>
          <a:lstStyle/>
          <a:p>
            <a:pPr>
              <a:defRPr sz="3000">
                <a:solidFill>
                  <a:srgbClr val="FFFFFF"/>
                </a:solidFill>
              </a:defRPr>
            </a:pPr>
            <a:endParaRPr/>
          </a:p>
        </p:txBody>
      </p:sp>
      <p:sp>
        <p:nvSpPr>
          <p:cNvPr id="13" name="Circle">
            <a:extLst>
              <a:ext uri="{FF2B5EF4-FFF2-40B4-BE49-F238E27FC236}">
                <a16:creationId xmlns:a16="http://schemas.microsoft.com/office/drawing/2014/main" id="{C53C2128-2268-D1AE-29DA-65FD4BAA53DD}"/>
              </a:ext>
            </a:extLst>
          </p:cNvPr>
          <p:cNvSpPr/>
          <p:nvPr/>
        </p:nvSpPr>
        <p:spPr>
          <a:xfrm>
            <a:off x="6774181" y="4538447"/>
            <a:ext cx="356787" cy="356787"/>
          </a:xfrm>
          <a:prstGeom prst="ellipse">
            <a:avLst/>
          </a:prstGeom>
          <a:solidFill>
            <a:schemeClr val="accent5"/>
          </a:solidFill>
          <a:ln w="12700">
            <a:miter lim="400000"/>
          </a:ln>
        </p:spPr>
        <p:txBody>
          <a:bodyPr lIns="38100" tIns="38100" rIns="38100" bIns="38100" anchor="ctr"/>
          <a:lstStyle/>
          <a:p>
            <a:pPr>
              <a:defRPr sz="3000">
                <a:solidFill>
                  <a:srgbClr val="FFFFFF"/>
                </a:solidFill>
              </a:defRPr>
            </a:pPr>
            <a:endParaRPr/>
          </a:p>
        </p:txBody>
      </p:sp>
      <p:sp>
        <p:nvSpPr>
          <p:cNvPr id="14" name="Circle">
            <a:extLst>
              <a:ext uri="{FF2B5EF4-FFF2-40B4-BE49-F238E27FC236}">
                <a16:creationId xmlns:a16="http://schemas.microsoft.com/office/drawing/2014/main" id="{3DD5EE53-FF4D-0D1D-C82D-A623BDFD1BF1}"/>
              </a:ext>
            </a:extLst>
          </p:cNvPr>
          <p:cNvSpPr/>
          <p:nvPr/>
        </p:nvSpPr>
        <p:spPr>
          <a:xfrm>
            <a:off x="3917759" y="1873162"/>
            <a:ext cx="505450" cy="505450"/>
          </a:xfrm>
          <a:prstGeom prst="ellipse">
            <a:avLst/>
          </a:prstGeom>
          <a:solidFill>
            <a:schemeClr val="bg1">
              <a:lumMod val="95000"/>
            </a:schemeClr>
          </a:solidFill>
          <a:ln w="12700">
            <a:miter lim="400000"/>
          </a:ln>
        </p:spPr>
        <p:txBody>
          <a:bodyPr lIns="38100" tIns="38100" rIns="38100" bIns="38100" anchor="ctr"/>
          <a:lstStyle/>
          <a:p>
            <a:pPr>
              <a:defRPr sz="3000">
                <a:solidFill>
                  <a:srgbClr val="FFFFFF"/>
                </a:solidFill>
              </a:defRPr>
            </a:pPr>
            <a:endParaRPr/>
          </a:p>
        </p:txBody>
      </p:sp>
      <p:sp>
        <p:nvSpPr>
          <p:cNvPr id="15" name="Circle">
            <a:extLst>
              <a:ext uri="{FF2B5EF4-FFF2-40B4-BE49-F238E27FC236}">
                <a16:creationId xmlns:a16="http://schemas.microsoft.com/office/drawing/2014/main" id="{7DE9EAF3-2905-BC94-28CF-DDF12F654C26}"/>
              </a:ext>
            </a:extLst>
          </p:cNvPr>
          <p:cNvSpPr/>
          <p:nvPr/>
        </p:nvSpPr>
        <p:spPr>
          <a:xfrm>
            <a:off x="3992091" y="1947494"/>
            <a:ext cx="356787" cy="356787"/>
          </a:xfrm>
          <a:prstGeom prst="ellipse">
            <a:avLst/>
          </a:prstGeom>
          <a:solidFill>
            <a:schemeClr val="accent1"/>
          </a:solidFill>
          <a:ln w="12700">
            <a:miter lim="400000"/>
          </a:ln>
        </p:spPr>
        <p:txBody>
          <a:bodyPr lIns="38100" tIns="38100" rIns="38100" bIns="38100" anchor="ctr"/>
          <a:lstStyle/>
          <a:p>
            <a:pPr>
              <a:defRPr sz="3000">
                <a:solidFill>
                  <a:srgbClr val="FFFFFF"/>
                </a:solidFill>
              </a:defRPr>
            </a:pPr>
            <a:endParaRPr/>
          </a:p>
        </p:txBody>
      </p:sp>
      <p:grpSp>
        <p:nvGrpSpPr>
          <p:cNvPr id="16" name="Group 15">
            <a:extLst>
              <a:ext uri="{FF2B5EF4-FFF2-40B4-BE49-F238E27FC236}">
                <a16:creationId xmlns:a16="http://schemas.microsoft.com/office/drawing/2014/main" id="{129C2972-17F2-E2AA-2791-249B6CDCB557}"/>
              </a:ext>
            </a:extLst>
          </p:cNvPr>
          <p:cNvGrpSpPr/>
          <p:nvPr/>
        </p:nvGrpSpPr>
        <p:grpSpPr>
          <a:xfrm>
            <a:off x="8927481" y="2947244"/>
            <a:ext cx="2926080" cy="920821"/>
            <a:chOff x="8921977" y="1466725"/>
            <a:chExt cx="2926080" cy="920821"/>
          </a:xfrm>
        </p:grpSpPr>
        <p:sp>
          <p:nvSpPr>
            <p:cNvPr id="17" name="TextBox 16">
              <a:extLst>
                <a:ext uri="{FF2B5EF4-FFF2-40B4-BE49-F238E27FC236}">
                  <a16:creationId xmlns:a16="http://schemas.microsoft.com/office/drawing/2014/main" id="{3696BB05-A7E6-78C4-55D3-CB8FA595D6F2}"/>
                </a:ext>
              </a:extLst>
            </p:cNvPr>
            <p:cNvSpPr txBox="1"/>
            <p:nvPr/>
          </p:nvSpPr>
          <p:spPr>
            <a:xfrm>
              <a:off x="8921977" y="1466725"/>
              <a:ext cx="2926080" cy="461665"/>
            </a:xfrm>
            <a:prstGeom prst="rect">
              <a:avLst/>
            </a:prstGeom>
            <a:noFill/>
          </p:spPr>
          <p:txBody>
            <a:bodyPr wrap="square" lIns="0" rIns="0" rtlCol="0" anchor="b">
              <a:spAutoFit/>
            </a:bodyPr>
            <a:lstStyle/>
            <a:p>
              <a:pPr algn="ctr"/>
              <a:r>
                <a:rPr lang="en-US" sz="2400" b="1" noProof="1"/>
                <a:t>Level 2</a:t>
              </a:r>
            </a:p>
          </p:txBody>
        </p:sp>
        <p:sp>
          <p:nvSpPr>
            <p:cNvPr id="18" name="TextBox 17">
              <a:extLst>
                <a:ext uri="{FF2B5EF4-FFF2-40B4-BE49-F238E27FC236}">
                  <a16:creationId xmlns:a16="http://schemas.microsoft.com/office/drawing/2014/main" id="{F913DF24-506C-6A11-2D29-EE2CC8D42B15}"/>
                </a:ext>
              </a:extLst>
            </p:cNvPr>
            <p:cNvSpPr txBox="1"/>
            <p:nvPr/>
          </p:nvSpPr>
          <p:spPr>
            <a:xfrm>
              <a:off x="8921977" y="1925881"/>
              <a:ext cx="2926080" cy="461665"/>
            </a:xfrm>
            <a:prstGeom prst="rect">
              <a:avLst/>
            </a:prstGeom>
            <a:noFill/>
          </p:spPr>
          <p:txBody>
            <a:bodyPr wrap="square" lIns="0" rIns="0" rtlCol="0" anchor="t">
              <a:spAutoFit/>
            </a:bodyPr>
            <a:lstStyle/>
            <a:p>
              <a:r>
                <a:rPr lang="en-US" sz="1200" noProof="1">
                  <a:solidFill>
                    <a:schemeClr val="tx1">
                      <a:lumMod val="65000"/>
                      <a:lumOff val="35000"/>
                    </a:schemeClr>
                  </a:solidFill>
                </a:rPr>
                <a:t>Recall that level 2 autonomy introduces criteria and decision making about tools.</a:t>
              </a:r>
            </a:p>
          </p:txBody>
        </p:sp>
      </p:grpSp>
      <p:grpSp>
        <p:nvGrpSpPr>
          <p:cNvPr id="19" name="Group 18">
            <a:extLst>
              <a:ext uri="{FF2B5EF4-FFF2-40B4-BE49-F238E27FC236}">
                <a16:creationId xmlns:a16="http://schemas.microsoft.com/office/drawing/2014/main" id="{426E7E67-DFFE-77D6-E1BE-BD264BBD0592}"/>
              </a:ext>
            </a:extLst>
          </p:cNvPr>
          <p:cNvGrpSpPr/>
          <p:nvPr/>
        </p:nvGrpSpPr>
        <p:grpSpPr>
          <a:xfrm>
            <a:off x="8927481" y="4652338"/>
            <a:ext cx="2926080" cy="1659485"/>
            <a:chOff x="8921977" y="4073386"/>
            <a:chExt cx="2926080" cy="1659485"/>
          </a:xfrm>
        </p:grpSpPr>
        <p:sp>
          <p:nvSpPr>
            <p:cNvPr id="20" name="TextBox 19">
              <a:extLst>
                <a:ext uri="{FF2B5EF4-FFF2-40B4-BE49-F238E27FC236}">
                  <a16:creationId xmlns:a16="http://schemas.microsoft.com/office/drawing/2014/main" id="{31FE919C-F550-B95C-C7BF-1E2A301B139C}"/>
                </a:ext>
              </a:extLst>
            </p:cNvPr>
            <p:cNvSpPr txBox="1"/>
            <p:nvPr/>
          </p:nvSpPr>
          <p:spPr>
            <a:xfrm>
              <a:off x="8921977" y="4073386"/>
              <a:ext cx="2926080" cy="461665"/>
            </a:xfrm>
            <a:prstGeom prst="rect">
              <a:avLst/>
            </a:prstGeom>
            <a:noFill/>
          </p:spPr>
          <p:txBody>
            <a:bodyPr wrap="square" lIns="0" rIns="0" rtlCol="0" anchor="b">
              <a:spAutoFit/>
            </a:bodyPr>
            <a:lstStyle/>
            <a:p>
              <a:pPr algn="ctr"/>
              <a:r>
                <a:rPr lang="en-US" sz="2400" b="1" noProof="1"/>
                <a:t>Level 3</a:t>
              </a:r>
            </a:p>
          </p:txBody>
        </p:sp>
        <p:sp>
          <p:nvSpPr>
            <p:cNvPr id="21" name="TextBox 20">
              <a:extLst>
                <a:ext uri="{FF2B5EF4-FFF2-40B4-BE49-F238E27FC236}">
                  <a16:creationId xmlns:a16="http://schemas.microsoft.com/office/drawing/2014/main" id="{0936CC58-9FD0-4760-306F-C2BAB8CC2CD5}"/>
                </a:ext>
              </a:extLst>
            </p:cNvPr>
            <p:cNvSpPr txBox="1"/>
            <p:nvPr/>
          </p:nvSpPr>
          <p:spPr>
            <a:xfrm>
              <a:off x="8921977" y="4532542"/>
              <a:ext cx="2926080" cy="1200329"/>
            </a:xfrm>
            <a:prstGeom prst="rect">
              <a:avLst/>
            </a:prstGeom>
            <a:noFill/>
          </p:spPr>
          <p:txBody>
            <a:bodyPr wrap="square" lIns="0" rIns="0" rtlCol="0" anchor="t">
              <a:spAutoFit/>
            </a:bodyPr>
            <a:lstStyle/>
            <a:p>
              <a:r>
                <a:rPr lang="en-US" sz="1200" noProof="1">
                  <a:solidFill>
                    <a:schemeClr val="tx1">
                      <a:lumMod val="65000"/>
                      <a:lumOff val="35000"/>
                    </a:schemeClr>
                  </a:solidFill>
                </a:rPr>
                <a:t>The agent can comprehend how to use different tools to gain knowledge where order is important and multiple tool and communication orchestration is key for solving interconnected challenging problems.</a:t>
              </a:r>
            </a:p>
          </p:txBody>
        </p:sp>
      </p:grpSp>
      <p:grpSp>
        <p:nvGrpSpPr>
          <p:cNvPr id="22" name="Group 21">
            <a:extLst>
              <a:ext uri="{FF2B5EF4-FFF2-40B4-BE49-F238E27FC236}">
                <a16:creationId xmlns:a16="http://schemas.microsoft.com/office/drawing/2014/main" id="{659CE977-74ED-8223-BBD9-90CB6C46CCF6}"/>
              </a:ext>
            </a:extLst>
          </p:cNvPr>
          <p:cNvGrpSpPr/>
          <p:nvPr/>
        </p:nvGrpSpPr>
        <p:grpSpPr>
          <a:xfrm>
            <a:off x="338439" y="2716465"/>
            <a:ext cx="3795256" cy="1629340"/>
            <a:chOff x="332936" y="2396987"/>
            <a:chExt cx="3643088" cy="1629340"/>
          </a:xfrm>
        </p:grpSpPr>
        <p:sp>
          <p:nvSpPr>
            <p:cNvPr id="23" name="TextBox 22">
              <a:extLst>
                <a:ext uri="{FF2B5EF4-FFF2-40B4-BE49-F238E27FC236}">
                  <a16:creationId xmlns:a16="http://schemas.microsoft.com/office/drawing/2014/main" id="{6ACF0BA6-6A70-58FE-7602-8DD401D477E5}"/>
                </a:ext>
              </a:extLst>
            </p:cNvPr>
            <p:cNvSpPr txBox="1"/>
            <p:nvPr/>
          </p:nvSpPr>
          <p:spPr>
            <a:xfrm>
              <a:off x="713508" y="2396987"/>
              <a:ext cx="3262516" cy="830997"/>
            </a:xfrm>
            <a:prstGeom prst="rect">
              <a:avLst/>
            </a:prstGeom>
            <a:noFill/>
          </p:spPr>
          <p:txBody>
            <a:bodyPr wrap="square" lIns="0" rIns="0" rtlCol="0" anchor="b">
              <a:spAutoFit/>
            </a:bodyPr>
            <a:lstStyle/>
            <a:p>
              <a:r>
                <a:rPr lang="en-US" sz="2400" b="1" noProof="1"/>
                <a:t>Potential to Performance</a:t>
              </a:r>
            </a:p>
          </p:txBody>
        </p:sp>
        <p:sp>
          <p:nvSpPr>
            <p:cNvPr id="24" name="TextBox 23">
              <a:extLst>
                <a:ext uri="{FF2B5EF4-FFF2-40B4-BE49-F238E27FC236}">
                  <a16:creationId xmlns:a16="http://schemas.microsoft.com/office/drawing/2014/main" id="{993D9ADA-7148-DDF0-AB70-D0312F7CD7F5}"/>
                </a:ext>
              </a:extLst>
            </p:cNvPr>
            <p:cNvSpPr txBox="1"/>
            <p:nvPr/>
          </p:nvSpPr>
          <p:spPr>
            <a:xfrm>
              <a:off x="332936" y="3195330"/>
              <a:ext cx="2926080" cy="830997"/>
            </a:xfrm>
            <a:prstGeom prst="rect">
              <a:avLst/>
            </a:prstGeom>
            <a:noFill/>
          </p:spPr>
          <p:txBody>
            <a:bodyPr wrap="square" lIns="0" rIns="0" rtlCol="0" anchor="t">
              <a:spAutoFit/>
            </a:bodyPr>
            <a:lstStyle/>
            <a:p>
              <a:r>
                <a:rPr lang="en-US" sz="1200" noProof="1">
                  <a:solidFill>
                    <a:schemeClr val="tx1">
                      <a:lumMod val="65000"/>
                      <a:lumOff val="35000"/>
                    </a:schemeClr>
                  </a:solidFill>
                </a:rPr>
                <a:t>An AI agent is limited by their understanding of the tools capability, when to use them, and how to use them effectively.</a:t>
              </a:r>
            </a:p>
          </p:txBody>
        </p:sp>
      </p:grpSp>
      <p:grpSp>
        <p:nvGrpSpPr>
          <p:cNvPr id="25" name="Group 24">
            <a:extLst>
              <a:ext uri="{FF2B5EF4-FFF2-40B4-BE49-F238E27FC236}">
                <a16:creationId xmlns:a16="http://schemas.microsoft.com/office/drawing/2014/main" id="{94F5E9F5-6059-57A1-5E0F-A2DEDE4E4163}"/>
              </a:ext>
            </a:extLst>
          </p:cNvPr>
          <p:cNvGrpSpPr/>
          <p:nvPr/>
        </p:nvGrpSpPr>
        <p:grpSpPr>
          <a:xfrm>
            <a:off x="127038" y="4667795"/>
            <a:ext cx="3137482" cy="1459362"/>
            <a:chOff x="121534" y="4667795"/>
            <a:chExt cx="3137482" cy="1459362"/>
          </a:xfrm>
        </p:grpSpPr>
        <p:sp>
          <p:nvSpPr>
            <p:cNvPr id="26" name="TextBox 25">
              <a:extLst>
                <a:ext uri="{FF2B5EF4-FFF2-40B4-BE49-F238E27FC236}">
                  <a16:creationId xmlns:a16="http://schemas.microsoft.com/office/drawing/2014/main" id="{C9199FB6-80BB-0ED7-CA90-3CA44AD70398}"/>
                </a:ext>
              </a:extLst>
            </p:cNvPr>
            <p:cNvSpPr txBox="1"/>
            <p:nvPr/>
          </p:nvSpPr>
          <p:spPr>
            <a:xfrm>
              <a:off x="121534" y="4667795"/>
              <a:ext cx="2926080" cy="461665"/>
            </a:xfrm>
            <a:prstGeom prst="rect">
              <a:avLst/>
            </a:prstGeom>
            <a:noFill/>
          </p:spPr>
          <p:txBody>
            <a:bodyPr wrap="square" lIns="0" rIns="0" rtlCol="0" anchor="b">
              <a:spAutoFit/>
            </a:bodyPr>
            <a:lstStyle/>
            <a:p>
              <a:pPr algn="ctr"/>
              <a:r>
                <a:rPr lang="en-US" sz="2400" b="1" noProof="1"/>
                <a:t>Adaptation</a:t>
              </a:r>
            </a:p>
          </p:txBody>
        </p:sp>
        <p:sp>
          <p:nvSpPr>
            <p:cNvPr id="27" name="TextBox 26">
              <a:extLst>
                <a:ext uri="{FF2B5EF4-FFF2-40B4-BE49-F238E27FC236}">
                  <a16:creationId xmlns:a16="http://schemas.microsoft.com/office/drawing/2014/main" id="{D4A3C284-85B6-9959-04CB-7C5B15F9D904}"/>
                </a:ext>
              </a:extLst>
            </p:cNvPr>
            <p:cNvSpPr txBox="1"/>
            <p:nvPr/>
          </p:nvSpPr>
          <p:spPr>
            <a:xfrm>
              <a:off x="332936" y="5111494"/>
              <a:ext cx="2926080" cy="1015663"/>
            </a:xfrm>
            <a:prstGeom prst="rect">
              <a:avLst/>
            </a:prstGeom>
            <a:noFill/>
          </p:spPr>
          <p:txBody>
            <a:bodyPr wrap="square" lIns="0" rIns="0" rtlCol="0" anchor="t">
              <a:spAutoFit/>
            </a:bodyPr>
            <a:lstStyle/>
            <a:p>
              <a:r>
                <a:rPr lang="en-US" sz="1200" noProof="1">
                  <a:solidFill>
                    <a:schemeClr val="tx1">
                      <a:lumMod val="65000"/>
                      <a:lumOff val="35000"/>
                    </a:schemeClr>
                  </a:solidFill>
                </a:rPr>
                <a:t>With tools, AI agents can use the tools to find the missing links, connect the dots, and to improvise. Recall our example of a cab driver improvising on the fly and a train on tracks following the path of automation.</a:t>
              </a:r>
            </a:p>
          </p:txBody>
        </p:sp>
      </p:grpSp>
      <p:grpSp>
        <p:nvGrpSpPr>
          <p:cNvPr id="28" name="Group 27">
            <a:extLst>
              <a:ext uri="{FF2B5EF4-FFF2-40B4-BE49-F238E27FC236}">
                <a16:creationId xmlns:a16="http://schemas.microsoft.com/office/drawing/2014/main" id="{2A0E421D-DD95-8E7B-6AD3-761541A3963B}"/>
              </a:ext>
            </a:extLst>
          </p:cNvPr>
          <p:cNvGrpSpPr/>
          <p:nvPr/>
        </p:nvGrpSpPr>
        <p:grpSpPr>
          <a:xfrm>
            <a:off x="8927481" y="1242150"/>
            <a:ext cx="2926080" cy="1105487"/>
            <a:chOff x="8921977" y="1466725"/>
            <a:chExt cx="2926080" cy="1105487"/>
          </a:xfrm>
        </p:grpSpPr>
        <p:sp>
          <p:nvSpPr>
            <p:cNvPr id="29" name="TextBox 28">
              <a:extLst>
                <a:ext uri="{FF2B5EF4-FFF2-40B4-BE49-F238E27FC236}">
                  <a16:creationId xmlns:a16="http://schemas.microsoft.com/office/drawing/2014/main" id="{29285A49-6B80-7EE0-15A4-FEAC811F7EEE}"/>
                </a:ext>
              </a:extLst>
            </p:cNvPr>
            <p:cNvSpPr txBox="1"/>
            <p:nvPr/>
          </p:nvSpPr>
          <p:spPr>
            <a:xfrm>
              <a:off x="8921977" y="1466725"/>
              <a:ext cx="2926080" cy="461665"/>
            </a:xfrm>
            <a:prstGeom prst="rect">
              <a:avLst/>
            </a:prstGeom>
            <a:noFill/>
          </p:spPr>
          <p:txBody>
            <a:bodyPr wrap="square" lIns="0" rIns="0" rtlCol="0" anchor="b">
              <a:spAutoFit/>
            </a:bodyPr>
            <a:lstStyle/>
            <a:p>
              <a:pPr algn="ctr"/>
              <a:r>
                <a:rPr lang="en-US" sz="2400" b="1" noProof="1"/>
                <a:t>Level 1 </a:t>
              </a:r>
            </a:p>
          </p:txBody>
        </p:sp>
        <p:sp>
          <p:nvSpPr>
            <p:cNvPr id="30" name="TextBox 29">
              <a:extLst>
                <a:ext uri="{FF2B5EF4-FFF2-40B4-BE49-F238E27FC236}">
                  <a16:creationId xmlns:a16="http://schemas.microsoft.com/office/drawing/2014/main" id="{523745FD-022F-A8CF-F7CB-D65B59398049}"/>
                </a:ext>
              </a:extLst>
            </p:cNvPr>
            <p:cNvSpPr txBox="1"/>
            <p:nvPr/>
          </p:nvSpPr>
          <p:spPr>
            <a:xfrm>
              <a:off x="8921977" y="1925881"/>
              <a:ext cx="2926080" cy="646331"/>
            </a:xfrm>
            <a:prstGeom prst="rect">
              <a:avLst/>
            </a:prstGeom>
            <a:noFill/>
          </p:spPr>
          <p:txBody>
            <a:bodyPr wrap="square" lIns="0" rIns="0" rtlCol="0" anchor="t">
              <a:spAutoFit/>
            </a:bodyPr>
            <a:lstStyle/>
            <a:p>
              <a:r>
                <a:rPr lang="en-US" sz="1200" noProof="1">
                  <a:solidFill>
                    <a:schemeClr val="tx1">
                      <a:lumMod val="65000"/>
                      <a:lumOff val="35000"/>
                    </a:schemeClr>
                  </a:solidFill>
                </a:rPr>
                <a:t>Recall using predefined rule based automation like a code snippet with an if else or switch statement.</a:t>
              </a:r>
            </a:p>
          </p:txBody>
        </p:sp>
      </p:grpSp>
      <p:grpSp>
        <p:nvGrpSpPr>
          <p:cNvPr id="31" name="Group 30">
            <a:extLst>
              <a:ext uri="{FF2B5EF4-FFF2-40B4-BE49-F238E27FC236}">
                <a16:creationId xmlns:a16="http://schemas.microsoft.com/office/drawing/2014/main" id="{1458C598-FE8A-5FB0-A0EC-A3DC1E3F24F0}"/>
              </a:ext>
            </a:extLst>
          </p:cNvPr>
          <p:cNvGrpSpPr/>
          <p:nvPr/>
        </p:nvGrpSpPr>
        <p:grpSpPr>
          <a:xfrm>
            <a:off x="338440" y="888936"/>
            <a:ext cx="3795255" cy="1274035"/>
            <a:chOff x="332936" y="2274552"/>
            <a:chExt cx="3267406" cy="1274035"/>
          </a:xfrm>
        </p:grpSpPr>
        <p:sp>
          <p:nvSpPr>
            <p:cNvPr id="32" name="TextBox 31">
              <a:extLst>
                <a:ext uri="{FF2B5EF4-FFF2-40B4-BE49-F238E27FC236}">
                  <a16:creationId xmlns:a16="http://schemas.microsoft.com/office/drawing/2014/main" id="{598E79B5-A796-1F40-85DF-994FE743802E}"/>
                </a:ext>
              </a:extLst>
            </p:cNvPr>
            <p:cNvSpPr txBox="1"/>
            <p:nvPr/>
          </p:nvSpPr>
          <p:spPr>
            <a:xfrm>
              <a:off x="674262" y="2274552"/>
              <a:ext cx="2926080" cy="830997"/>
            </a:xfrm>
            <a:prstGeom prst="rect">
              <a:avLst/>
            </a:prstGeom>
            <a:noFill/>
          </p:spPr>
          <p:txBody>
            <a:bodyPr wrap="square" lIns="0" rIns="0" rtlCol="0" anchor="b">
              <a:spAutoFit/>
            </a:bodyPr>
            <a:lstStyle/>
            <a:p>
              <a:r>
                <a:rPr lang="en-US" sz="2400" b="1" noProof="1"/>
                <a:t>Building Blocks of Action</a:t>
              </a:r>
            </a:p>
          </p:txBody>
        </p:sp>
        <p:sp>
          <p:nvSpPr>
            <p:cNvPr id="33" name="TextBox 32">
              <a:extLst>
                <a:ext uri="{FF2B5EF4-FFF2-40B4-BE49-F238E27FC236}">
                  <a16:creationId xmlns:a16="http://schemas.microsoft.com/office/drawing/2014/main" id="{897F70AD-B99B-849D-3E62-3D7D05854B6E}"/>
                </a:ext>
              </a:extLst>
            </p:cNvPr>
            <p:cNvSpPr txBox="1"/>
            <p:nvPr/>
          </p:nvSpPr>
          <p:spPr>
            <a:xfrm>
              <a:off x="332936" y="3086922"/>
              <a:ext cx="2926080" cy="461665"/>
            </a:xfrm>
            <a:prstGeom prst="rect">
              <a:avLst/>
            </a:prstGeom>
            <a:noFill/>
          </p:spPr>
          <p:txBody>
            <a:bodyPr wrap="square" lIns="0" rIns="0" rtlCol="0" anchor="t">
              <a:spAutoFit/>
            </a:bodyPr>
            <a:lstStyle/>
            <a:p>
              <a:r>
                <a:rPr lang="en-US" sz="1200" noProof="1">
                  <a:solidFill>
                    <a:schemeClr val="tx1">
                      <a:lumMod val="65000"/>
                      <a:lumOff val="35000"/>
                    </a:schemeClr>
                  </a:solidFill>
                </a:rPr>
                <a:t>Tools are the bridge between abstract goals and tangible outcomes. </a:t>
              </a:r>
            </a:p>
          </p:txBody>
        </p:sp>
      </p:grpSp>
      <p:sp>
        <p:nvSpPr>
          <p:cNvPr id="34" name="Circle">
            <a:extLst>
              <a:ext uri="{FF2B5EF4-FFF2-40B4-BE49-F238E27FC236}">
                <a16:creationId xmlns:a16="http://schemas.microsoft.com/office/drawing/2014/main" id="{CA0B7350-DC9D-3D25-647B-AC6349F7ABB2}"/>
              </a:ext>
            </a:extLst>
          </p:cNvPr>
          <p:cNvSpPr/>
          <p:nvPr/>
        </p:nvSpPr>
        <p:spPr>
          <a:xfrm>
            <a:off x="264643" y="4737602"/>
            <a:ext cx="356787" cy="356787"/>
          </a:xfrm>
          <a:prstGeom prst="ellipse">
            <a:avLst/>
          </a:prstGeom>
          <a:solidFill>
            <a:schemeClr val="accent3"/>
          </a:solidFill>
          <a:ln w="12700">
            <a:miter lim="400000"/>
          </a:ln>
        </p:spPr>
        <p:txBody>
          <a:bodyPr lIns="38100" tIns="38100" rIns="38100" bIns="38100" anchor="ctr"/>
          <a:lstStyle/>
          <a:p>
            <a:pPr>
              <a:defRPr sz="3000">
                <a:solidFill>
                  <a:srgbClr val="FFFFFF"/>
                </a:solidFill>
              </a:defRPr>
            </a:pPr>
            <a:endParaRPr/>
          </a:p>
        </p:txBody>
      </p:sp>
      <p:sp>
        <p:nvSpPr>
          <p:cNvPr id="35" name="Circle">
            <a:extLst>
              <a:ext uri="{FF2B5EF4-FFF2-40B4-BE49-F238E27FC236}">
                <a16:creationId xmlns:a16="http://schemas.microsoft.com/office/drawing/2014/main" id="{4D5E8FAB-C12C-DA3B-56FF-495D625E9C5C}"/>
              </a:ext>
            </a:extLst>
          </p:cNvPr>
          <p:cNvSpPr/>
          <p:nvPr/>
        </p:nvSpPr>
        <p:spPr>
          <a:xfrm>
            <a:off x="264644" y="1168400"/>
            <a:ext cx="356787" cy="356787"/>
          </a:xfrm>
          <a:prstGeom prst="ellipse">
            <a:avLst/>
          </a:prstGeom>
          <a:solidFill>
            <a:schemeClr val="accent1"/>
          </a:solidFill>
          <a:ln w="12700">
            <a:miter lim="400000"/>
          </a:ln>
        </p:spPr>
        <p:txBody>
          <a:bodyPr lIns="38100" tIns="38100" rIns="38100" bIns="38100" anchor="ctr"/>
          <a:lstStyle/>
          <a:p>
            <a:pPr>
              <a:defRPr sz="3000">
                <a:solidFill>
                  <a:srgbClr val="FFFFFF"/>
                </a:solidFill>
              </a:defRPr>
            </a:pPr>
            <a:endParaRPr/>
          </a:p>
        </p:txBody>
      </p:sp>
      <p:sp>
        <p:nvSpPr>
          <p:cNvPr id="36" name="Circle">
            <a:extLst>
              <a:ext uri="{FF2B5EF4-FFF2-40B4-BE49-F238E27FC236}">
                <a16:creationId xmlns:a16="http://schemas.microsoft.com/office/drawing/2014/main" id="{31D82A59-8709-C937-C323-C526E16CF928}"/>
              </a:ext>
            </a:extLst>
          </p:cNvPr>
          <p:cNvSpPr/>
          <p:nvPr/>
        </p:nvSpPr>
        <p:spPr>
          <a:xfrm>
            <a:off x="11071954" y="1294588"/>
            <a:ext cx="356787" cy="356787"/>
          </a:xfrm>
          <a:prstGeom prst="ellipse">
            <a:avLst/>
          </a:prstGeom>
          <a:solidFill>
            <a:schemeClr val="accent2"/>
          </a:solidFill>
          <a:ln w="12700">
            <a:miter lim="400000"/>
          </a:ln>
        </p:spPr>
        <p:txBody>
          <a:bodyPr lIns="38100" tIns="38100" rIns="38100" bIns="38100" anchor="ctr"/>
          <a:lstStyle/>
          <a:p>
            <a:pPr>
              <a:defRPr sz="3000">
                <a:solidFill>
                  <a:srgbClr val="FFFFFF"/>
                </a:solidFill>
              </a:defRPr>
            </a:pPr>
            <a:endParaRPr/>
          </a:p>
        </p:txBody>
      </p:sp>
      <p:sp>
        <p:nvSpPr>
          <p:cNvPr id="37" name="Circle">
            <a:extLst>
              <a:ext uri="{FF2B5EF4-FFF2-40B4-BE49-F238E27FC236}">
                <a16:creationId xmlns:a16="http://schemas.microsoft.com/office/drawing/2014/main" id="{22E30614-A5FB-0FCC-2399-2D0072732B21}"/>
              </a:ext>
            </a:extLst>
          </p:cNvPr>
          <p:cNvSpPr/>
          <p:nvPr/>
        </p:nvSpPr>
        <p:spPr>
          <a:xfrm>
            <a:off x="11071954" y="2998429"/>
            <a:ext cx="356787" cy="356787"/>
          </a:xfrm>
          <a:prstGeom prst="ellipse">
            <a:avLst/>
          </a:prstGeom>
          <a:solidFill>
            <a:schemeClr val="accent6"/>
          </a:solidFill>
          <a:ln w="12700">
            <a:miter lim="400000"/>
          </a:ln>
        </p:spPr>
        <p:txBody>
          <a:bodyPr lIns="38100" tIns="38100" rIns="38100" bIns="38100" anchor="ctr"/>
          <a:lstStyle/>
          <a:p>
            <a:pPr>
              <a:defRPr sz="3000">
                <a:solidFill>
                  <a:srgbClr val="FFFFFF"/>
                </a:solidFill>
              </a:defRPr>
            </a:pPr>
            <a:endParaRPr/>
          </a:p>
        </p:txBody>
      </p:sp>
      <p:sp>
        <p:nvSpPr>
          <p:cNvPr id="38" name="Circle">
            <a:extLst>
              <a:ext uri="{FF2B5EF4-FFF2-40B4-BE49-F238E27FC236}">
                <a16:creationId xmlns:a16="http://schemas.microsoft.com/office/drawing/2014/main" id="{3A154ACF-D81C-3C75-C58D-0BC97DB803EF}"/>
              </a:ext>
            </a:extLst>
          </p:cNvPr>
          <p:cNvSpPr/>
          <p:nvPr/>
        </p:nvSpPr>
        <p:spPr>
          <a:xfrm>
            <a:off x="264643" y="3002560"/>
            <a:ext cx="356787" cy="356787"/>
          </a:xfrm>
          <a:prstGeom prst="ellipse">
            <a:avLst/>
          </a:prstGeom>
          <a:solidFill>
            <a:schemeClr val="accent4"/>
          </a:solidFill>
          <a:ln w="12700">
            <a:miter lim="400000"/>
          </a:ln>
        </p:spPr>
        <p:txBody>
          <a:bodyPr lIns="38100" tIns="38100" rIns="38100" bIns="38100" anchor="ctr"/>
          <a:lstStyle/>
          <a:p>
            <a:pPr>
              <a:defRPr sz="3000">
                <a:solidFill>
                  <a:srgbClr val="FFFFFF"/>
                </a:solidFill>
              </a:defRPr>
            </a:pPr>
            <a:endParaRPr/>
          </a:p>
        </p:txBody>
      </p:sp>
      <p:sp>
        <p:nvSpPr>
          <p:cNvPr id="39" name="Circle">
            <a:extLst>
              <a:ext uri="{FF2B5EF4-FFF2-40B4-BE49-F238E27FC236}">
                <a16:creationId xmlns:a16="http://schemas.microsoft.com/office/drawing/2014/main" id="{8759813C-229A-11AF-0188-44EFC590C655}"/>
              </a:ext>
            </a:extLst>
          </p:cNvPr>
          <p:cNvSpPr/>
          <p:nvPr/>
        </p:nvSpPr>
        <p:spPr>
          <a:xfrm>
            <a:off x="11071954" y="4715072"/>
            <a:ext cx="356787" cy="356787"/>
          </a:xfrm>
          <a:prstGeom prst="ellipse">
            <a:avLst/>
          </a:prstGeom>
          <a:solidFill>
            <a:schemeClr val="accent5"/>
          </a:solidFill>
          <a:ln w="12700">
            <a:miter lim="400000"/>
          </a:ln>
        </p:spPr>
        <p:txBody>
          <a:bodyPr lIns="38100" tIns="38100" rIns="38100" bIns="38100" anchor="ctr"/>
          <a:lstStyle/>
          <a:p>
            <a:pPr>
              <a:defRPr sz="3000">
                <a:solidFill>
                  <a:srgbClr val="FFFFFF"/>
                </a:solidFill>
              </a:defRPr>
            </a:pPr>
            <a:endParaRPr/>
          </a:p>
        </p:txBody>
      </p:sp>
    </p:spTree>
    <p:extLst>
      <p:ext uri="{BB962C8B-B14F-4D97-AF65-F5344CB8AC3E}">
        <p14:creationId xmlns:p14="http://schemas.microsoft.com/office/powerpoint/2010/main" val="390067868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EDCA4F-0F55-62D8-A368-7211B1486189}"/>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E2C4A203-887B-76F5-2EAB-AF97FBB6EACC}"/>
              </a:ext>
            </a:extLst>
          </p:cNvPr>
          <p:cNvSpPr>
            <a:spLocks noGrp="1"/>
          </p:cNvSpPr>
          <p:nvPr>
            <p:ph type="title"/>
          </p:nvPr>
        </p:nvSpPr>
        <p:spPr/>
        <p:txBody>
          <a:bodyPr/>
          <a:lstStyle/>
          <a:p>
            <a:r>
              <a:rPr lang="en-US"/>
              <a:t>Is everything with an LLM an Agent?</a:t>
            </a:r>
          </a:p>
        </p:txBody>
      </p:sp>
      <p:sp>
        <p:nvSpPr>
          <p:cNvPr id="5" name="Text Placeholder 4">
            <a:extLst>
              <a:ext uri="{FF2B5EF4-FFF2-40B4-BE49-F238E27FC236}">
                <a16:creationId xmlns:a16="http://schemas.microsoft.com/office/drawing/2014/main" id="{E825CE3C-CE84-163D-165E-E469B27BED66}"/>
              </a:ext>
            </a:extLst>
          </p:cNvPr>
          <p:cNvSpPr>
            <a:spLocks noGrp="1"/>
          </p:cNvSpPr>
          <p:nvPr>
            <p:ph type="body" sz="quarter" idx="10"/>
          </p:nvPr>
        </p:nvSpPr>
        <p:spPr>
          <a:xfrm>
            <a:off x="537472" y="4387014"/>
            <a:ext cx="11654528" cy="1506319"/>
          </a:xfrm>
        </p:spPr>
        <p:txBody>
          <a:bodyPr/>
          <a:lstStyle/>
          <a:p>
            <a:r>
              <a:rPr lang="en-US" sz="1800"/>
              <a:t>No industry consensus on what truly defines an “Agent”</a:t>
            </a:r>
          </a:p>
          <a:p>
            <a:r>
              <a:rPr lang="en-US" sz="1800"/>
              <a:t>The dichotomy of agent vs not agent is problematic in the AI landscape</a:t>
            </a:r>
          </a:p>
          <a:p>
            <a:r>
              <a:rPr lang="en-US" sz="1800"/>
              <a:t>Fails to capture nuance capabilities of different systems often misaligning expectations or underestimates the potential.</a:t>
            </a:r>
          </a:p>
          <a:p>
            <a:r>
              <a:rPr lang="en-US" sz="1800"/>
              <a:t>The agent-not agent dichotomy does align with the incremental nature of AI development in real world applications.</a:t>
            </a:r>
          </a:p>
        </p:txBody>
      </p:sp>
      <p:grpSp>
        <p:nvGrpSpPr>
          <p:cNvPr id="20" name="Group 19">
            <a:extLst>
              <a:ext uri="{FF2B5EF4-FFF2-40B4-BE49-F238E27FC236}">
                <a16:creationId xmlns:a16="http://schemas.microsoft.com/office/drawing/2014/main" id="{C13DE28E-64BD-ABF6-B8F2-71ECC46AB5B4}"/>
              </a:ext>
            </a:extLst>
          </p:cNvPr>
          <p:cNvGrpSpPr/>
          <p:nvPr/>
        </p:nvGrpSpPr>
        <p:grpSpPr>
          <a:xfrm>
            <a:off x="1048549" y="1252478"/>
            <a:ext cx="10206587" cy="2676646"/>
            <a:chOff x="992707" y="2090677"/>
            <a:chExt cx="10206587" cy="2676646"/>
          </a:xfrm>
        </p:grpSpPr>
        <p:sp>
          <p:nvSpPr>
            <p:cNvPr id="2" name="Freeform 5">
              <a:extLst>
                <a:ext uri="{FF2B5EF4-FFF2-40B4-BE49-F238E27FC236}">
                  <a16:creationId xmlns:a16="http://schemas.microsoft.com/office/drawing/2014/main" id="{3CF0E380-96E0-4F2C-113C-D485D7BED6DC}"/>
                </a:ext>
              </a:extLst>
            </p:cNvPr>
            <p:cNvSpPr/>
            <p:nvPr/>
          </p:nvSpPr>
          <p:spPr>
            <a:xfrm>
              <a:off x="6938636" y="2090677"/>
              <a:ext cx="3559143" cy="2676646"/>
            </a:xfrm>
            <a:custGeom>
              <a:avLst/>
              <a:gdLst>
                <a:gd name="connsiteX0" fmla="*/ 0 w 643326"/>
                <a:gd name="connsiteY0" fmla="*/ 0 h 483812"/>
                <a:gd name="connsiteX1" fmla="*/ 441474 w 643326"/>
                <a:gd name="connsiteY1" fmla="*/ 0 h 483812"/>
                <a:gd name="connsiteX2" fmla="*/ 643326 w 643326"/>
                <a:gd name="connsiteY2" fmla="*/ 108931 h 483812"/>
                <a:gd name="connsiteX3" fmla="*/ 606537 w 643326"/>
                <a:gd name="connsiteY3" fmla="*/ 120462 h 483812"/>
                <a:gd name="connsiteX4" fmla="*/ 441474 w 643326"/>
                <a:gd name="connsiteY4" fmla="*/ 36801 h 483812"/>
                <a:gd name="connsiteX5" fmla="*/ 46600 w 643326"/>
                <a:gd name="connsiteY5" fmla="*/ 36801 h 483812"/>
                <a:gd name="connsiteX6" fmla="*/ 0 w 643326"/>
                <a:gd name="connsiteY6" fmla="*/ 0 h 483812"/>
                <a:gd name="connsiteX7" fmla="*/ 441474 w 643326"/>
                <a:gd name="connsiteY7" fmla="*/ 447011 h 483812"/>
                <a:gd name="connsiteX8" fmla="*/ 46600 w 643326"/>
                <a:gd name="connsiteY8" fmla="*/ 447011 h 483812"/>
                <a:gd name="connsiteX9" fmla="*/ 0 w 643326"/>
                <a:gd name="connsiteY9" fmla="*/ 483812 h 483812"/>
                <a:gd name="connsiteX10" fmla="*/ 441474 w 643326"/>
                <a:gd name="connsiteY10" fmla="*/ 483812 h 483812"/>
                <a:gd name="connsiteX11" fmla="*/ 643326 w 643326"/>
                <a:gd name="connsiteY11" fmla="*/ 374881 h 483812"/>
                <a:gd name="connsiteX12" fmla="*/ 606537 w 643326"/>
                <a:gd name="connsiteY12" fmla="*/ 363350 h 483812"/>
                <a:gd name="connsiteX13" fmla="*/ 441474 w 643326"/>
                <a:gd name="connsiteY13" fmla="*/ 447011 h 483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3326" h="483812">
                  <a:moveTo>
                    <a:pt x="0" y="0"/>
                  </a:moveTo>
                  <a:lnTo>
                    <a:pt x="441474" y="0"/>
                  </a:lnTo>
                  <a:cubicBezTo>
                    <a:pt x="525600" y="0"/>
                    <a:pt x="599915" y="43425"/>
                    <a:pt x="643326" y="108931"/>
                  </a:cubicBezTo>
                  <a:cubicBezTo>
                    <a:pt x="630327" y="111139"/>
                    <a:pt x="618064" y="115065"/>
                    <a:pt x="606537" y="120462"/>
                  </a:cubicBezTo>
                  <a:cubicBezTo>
                    <a:pt x="569257" y="69677"/>
                    <a:pt x="509167" y="36801"/>
                    <a:pt x="441474" y="36801"/>
                  </a:cubicBezTo>
                  <a:lnTo>
                    <a:pt x="46600" y="36801"/>
                  </a:lnTo>
                  <a:cubicBezTo>
                    <a:pt x="32375" y="23062"/>
                    <a:pt x="16678" y="10550"/>
                    <a:pt x="0" y="0"/>
                  </a:cubicBezTo>
                  <a:close/>
                  <a:moveTo>
                    <a:pt x="441474" y="447011"/>
                  </a:moveTo>
                  <a:lnTo>
                    <a:pt x="46600" y="447011"/>
                  </a:lnTo>
                  <a:cubicBezTo>
                    <a:pt x="32375" y="460750"/>
                    <a:pt x="16678" y="473263"/>
                    <a:pt x="0" y="483812"/>
                  </a:cubicBezTo>
                  <a:lnTo>
                    <a:pt x="441474" y="483812"/>
                  </a:lnTo>
                  <a:cubicBezTo>
                    <a:pt x="525600" y="483812"/>
                    <a:pt x="599915" y="440387"/>
                    <a:pt x="643326" y="374881"/>
                  </a:cubicBezTo>
                  <a:cubicBezTo>
                    <a:pt x="630327" y="372673"/>
                    <a:pt x="618064" y="368747"/>
                    <a:pt x="606537" y="363350"/>
                  </a:cubicBezTo>
                  <a:cubicBezTo>
                    <a:pt x="569257" y="414135"/>
                    <a:pt x="509167" y="447011"/>
                    <a:pt x="441474" y="447011"/>
                  </a:cubicBezTo>
                  <a:close/>
                </a:path>
              </a:pathLst>
            </a:custGeom>
            <a:solidFill>
              <a:schemeClr val="accent4"/>
            </a:solidFill>
            <a:ln w="2453" cap="flat">
              <a:noFill/>
              <a:prstDash val="solid"/>
              <a:miter/>
            </a:ln>
          </p:spPr>
          <p:txBody>
            <a:bodyPr rtlCol="0" anchor="ctr"/>
            <a:lstStyle/>
            <a:p>
              <a:endParaRPr lang="en-US"/>
            </a:p>
          </p:txBody>
        </p:sp>
        <p:sp>
          <p:nvSpPr>
            <p:cNvPr id="3" name="Freeform 6">
              <a:extLst>
                <a:ext uri="{FF2B5EF4-FFF2-40B4-BE49-F238E27FC236}">
                  <a16:creationId xmlns:a16="http://schemas.microsoft.com/office/drawing/2014/main" id="{3A2F822D-C9BF-6F66-F1A3-E4B1713CD5ED}"/>
                </a:ext>
              </a:extLst>
            </p:cNvPr>
            <p:cNvSpPr/>
            <p:nvPr/>
          </p:nvSpPr>
          <p:spPr>
            <a:xfrm>
              <a:off x="1694222" y="2090677"/>
              <a:ext cx="3559143" cy="2676646"/>
            </a:xfrm>
            <a:custGeom>
              <a:avLst/>
              <a:gdLst>
                <a:gd name="connsiteX0" fmla="*/ 36790 w 643326"/>
                <a:gd name="connsiteY0" fmla="*/ 120462 h 483812"/>
                <a:gd name="connsiteX1" fmla="*/ 0 w 643326"/>
                <a:gd name="connsiteY1" fmla="*/ 108931 h 483812"/>
                <a:gd name="connsiteX2" fmla="*/ 201852 w 643326"/>
                <a:gd name="connsiteY2" fmla="*/ 0 h 483812"/>
                <a:gd name="connsiteX3" fmla="*/ 643326 w 643326"/>
                <a:gd name="connsiteY3" fmla="*/ 0 h 483812"/>
                <a:gd name="connsiteX4" fmla="*/ 596726 w 643326"/>
                <a:gd name="connsiteY4" fmla="*/ 36801 h 483812"/>
                <a:gd name="connsiteX5" fmla="*/ 201852 w 643326"/>
                <a:gd name="connsiteY5" fmla="*/ 36801 h 483812"/>
                <a:gd name="connsiteX6" fmla="*/ 36790 w 643326"/>
                <a:gd name="connsiteY6" fmla="*/ 120462 h 483812"/>
                <a:gd name="connsiteX7" fmla="*/ 596726 w 643326"/>
                <a:gd name="connsiteY7" fmla="*/ 447011 h 483812"/>
                <a:gd name="connsiteX8" fmla="*/ 201852 w 643326"/>
                <a:gd name="connsiteY8" fmla="*/ 447011 h 483812"/>
                <a:gd name="connsiteX9" fmla="*/ 36790 w 643326"/>
                <a:gd name="connsiteY9" fmla="*/ 363350 h 483812"/>
                <a:gd name="connsiteX10" fmla="*/ 0 w 643326"/>
                <a:gd name="connsiteY10" fmla="*/ 374881 h 483812"/>
                <a:gd name="connsiteX11" fmla="*/ 201852 w 643326"/>
                <a:gd name="connsiteY11" fmla="*/ 483812 h 483812"/>
                <a:gd name="connsiteX12" fmla="*/ 643326 w 643326"/>
                <a:gd name="connsiteY12" fmla="*/ 483812 h 483812"/>
                <a:gd name="connsiteX13" fmla="*/ 596726 w 643326"/>
                <a:gd name="connsiteY13" fmla="*/ 447011 h 483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3326" h="483812">
                  <a:moveTo>
                    <a:pt x="36790" y="120462"/>
                  </a:moveTo>
                  <a:cubicBezTo>
                    <a:pt x="25262" y="114820"/>
                    <a:pt x="12999" y="110894"/>
                    <a:pt x="0" y="108931"/>
                  </a:cubicBezTo>
                  <a:cubicBezTo>
                    <a:pt x="43412" y="43425"/>
                    <a:pt x="117726" y="0"/>
                    <a:pt x="201852" y="0"/>
                  </a:cubicBezTo>
                  <a:lnTo>
                    <a:pt x="643326" y="0"/>
                  </a:lnTo>
                  <a:cubicBezTo>
                    <a:pt x="626403" y="10550"/>
                    <a:pt x="610951" y="23062"/>
                    <a:pt x="596726" y="36801"/>
                  </a:cubicBezTo>
                  <a:lnTo>
                    <a:pt x="201852" y="36801"/>
                  </a:lnTo>
                  <a:cubicBezTo>
                    <a:pt x="134159" y="36801"/>
                    <a:pt x="74070" y="69677"/>
                    <a:pt x="36790" y="120462"/>
                  </a:cubicBezTo>
                  <a:close/>
                  <a:moveTo>
                    <a:pt x="596726" y="447011"/>
                  </a:moveTo>
                  <a:lnTo>
                    <a:pt x="201852" y="447011"/>
                  </a:lnTo>
                  <a:cubicBezTo>
                    <a:pt x="134159" y="447011"/>
                    <a:pt x="74070" y="414135"/>
                    <a:pt x="36790" y="363350"/>
                  </a:cubicBezTo>
                  <a:cubicBezTo>
                    <a:pt x="25262" y="368993"/>
                    <a:pt x="12999" y="372918"/>
                    <a:pt x="0" y="374881"/>
                  </a:cubicBezTo>
                  <a:cubicBezTo>
                    <a:pt x="43412" y="440387"/>
                    <a:pt x="117726" y="483812"/>
                    <a:pt x="201852" y="483812"/>
                  </a:cubicBezTo>
                  <a:lnTo>
                    <a:pt x="643326" y="483812"/>
                  </a:lnTo>
                  <a:cubicBezTo>
                    <a:pt x="626403" y="473263"/>
                    <a:pt x="610951" y="460750"/>
                    <a:pt x="596726" y="447011"/>
                  </a:cubicBezTo>
                  <a:close/>
                </a:path>
              </a:pathLst>
            </a:custGeom>
            <a:solidFill>
              <a:schemeClr val="accent1"/>
            </a:solidFill>
            <a:ln w="2453" cap="flat">
              <a:noFill/>
              <a:prstDash val="solid"/>
              <a:miter/>
            </a:ln>
          </p:spPr>
          <p:txBody>
            <a:bodyPr rtlCol="0" anchor="ctr"/>
            <a:lstStyle/>
            <a:p>
              <a:endParaRPr lang="en-US"/>
            </a:p>
          </p:txBody>
        </p:sp>
        <p:grpSp>
          <p:nvGrpSpPr>
            <p:cNvPr id="6" name="Group 5">
              <a:extLst>
                <a:ext uri="{FF2B5EF4-FFF2-40B4-BE49-F238E27FC236}">
                  <a16:creationId xmlns:a16="http://schemas.microsoft.com/office/drawing/2014/main" id="{DA16F985-B3F0-102F-504D-8160F4EA8B1D}"/>
                </a:ext>
              </a:extLst>
            </p:cNvPr>
            <p:cNvGrpSpPr/>
            <p:nvPr/>
          </p:nvGrpSpPr>
          <p:grpSpPr>
            <a:xfrm>
              <a:off x="4847657" y="2180261"/>
              <a:ext cx="2496688" cy="2497479"/>
              <a:chOff x="4847656" y="2149038"/>
              <a:chExt cx="2496688" cy="2497479"/>
            </a:xfrm>
          </p:grpSpPr>
          <p:sp>
            <p:nvSpPr>
              <p:cNvPr id="7" name="Freeform 3">
                <a:extLst>
                  <a:ext uri="{FF2B5EF4-FFF2-40B4-BE49-F238E27FC236}">
                    <a16:creationId xmlns:a16="http://schemas.microsoft.com/office/drawing/2014/main" id="{073A24C1-C730-26D1-187B-26E6FD88404B}"/>
                  </a:ext>
                </a:extLst>
              </p:cNvPr>
              <p:cNvSpPr/>
              <p:nvPr/>
            </p:nvSpPr>
            <p:spPr>
              <a:xfrm>
                <a:off x="4847656" y="2149038"/>
                <a:ext cx="1248344" cy="2497479"/>
              </a:xfrm>
              <a:custGeom>
                <a:avLst/>
                <a:gdLst>
                  <a:gd name="connsiteX0" fmla="*/ 225642 w 225642"/>
                  <a:gd name="connsiteY0" fmla="*/ 12512 h 451427"/>
                  <a:gd name="connsiteX1" fmla="*/ 225642 w 225642"/>
                  <a:gd name="connsiteY1" fmla="*/ 0 h 451427"/>
                  <a:gd name="connsiteX2" fmla="*/ 0 w 225642"/>
                  <a:gd name="connsiteY2" fmla="*/ 225714 h 451427"/>
                  <a:gd name="connsiteX3" fmla="*/ 225642 w 225642"/>
                  <a:gd name="connsiteY3" fmla="*/ 451427 h 451427"/>
                  <a:gd name="connsiteX4" fmla="*/ 225642 w 225642"/>
                  <a:gd name="connsiteY4" fmla="*/ 438915 h 451427"/>
                  <a:gd name="connsiteX5" fmla="*/ 12754 w 225642"/>
                  <a:gd name="connsiteY5" fmla="*/ 225959 h 451427"/>
                  <a:gd name="connsiteX6" fmla="*/ 225642 w 225642"/>
                  <a:gd name="connsiteY6" fmla="*/ 13003 h 451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5642" h="451427">
                    <a:moveTo>
                      <a:pt x="225642" y="12512"/>
                    </a:moveTo>
                    <a:lnTo>
                      <a:pt x="225642" y="0"/>
                    </a:lnTo>
                    <a:cubicBezTo>
                      <a:pt x="101294" y="0"/>
                      <a:pt x="0" y="101080"/>
                      <a:pt x="0" y="225714"/>
                    </a:cubicBezTo>
                    <a:cubicBezTo>
                      <a:pt x="0" y="350347"/>
                      <a:pt x="101049" y="451427"/>
                      <a:pt x="225642" y="451427"/>
                    </a:cubicBezTo>
                    <a:lnTo>
                      <a:pt x="225642" y="438915"/>
                    </a:lnTo>
                    <a:cubicBezTo>
                      <a:pt x="108161" y="438915"/>
                      <a:pt x="12754" y="343477"/>
                      <a:pt x="12754" y="225959"/>
                    </a:cubicBezTo>
                    <a:cubicBezTo>
                      <a:pt x="12754" y="108441"/>
                      <a:pt x="108161" y="13003"/>
                      <a:pt x="225642" y="13003"/>
                    </a:cubicBezTo>
                    <a:close/>
                  </a:path>
                </a:pathLst>
              </a:custGeom>
              <a:solidFill>
                <a:schemeClr val="accent1"/>
              </a:solidFill>
              <a:ln w="2453" cap="flat">
                <a:noFill/>
                <a:prstDash val="solid"/>
                <a:miter/>
              </a:ln>
            </p:spPr>
            <p:txBody>
              <a:bodyPr rtlCol="0" anchor="ctr"/>
              <a:lstStyle/>
              <a:p>
                <a:endParaRPr lang="en-US"/>
              </a:p>
            </p:txBody>
          </p:sp>
          <p:sp>
            <p:nvSpPr>
              <p:cNvPr id="8" name="Freeform 4">
                <a:extLst>
                  <a:ext uri="{FF2B5EF4-FFF2-40B4-BE49-F238E27FC236}">
                    <a16:creationId xmlns:a16="http://schemas.microsoft.com/office/drawing/2014/main" id="{8BA633EB-2B22-2C79-344B-01A559359714}"/>
                  </a:ext>
                </a:extLst>
              </p:cNvPr>
              <p:cNvSpPr/>
              <p:nvPr/>
            </p:nvSpPr>
            <p:spPr>
              <a:xfrm>
                <a:off x="6096000" y="2149038"/>
                <a:ext cx="1248344" cy="2497479"/>
              </a:xfrm>
              <a:custGeom>
                <a:avLst/>
                <a:gdLst>
                  <a:gd name="connsiteX0" fmla="*/ 0 w 225642"/>
                  <a:gd name="connsiteY0" fmla="*/ 12512 h 451427"/>
                  <a:gd name="connsiteX1" fmla="*/ 0 w 225642"/>
                  <a:gd name="connsiteY1" fmla="*/ 0 h 451427"/>
                  <a:gd name="connsiteX2" fmla="*/ 225642 w 225642"/>
                  <a:gd name="connsiteY2" fmla="*/ 225714 h 451427"/>
                  <a:gd name="connsiteX3" fmla="*/ 0 w 225642"/>
                  <a:gd name="connsiteY3" fmla="*/ 451427 h 451427"/>
                  <a:gd name="connsiteX4" fmla="*/ 0 w 225642"/>
                  <a:gd name="connsiteY4" fmla="*/ 438915 h 451427"/>
                  <a:gd name="connsiteX5" fmla="*/ 212889 w 225642"/>
                  <a:gd name="connsiteY5" fmla="*/ 225959 h 451427"/>
                  <a:gd name="connsiteX6" fmla="*/ 0 w 225642"/>
                  <a:gd name="connsiteY6" fmla="*/ 13003 h 451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5642" h="451427">
                    <a:moveTo>
                      <a:pt x="0" y="12512"/>
                    </a:moveTo>
                    <a:lnTo>
                      <a:pt x="0" y="0"/>
                    </a:lnTo>
                    <a:cubicBezTo>
                      <a:pt x="124349" y="0"/>
                      <a:pt x="225642" y="101080"/>
                      <a:pt x="225642" y="225714"/>
                    </a:cubicBezTo>
                    <a:cubicBezTo>
                      <a:pt x="225642" y="350347"/>
                      <a:pt x="124349" y="451427"/>
                      <a:pt x="0" y="451427"/>
                    </a:cubicBezTo>
                    <a:lnTo>
                      <a:pt x="0" y="438915"/>
                    </a:lnTo>
                    <a:cubicBezTo>
                      <a:pt x="117481" y="438915"/>
                      <a:pt x="212889" y="343477"/>
                      <a:pt x="212889" y="225959"/>
                    </a:cubicBezTo>
                    <a:cubicBezTo>
                      <a:pt x="212889" y="108441"/>
                      <a:pt x="117481" y="13003"/>
                      <a:pt x="0" y="13003"/>
                    </a:cubicBezTo>
                    <a:close/>
                  </a:path>
                </a:pathLst>
              </a:custGeom>
              <a:solidFill>
                <a:schemeClr val="accent4"/>
              </a:solidFill>
              <a:ln w="2453" cap="flat">
                <a:noFill/>
                <a:prstDash val="solid"/>
                <a:miter/>
              </a:ln>
            </p:spPr>
            <p:txBody>
              <a:bodyPr rtlCol="0" anchor="ctr"/>
              <a:lstStyle/>
              <a:p>
                <a:endParaRPr lang="en-US"/>
              </a:p>
            </p:txBody>
          </p:sp>
        </p:grpSp>
        <p:sp>
          <p:nvSpPr>
            <p:cNvPr id="9" name="Freeform 7">
              <a:extLst>
                <a:ext uri="{FF2B5EF4-FFF2-40B4-BE49-F238E27FC236}">
                  <a16:creationId xmlns:a16="http://schemas.microsoft.com/office/drawing/2014/main" id="{DF2D6FF3-421F-DAA2-897E-893CC97742A1}"/>
                </a:ext>
              </a:extLst>
            </p:cNvPr>
            <p:cNvSpPr/>
            <p:nvPr/>
          </p:nvSpPr>
          <p:spPr>
            <a:xfrm>
              <a:off x="992707" y="2846709"/>
              <a:ext cx="1164218" cy="1164583"/>
            </a:xfrm>
            <a:custGeom>
              <a:avLst/>
              <a:gdLst>
                <a:gd name="connsiteX0" fmla="*/ 105218 w 210436"/>
                <a:gd name="connsiteY0" fmla="*/ 210502 h 210502"/>
                <a:gd name="connsiteX1" fmla="*/ 0 w 210436"/>
                <a:gd name="connsiteY1" fmla="*/ 105251 h 210502"/>
                <a:gd name="connsiteX2" fmla="*/ 105218 w 210436"/>
                <a:gd name="connsiteY2" fmla="*/ 0 h 210502"/>
                <a:gd name="connsiteX3" fmla="*/ 210436 w 210436"/>
                <a:gd name="connsiteY3" fmla="*/ 105251 h 210502"/>
                <a:gd name="connsiteX4" fmla="*/ 105218 w 210436"/>
                <a:gd name="connsiteY4" fmla="*/ 210502 h 210502"/>
                <a:gd name="connsiteX5" fmla="*/ 105218 w 210436"/>
                <a:gd name="connsiteY5" fmla="*/ 12758 h 210502"/>
                <a:gd name="connsiteX6" fmla="*/ 12754 w 210436"/>
                <a:gd name="connsiteY6" fmla="*/ 105251 h 210502"/>
                <a:gd name="connsiteX7" fmla="*/ 105218 w 210436"/>
                <a:gd name="connsiteY7" fmla="*/ 197745 h 210502"/>
                <a:gd name="connsiteX8" fmla="*/ 197682 w 210436"/>
                <a:gd name="connsiteY8" fmla="*/ 105251 h 210502"/>
                <a:gd name="connsiteX9" fmla="*/ 105218 w 210436"/>
                <a:gd name="connsiteY9" fmla="*/ 12758 h 210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0436" h="210502">
                  <a:moveTo>
                    <a:pt x="105218" y="210502"/>
                  </a:moveTo>
                  <a:cubicBezTo>
                    <a:pt x="47336" y="210502"/>
                    <a:pt x="0" y="163397"/>
                    <a:pt x="0" y="105251"/>
                  </a:cubicBezTo>
                  <a:cubicBezTo>
                    <a:pt x="0" y="47105"/>
                    <a:pt x="47091" y="0"/>
                    <a:pt x="105218" y="0"/>
                  </a:cubicBezTo>
                  <a:cubicBezTo>
                    <a:pt x="163345" y="0"/>
                    <a:pt x="210436" y="47105"/>
                    <a:pt x="210436" y="105251"/>
                  </a:cubicBezTo>
                  <a:cubicBezTo>
                    <a:pt x="210436" y="163397"/>
                    <a:pt x="163345" y="210502"/>
                    <a:pt x="105218" y="210502"/>
                  </a:cubicBezTo>
                  <a:close/>
                  <a:moveTo>
                    <a:pt x="105218" y="12758"/>
                  </a:moveTo>
                  <a:cubicBezTo>
                    <a:pt x="54203" y="12758"/>
                    <a:pt x="12754" y="54220"/>
                    <a:pt x="12754" y="105251"/>
                  </a:cubicBezTo>
                  <a:cubicBezTo>
                    <a:pt x="12754" y="156282"/>
                    <a:pt x="54203" y="197745"/>
                    <a:pt x="105218" y="197745"/>
                  </a:cubicBezTo>
                  <a:cubicBezTo>
                    <a:pt x="156233" y="197745"/>
                    <a:pt x="197682" y="156282"/>
                    <a:pt x="197682" y="105251"/>
                  </a:cubicBezTo>
                  <a:cubicBezTo>
                    <a:pt x="197682" y="54220"/>
                    <a:pt x="156233" y="12758"/>
                    <a:pt x="105218" y="12758"/>
                  </a:cubicBezTo>
                  <a:close/>
                </a:path>
              </a:pathLst>
            </a:custGeom>
            <a:solidFill>
              <a:schemeClr val="accent1">
                <a:lumMod val="75000"/>
              </a:schemeClr>
            </a:solidFill>
            <a:ln w="2453" cap="flat">
              <a:noFill/>
              <a:prstDash val="solid"/>
              <a:miter/>
            </a:ln>
          </p:spPr>
          <p:txBody>
            <a:bodyPr rtlCol="0" anchor="ctr"/>
            <a:lstStyle/>
            <a:p>
              <a:endParaRPr lang="en-US"/>
            </a:p>
          </p:txBody>
        </p:sp>
        <p:sp>
          <p:nvSpPr>
            <p:cNvPr id="10" name="Freeform 8">
              <a:extLst>
                <a:ext uri="{FF2B5EF4-FFF2-40B4-BE49-F238E27FC236}">
                  <a16:creationId xmlns:a16="http://schemas.microsoft.com/office/drawing/2014/main" id="{0A18F9B3-B3F4-887C-2EC8-E9CC24EE3641}"/>
                </a:ext>
              </a:extLst>
            </p:cNvPr>
            <p:cNvSpPr/>
            <p:nvPr/>
          </p:nvSpPr>
          <p:spPr>
            <a:xfrm>
              <a:off x="10035076" y="2846709"/>
              <a:ext cx="1164218" cy="1164583"/>
            </a:xfrm>
            <a:custGeom>
              <a:avLst/>
              <a:gdLst>
                <a:gd name="connsiteX0" fmla="*/ 105218 w 210436"/>
                <a:gd name="connsiteY0" fmla="*/ 210502 h 210502"/>
                <a:gd name="connsiteX1" fmla="*/ 0 w 210436"/>
                <a:gd name="connsiteY1" fmla="*/ 105251 h 210502"/>
                <a:gd name="connsiteX2" fmla="*/ 105218 w 210436"/>
                <a:gd name="connsiteY2" fmla="*/ 0 h 210502"/>
                <a:gd name="connsiteX3" fmla="*/ 210436 w 210436"/>
                <a:gd name="connsiteY3" fmla="*/ 105251 h 210502"/>
                <a:gd name="connsiteX4" fmla="*/ 105218 w 210436"/>
                <a:gd name="connsiteY4" fmla="*/ 210502 h 210502"/>
                <a:gd name="connsiteX5" fmla="*/ 105218 w 210436"/>
                <a:gd name="connsiteY5" fmla="*/ 12758 h 210502"/>
                <a:gd name="connsiteX6" fmla="*/ 12754 w 210436"/>
                <a:gd name="connsiteY6" fmla="*/ 105251 h 210502"/>
                <a:gd name="connsiteX7" fmla="*/ 105218 w 210436"/>
                <a:gd name="connsiteY7" fmla="*/ 197745 h 210502"/>
                <a:gd name="connsiteX8" fmla="*/ 197682 w 210436"/>
                <a:gd name="connsiteY8" fmla="*/ 105251 h 210502"/>
                <a:gd name="connsiteX9" fmla="*/ 105218 w 210436"/>
                <a:gd name="connsiteY9" fmla="*/ 12758 h 210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0436" h="210502">
                  <a:moveTo>
                    <a:pt x="105218" y="210502"/>
                  </a:moveTo>
                  <a:cubicBezTo>
                    <a:pt x="47336" y="210502"/>
                    <a:pt x="0" y="163397"/>
                    <a:pt x="0" y="105251"/>
                  </a:cubicBezTo>
                  <a:cubicBezTo>
                    <a:pt x="0" y="47105"/>
                    <a:pt x="47091" y="0"/>
                    <a:pt x="105218" y="0"/>
                  </a:cubicBezTo>
                  <a:cubicBezTo>
                    <a:pt x="163346" y="0"/>
                    <a:pt x="210436" y="47105"/>
                    <a:pt x="210436" y="105251"/>
                  </a:cubicBezTo>
                  <a:cubicBezTo>
                    <a:pt x="210436" y="163397"/>
                    <a:pt x="163346" y="210502"/>
                    <a:pt x="105218" y="210502"/>
                  </a:cubicBezTo>
                  <a:close/>
                  <a:moveTo>
                    <a:pt x="105218" y="12758"/>
                  </a:moveTo>
                  <a:cubicBezTo>
                    <a:pt x="54203" y="12758"/>
                    <a:pt x="12754" y="54220"/>
                    <a:pt x="12754" y="105251"/>
                  </a:cubicBezTo>
                  <a:cubicBezTo>
                    <a:pt x="12754" y="156282"/>
                    <a:pt x="54203" y="197745"/>
                    <a:pt x="105218" y="197745"/>
                  </a:cubicBezTo>
                  <a:cubicBezTo>
                    <a:pt x="156233" y="197745"/>
                    <a:pt x="197682" y="156282"/>
                    <a:pt x="197682" y="105251"/>
                  </a:cubicBezTo>
                  <a:cubicBezTo>
                    <a:pt x="197682" y="54220"/>
                    <a:pt x="156233" y="12758"/>
                    <a:pt x="105218" y="12758"/>
                  </a:cubicBezTo>
                  <a:close/>
                </a:path>
              </a:pathLst>
            </a:custGeom>
            <a:solidFill>
              <a:schemeClr val="accent4">
                <a:lumMod val="75000"/>
              </a:schemeClr>
            </a:solidFill>
            <a:ln w="2453" cap="flat">
              <a:noFill/>
              <a:prstDash val="solid"/>
              <a:miter/>
            </a:ln>
          </p:spPr>
          <p:txBody>
            <a:bodyPr rtlCol="0" anchor="ctr"/>
            <a:lstStyle/>
            <a:p>
              <a:endParaRPr lang="en-US"/>
            </a:p>
          </p:txBody>
        </p:sp>
        <p:grpSp>
          <p:nvGrpSpPr>
            <p:cNvPr id="11" name="Group 10">
              <a:extLst>
                <a:ext uri="{FF2B5EF4-FFF2-40B4-BE49-F238E27FC236}">
                  <a16:creationId xmlns:a16="http://schemas.microsoft.com/office/drawing/2014/main" id="{DFD9495E-86DA-4BF6-A08A-0F7492C79FD8}"/>
                </a:ext>
              </a:extLst>
            </p:cNvPr>
            <p:cNvGrpSpPr/>
            <p:nvPr/>
          </p:nvGrpSpPr>
          <p:grpSpPr>
            <a:xfrm>
              <a:off x="2636982" y="2783924"/>
              <a:ext cx="1730616" cy="1290153"/>
              <a:chOff x="332936" y="2627766"/>
              <a:chExt cx="2926080" cy="1290153"/>
            </a:xfrm>
          </p:grpSpPr>
          <p:sp>
            <p:nvSpPr>
              <p:cNvPr id="12" name="TextBox 11">
                <a:extLst>
                  <a:ext uri="{FF2B5EF4-FFF2-40B4-BE49-F238E27FC236}">
                    <a16:creationId xmlns:a16="http://schemas.microsoft.com/office/drawing/2014/main" id="{F238EF23-5C4F-F7C5-03B3-4BE55C5C7D7E}"/>
                  </a:ext>
                </a:extLst>
              </p:cNvPr>
              <p:cNvSpPr txBox="1"/>
              <p:nvPr/>
            </p:nvSpPr>
            <p:spPr>
              <a:xfrm>
                <a:off x="332936" y="2627766"/>
                <a:ext cx="2926080" cy="461665"/>
              </a:xfrm>
              <a:prstGeom prst="rect">
                <a:avLst/>
              </a:prstGeom>
              <a:noFill/>
            </p:spPr>
            <p:txBody>
              <a:bodyPr wrap="square" lIns="0" rIns="0" rtlCol="0" anchor="b">
                <a:spAutoFit/>
              </a:bodyPr>
              <a:lstStyle/>
              <a:p>
                <a:pPr algn="ctr"/>
                <a:r>
                  <a:rPr lang="en-US" sz="2400" b="1" noProof="1"/>
                  <a:t>Not Agent</a:t>
                </a:r>
              </a:p>
            </p:txBody>
          </p:sp>
          <p:sp>
            <p:nvSpPr>
              <p:cNvPr id="13" name="TextBox 12">
                <a:extLst>
                  <a:ext uri="{FF2B5EF4-FFF2-40B4-BE49-F238E27FC236}">
                    <a16:creationId xmlns:a16="http://schemas.microsoft.com/office/drawing/2014/main" id="{30F02355-678F-6938-3C11-EE75F1F471BC}"/>
                  </a:ext>
                </a:extLst>
              </p:cNvPr>
              <p:cNvSpPr txBox="1"/>
              <p:nvPr/>
            </p:nvSpPr>
            <p:spPr>
              <a:xfrm>
                <a:off x="332936" y="3086922"/>
                <a:ext cx="2926080" cy="830997"/>
              </a:xfrm>
              <a:prstGeom prst="rect">
                <a:avLst/>
              </a:prstGeom>
              <a:noFill/>
            </p:spPr>
            <p:txBody>
              <a:bodyPr wrap="square" lIns="0" rIns="0" rtlCol="0" anchor="t">
                <a:spAutoFit/>
              </a:bodyPr>
              <a:lstStyle/>
              <a:p>
                <a:r>
                  <a:rPr lang="en-US" sz="1200" noProof="1">
                    <a:solidFill>
                      <a:schemeClr val="tx1">
                        <a:lumMod val="65000"/>
                        <a:lumOff val="35000"/>
                      </a:schemeClr>
                    </a:solidFill>
                  </a:rPr>
                  <a:t>If we adopt a narrow definition of an agent, we miss the opportunity unfolding with AI agents.</a:t>
                </a:r>
              </a:p>
            </p:txBody>
          </p:sp>
        </p:grpSp>
        <p:grpSp>
          <p:nvGrpSpPr>
            <p:cNvPr id="14" name="Group 13">
              <a:extLst>
                <a:ext uri="{FF2B5EF4-FFF2-40B4-BE49-F238E27FC236}">
                  <a16:creationId xmlns:a16="http://schemas.microsoft.com/office/drawing/2014/main" id="{0C862090-3843-AB6F-06D1-8B8B75CD90FA}"/>
                </a:ext>
              </a:extLst>
            </p:cNvPr>
            <p:cNvGrpSpPr/>
            <p:nvPr/>
          </p:nvGrpSpPr>
          <p:grpSpPr>
            <a:xfrm>
              <a:off x="7829467" y="2783924"/>
              <a:ext cx="1730616" cy="1844151"/>
              <a:chOff x="332936" y="2627766"/>
              <a:chExt cx="2926080" cy="1844151"/>
            </a:xfrm>
          </p:grpSpPr>
          <p:sp>
            <p:nvSpPr>
              <p:cNvPr id="15" name="TextBox 14">
                <a:extLst>
                  <a:ext uri="{FF2B5EF4-FFF2-40B4-BE49-F238E27FC236}">
                    <a16:creationId xmlns:a16="http://schemas.microsoft.com/office/drawing/2014/main" id="{5C6132B0-55E2-AE79-3A43-9A94714CE4C0}"/>
                  </a:ext>
                </a:extLst>
              </p:cNvPr>
              <p:cNvSpPr txBox="1"/>
              <p:nvPr/>
            </p:nvSpPr>
            <p:spPr>
              <a:xfrm>
                <a:off x="332936" y="2627766"/>
                <a:ext cx="2926080" cy="461665"/>
              </a:xfrm>
              <a:prstGeom prst="rect">
                <a:avLst/>
              </a:prstGeom>
              <a:noFill/>
            </p:spPr>
            <p:txBody>
              <a:bodyPr wrap="square" lIns="0" rIns="0" rtlCol="0" anchor="b">
                <a:spAutoFit/>
              </a:bodyPr>
              <a:lstStyle/>
              <a:p>
                <a:pPr algn="ctr"/>
                <a:r>
                  <a:rPr lang="en-US" sz="2400" b="1" noProof="1"/>
                  <a:t>Agent</a:t>
                </a:r>
              </a:p>
            </p:txBody>
          </p:sp>
          <p:sp>
            <p:nvSpPr>
              <p:cNvPr id="16" name="TextBox 15">
                <a:extLst>
                  <a:ext uri="{FF2B5EF4-FFF2-40B4-BE49-F238E27FC236}">
                    <a16:creationId xmlns:a16="http://schemas.microsoft.com/office/drawing/2014/main" id="{367A8585-D604-D5A5-811C-536783E886B4}"/>
                  </a:ext>
                </a:extLst>
              </p:cNvPr>
              <p:cNvSpPr txBox="1"/>
              <p:nvPr/>
            </p:nvSpPr>
            <p:spPr>
              <a:xfrm>
                <a:off x="332936" y="3086922"/>
                <a:ext cx="2926080" cy="1384995"/>
              </a:xfrm>
              <a:prstGeom prst="rect">
                <a:avLst/>
              </a:prstGeom>
              <a:noFill/>
            </p:spPr>
            <p:txBody>
              <a:bodyPr wrap="square" lIns="0" rIns="0" rtlCol="0" anchor="t">
                <a:spAutoFit/>
              </a:bodyPr>
              <a:lstStyle/>
              <a:p>
                <a:r>
                  <a:rPr lang="en-US" sz="1200" noProof="1">
                    <a:solidFill>
                      <a:schemeClr val="tx1">
                        <a:lumMod val="65000"/>
                        <a:lumOff val="35000"/>
                      </a:schemeClr>
                    </a:solidFill>
                  </a:rPr>
                  <a:t>If we say something is agentic because it has an LLM then we miss the innovations of the future where language is a mode of agentic capabilities.</a:t>
                </a:r>
              </a:p>
            </p:txBody>
          </p:sp>
        </p:grpSp>
        <p:pic>
          <p:nvPicPr>
            <p:cNvPr id="17" name="Graphic 16" descr="Artificial Intelligence with solid fill">
              <a:extLst>
                <a:ext uri="{FF2B5EF4-FFF2-40B4-BE49-F238E27FC236}">
                  <a16:creationId xmlns:a16="http://schemas.microsoft.com/office/drawing/2014/main" id="{33FA650D-F2EE-8C70-546B-E5BF405FA185}"/>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10251425" y="3063240"/>
              <a:ext cx="731520" cy="731520"/>
            </a:xfrm>
            <a:prstGeom prst="rect">
              <a:avLst/>
            </a:prstGeom>
          </p:spPr>
        </p:pic>
        <p:pic>
          <p:nvPicPr>
            <p:cNvPr id="18" name="Graphic 17" descr="Robot Hand with solid fill">
              <a:extLst>
                <a:ext uri="{FF2B5EF4-FFF2-40B4-BE49-F238E27FC236}">
                  <a16:creationId xmlns:a16="http://schemas.microsoft.com/office/drawing/2014/main" id="{67048D95-3E52-B7E0-3D90-FF8623C022CD}"/>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1209056" y="3063240"/>
              <a:ext cx="731520" cy="731520"/>
            </a:xfrm>
            <a:prstGeom prst="rect">
              <a:avLst/>
            </a:prstGeom>
          </p:spPr>
        </p:pic>
        <p:sp>
          <p:nvSpPr>
            <p:cNvPr id="19" name="TextBox 18">
              <a:extLst>
                <a:ext uri="{FF2B5EF4-FFF2-40B4-BE49-F238E27FC236}">
                  <a16:creationId xmlns:a16="http://schemas.microsoft.com/office/drawing/2014/main" id="{BA07422F-9C60-65C7-A4AD-B1564DF16E61}"/>
                </a:ext>
              </a:extLst>
            </p:cNvPr>
            <p:cNvSpPr txBox="1"/>
            <p:nvPr/>
          </p:nvSpPr>
          <p:spPr>
            <a:xfrm>
              <a:off x="5347443" y="3228944"/>
              <a:ext cx="1497116" cy="400110"/>
            </a:xfrm>
            <a:prstGeom prst="rect">
              <a:avLst/>
            </a:prstGeom>
            <a:noFill/>
          </p:spPr>
          <p:txBody>
            <a:bodyPr wrap="square" lIns="0" rIns="0" rtlCol="0" anchor="ctr">
              <a:spAutoFit/>
            </a:bodyPr>
            <a:lstStyle/>
            <a:p>
              <a:pPr algn="ctr"/>
              <a:r>
                <a:rPr lang="en-US" sz="2000" b="1" noProof="1"/>
                <a:t>Dichotomy</a:t>
              </a:r>
            </a:p>
          </p:txBody>
        </p:sp>
      </p:grpSp>
    </p:spTree>
    <p:extLst>
      <p:ext uri="{BB962C8B-B14F-4D97-AF65-F5344CB8AC3E}">
        <p14:creationId xmlns:p14="http://schemas.microsoft.com/office/powerpoint/2010/main" val="179487432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221658-7366-EA2C-568A-A51557A84FDD}"/>
              </a:ext>
            </a:extLst>
          </p:cNvPr>
          <p:cNvSpPr>
            <a:spLocks noGrp="1"/>
          </p:cNvSpPr>
          <p:nvPr>
            <p:ph type="title"/>
          </p:nvPr>
        </p:nvSpPr>
        <p:spPr/>
        <p:txBody>
          <a:bodyPr/>
          <a:lstStyle/>
          <a:p>
            <a:r>
              <a:rPr lang="en-US"/>
              <a:t>The Detective’s Dilemma</a:t>
            </a:r>
          </a:p>
        </p:txBody>
      </p:sp>
      <p:sp>
        <p:nvSpPr>
          <p:cNvPr id="3" name="Arc 2">
            <a:extLst>
              <a:ext uri="{FF2B5EF4-FFF2-40B4-BE49-F238E27FC236}">
                <a16:creationId xmlns:a16="http://schemas.microsoft.com/office/drawing/2014/main" id="{2116D158-2153-4C11-7549-2A759AE0D557}"/>
              </a:ext>
            </a:extLst>
          </p:cNvPr>
          <p:cNvSpPr/>
          <p:nvPr/>
        </p:nvSpPr>
        <p:spPr>
          <a:xfrm>
            <a:off x="3863277" y="1647289"/>
            <a:ext cx="4465447" cy="4465447"/>
          </a:xfrm>
          <a:prstGeom prst="arc">
            <a:avLst>
              <a:gd name="adj1" fmla="val 10728983"/>
              <a:gd name="adj2" fmla="val 0"/>
            </a:avLst>
          </a:prstGeom>
          <a:ln w="28575">
            <a:solidFill>
              <a:schemeClr val="bg2">
                <a:lumMod val="90000"/>
              </a:schemeClr>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 name="Circle">
            <a:extLst>
              <a:ext uri="{FF2B5EF4-FFF2-40B4-BE49-F238E27FC236}">
                <a16:creationId xmlns:a16="http://schemas.microsoft.com/office/drawing/2014/main" id="{09B7282D-F66B-016A-8293-220FE86EECC2}"/>
              </a:ext>
            </a:extLst>
          </p:cNvPr>
          <p:cNvSpPr/>
          <p:nvPr/>
        </p:nvSpPr>
        <p:spPr>
          <a:xfrm>
            <a:off x="7875573" y="3414358"/>
            <a:ext cx="908209" cy="908209"/>
          </a:xfrm>
          <a:prstGeom prst="ellipse">
            <a:avLst/>
          </a:prstGeom>
          <a:solidFill>
            <a:schemeClr val="accent5"/>
          </a:solidFill>
          <a:ln w="38100">
            <a:solidFill>
              <a:schemeClr val="accent5">
                <a:lumMod val="75000"/>
              </a:schemeClr>
            </a:solidFill>
            <a:miter lim="400000"/>
          </a:ln>
        </p:spPr>
        <p:txBody>
          <a:bodyPr lIns="38100" tIns="38100" rIns="38100" bIns="38100" anchor="ctr"/>
          <a:lstStyle/>
          <a:p>
            <a:pPr>
              <a:defRPr sz="3000"/>
            </a:pPr>
            <a:endParaRPr/>
          </a:p>
        </p:txBody>
      </p:sp>
      <p:sp>
        <p:nvSpPr>
          <p:cNvPr id="5" name="Circle">
            <a:extLst>
              <a:ext uri="{FF2B5EF4-FFF2-40B4-BE49-F238E27FC236}">
                <a16:creationId xmlns:a16="http://schemas.microsoft.com/office/drawing/2014/main" id="{AC6FB504-A797-338E-3A80-F3C398156958}"/>
              </a:ext>
            </a:extLst>
          </p:cNvPr>
          <p:cNvSpPr/>
          <p:nvPr/>
        </p:nvSpPr>
        <p:spPr>
          <a:xfrm>
            <a:off x="3408218" y="3414358"/>
            <a:ext cx="908209" cy="908209"/>
          </a:xfrm>
          <a:prstGeom prst="ellipse">
            <a:avLst/>
          </a:prstGeom>
          <a:solidFill>
            <a:schemeClr val="accent6"/>
          </a:solidFill>
          <a:ln w="38100">
            <a:solidFill>
              <a:schemeClr val="accent6">
                <a:lumMod val="75000"/>
              </a:schemeClr>
            </a:solidFill>
            <a:miter lim="400000"/>
          </a:ln>
        </p:spPr>
        <p:txBody>
          <a:bodyPr lIns="38100" tIns="38100" rIns="38100" bIns="38100" anchor="ctr"/>
          <a:lstStyle/>
          <a:p>
            <a:pPr>
              <a:defRPr sz="3000"/>
            </a:pPr>
            <a:endParaRPr/>
          </a:p>
        </p:txBody>
      </p:sp>
      <p:sp>
        <p:nvSpPr>
          <p:cNvPr id="6" name="Circle">
            <a:extLst>
              <a:ext uri="{FF2B5EF4-FFF2-40B4-BE49-F238E27FC236}">
                <a16:creationId xmlns:a16="http://schemas.microsoft.com/office/drawing/2014/main" id="{A872656D-B102-7C84-42FE-5C530EE671C3}"/>
              </a:ext>
            </a:extLst>
          </p:cNvPr>
          <p:cNvSpPr/>
          <p:nvPr/>
        </p:nvSpPr>
        <p:spPr>
          <a:xfrm>
            <a:off x="4052991" y="1848481"/>
            <a:ext cx="908209" cy="908209"/>
          </a:xfrm>
          <a:prstGeom prst="ellipse">
            <a:avLst/>
          </a:prstGeom>
          <a:solidFill>
            <a:schemeClr val="accent2"/>
          </a:solidFill>
          <a:ln w="38100">
            <a:solidFill>
              <a:schemeClr val="accent2">
                <a:lumMod val="75000"/>
              </a:schemeClr>
            </a:solidFill>
            <a:miter lim="400000"/>
          </a:ln>
        </p:spPr>
        <p:txBody>
          <a:bodyPr lIns="38100" tIns="38100" rIns="38100" bIns="38100" anchor="ctr"/>
          <a:lstStyle/>
          <a:p>
            <a:pPr>
              <a:defRPr sz="3000"/>
            </a:pPr>
            <a:endParaRPr/>
          </a:p>
        </p:txBody>
      </p:sp>
      <p:sp>
        <p:nvSpPr>
          <p:cNvPr id="7" name="Circle">
            <a:extLst>
              <a:ext uri="{FF2B5EF4-FFF2-40B4-BE49-F238E27FC236}">
                <a16:creationId xmlns:a16="http://schemas.microsoft.com/office/drawing/2014/main" id="{66325762-2758-0247-9B27-B6319CFDFDC1}"/>
              </a:ext>
            </a:extLst>
          </p:cNvPr>
          <p:cNvSpPr/>
          <p:nvPr/>
        </p:nvSpPr>
        <p:spPr>
          <a:xfrm>
            <a:off x="7184745" y="1848481"/>
            <a:ext cx="908209" cy="908209"/>
          </a:xfrm>
          <a:prstGeom prst="ellipse">
            <a:avLst/>
          </a:prstGeom>
          <a:solidFill>
            <a:schemeClr val="accent4"/>
          </a:solidFill>
          <a:ln w="38100">
            <a:solidFill>
              <a:schemeClr val="accent2"/>
            </a:solidFill>
          </a:ln>
        </p:spPr>
        <p:txBody>
          <a:bodyPr vert="horz" wrap="square" lIns="91440" tIns="45720" rIns="91440" bIns="45720" numCol="1" anchor="t" anchorCtr="0" compatLnSpc="1"/>
          <a:lstStyle/>
          <a:p>
            <a:endParaRPr>
              <a:cs typeface="+mn-ea"/>
            </a:endParaRPr>
          </a:p>
        </p:txBody>
      </p:sp>
      <p:grpSp>
        <p:nvGrpSpPr>
          <p:cNvPr id="9" name="Group 8">
            <a:extLst>
              <a:ext uri="{FF2B5EF4-FFF2-40B4-BE49-F238E27FC236}">
                <a16:creationId xmlns:a16="http://schemas.microsoft.com/office/drawing/2014/main" id="{FB6DB69C-E58C-A428-7A17-CB2869CB9B0E}"/>
              </a:ext>
            </a:extLst>
          </p:cNvPr>
          <p:cNvGrpSpPr/>
          <p:nvPr/>
        </p:nvGrpSpPr>
        <p:grpSpPr>
          <a:xfrm>
            <a:off x="5158316" y="2447199"/>
            <a:ext cx="1868924" cy="4991749"/>
            <a:chOff x="5158316" y="2447199"/>
            <a:chExt cx="1868924" cy="4991749"/>
          </a:xfrm>
        </p:grpSpPr>
        <p:sp>
          <p:nvSpPr>
            <p:cNvPr id="10" name="Shape">
              <a:extLst>
                <a:ext uri="{FF2B5EF4-FFF2-40B4-BE49-F238E27FC236}">
                  <a16:creationId xmlns:a16="http://schemas.microsoft.com/office/drawing/2014/main" id="{634B39E9-8E9F-9775-885A-D30B001D8200}"/>
                </a:ext>
              </a:extLst>
            </p:cNvPr>
            <p:cNvSpPr/>
            <p:nvPr/>
          </p:nvSpPr>
          <p:spPr>
            <a:xfrm>
              <a:off x="5895199" y="4381517"/>
              <a:ext cx="372126" cy="1912676"/>
            </a:xfrm>
            <a:custGeom>
              <a:avLst/>
              <a:gdLst/>
              <a:ahLst/>
              <a:cxnLst>
                <a:cxn ang="0">
                  <a:pos x="wd2" y="hd2"/>
                </a:cxn>
                <a:cxn ang="5400000">
                  <a:pos x="wd2" y="hd2"/>
                </a:cxn>
                <a:cxn ang="10800000">
                  <a:pos x="wd2" y="hd2"/>
                </a:cxn>
                <a:cxn ang="16200000">
                  <a:pos x="wd2" y="hd2"/>
                </a:cxn>
              </a:cxnLst>
              <a:rect l="0" t="0" r="r" b="b"/>
              <a:pathLst>
                <a:path w="21600" h="21600" extrusionOk="0">
                  <a:moveTo>
                    <a:pt x="4010" y="0"/>
                  </a:moveTo>
                  <a:lnTo>
                    <a:pt x="0" y="20482"/>
                  </a:lnTo>
                  <a:lnTo>
                    <a:pt x="107" y="20482"/>
                  </a:lnTo>
                  <a:cubicBezTo>
                    <a:pt x="588" y="21111"/>
                    <a:pt x="5186" y="21600"/>
                    <a:pt x="10800" y="21600"/>
                  </a:cubicBezTo>
                  <a:cubicBezTo>
                    <a:pt x="16441" y="21600"/>
                    <a:pt x="21012" y="21106"/>
                    <a:pt x="21493" y="20482"/>
                  </a:cubicBezTo>
                  <a:lnTo>
                    <a:pt x="21600" y="20482"/>
                  </a:lnTo>
                  <a:lnTo>
                    <a:pt x="17590" y="0"/>
                  </a:lnTo>
                  <a:lnTo>
                    <a:pt x="4010" y="0"/>
                  </a:lnTo>
                  <a:close/>
                </a:path>
              </a:pathLst>
            </a:custGeom>
            <a:solidFill>
              <a:srgbClr val="353536"/>
            </a:solidFill>
            <a:ln w="12700">
              <a:miter lim="400000"/>
            </a:ln>
          </p:spPr>
          <p:txBody>
            <a:bodyPr lIns="38100" tIns="38100" rIns="38100" bIns="38100" anchor="ctr"/>
            <a:lstStyle/>
            <a:p>
              <a:pPr>
                <a:defRPr sz="3000"/>
              </a:pPr>
              <a:endParaRPr/>
            </a:p>
          </p:txBody>
        </p:sp>
        <p:sp>
          <p:nvSpPr>
            <p:cNvPr id="11" name="Line">
              <a:extLst>
                <a:ext uri="{FF2B5EF4-FFF2-40B4-BE49-F238E27FC236}">
                  <a16:creationId xmlns:a16="http://schemas.microsoft.com/office/drawing/2014/main" id="{4DAB10F1-894C-A46B-80A9-88758F5B2755}"/>
                </a:ext>
              </a:extLst>
            </p:cNvPr>
            <p:cNvSpPr/>
            <p:nvPr/>
          </p:nvSpPr>
          <p:spPr>
            <a:xfrm>
              <a:off x="5757030" y="4243351"/>
              <a:ext cx="641096" cy="232582"/>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11933"/>
                    <a:pt x="16774" y="21600"/>
                    <a:pt x="10800" y="21600"/>
                  </a:cubicBezTo>
                  <a:cubicBezTo>
                    <a:pt x="4826" y="21600"/>
                    <a:pt x="0" y="11933"/>
                    <a:pt x="0" y="0"/>
                  </a:cubicBezTo>
                </a:path>
              </a:pathLst>
            </a:custGeom>
            <a:solidFill>
              <a:srgbClr val="000000"/>
            </a:solidFill>
            <a:ln w="12700">
              <a:miter lim="400000"/>
            </a:ln>
          </p:spPr>
          <p:txBody>
            <a:bodyPr lIns="38100" tIns="38100" rIns="38100" bIns="38100" anchor="ctr"/>
            <a:lstStyle/>
            <a:p>
              <a:pPr>
                <a:defRPr sz="3000"/>
              </a:pPr>
              <a:endParaRPr/>
            </a:p>
          </p:txBody>
        </p:sp>
        <p:sp>
          <p:nvSpPr>
            <p:cNvPr id="12" name="Shape">
              <a:extLst>
                <a:ext uri="{FF2B5EF4-FFF2-40B4-BE49-F238E27FC236}">
                  <a16:creationId xmlns:a16="http://schemas.microsoft.com/office/drawing/2014/main" id="{34F2CB25-97E9-7E28-CBE4-5B1257744012}"/>
                </a:ext>
              </a:extLst>
            </p:cNvPr>
            <p:cNvSpPr/>
            <p:nvPr/>
          </p:nvSpPr>
          <p:spPr>
            <a:xfrm>
              <a:off x="6171531" y="4565734"/>
              <a:ext cx="46516" cy="1547002"/>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6416" y="3595"/>
                    <a:pt x="9196" y="7196"/>
                    <a:pt x="14115" y="10797"/>
                  </a:cubicBezTo>
                  <a:cubicBezTo>
                    <a:pt x="16467" y="14398"/>
                    <a:pt x="20958" y="17999"/>
                    <a:pt x="21600" y="21600"/>
                  </a:cubicBezTo>
                  <a:cubicBezTo>
                    <a:pt x="15184" y="18005"/>
                    <a:pt x="12404" y="14404"/>
                    <a:pt x="7485" y="10803"/>
                  </a:cubicBezTo>
                  <a:cubicBezTo>
                    <a:pt x="5133" y="7202"/>
                    <a:pt x="856" y="3601"/>
                    <a:pt x="0" y="0"/>
                  </a:cubicBezTo>
                  <a:close/>
                </a:path>
              </a:pathLst>
            </a:custGeom>
            <a:solidFill>
              <a:srgbClr val="808184"/>
            </a:solidFill>
            <a:ln w="12700">
              <a:miter lim="400000"/>
            </a:ln>
          </p:spPr>
          <p:txBody>
            <a:bodyPr lIns="38100" tIns="38100" rIns="38100" bIns="38100" anchor="ctr"/>
            <a:lstStyle/>
            <a:p>
              <a:pPr>
                <a:defRPr sz="3000"/>
              </a:pPr>
              <a:endParaRPr/>
            </a:p>
          </p:txBody>
        </p:sp>
        <p:sp>
          <p:nvSpPr>
            <p:cNvPr id="13" name="Circle">
              <a:extLst>
                <a:ext uri="{FF2B5EF4-FFF2-40B4-BE49-F238E27FC236}">
                  <a16:creationId xmlns:a16="http://schemas.microsoft.com/office/drawing/2014/main" id="{7BA6F202-376C-54DC-7378-C13C36B553F4}"/>
                </a:ext>
              </a:extLst>
            </p:cNvPr>
            <p:cNvSpPr/>
            <p:nvPr/>
          </p:nvSpPr>
          <p:spPr>
            <a:xfrm>
              <a:off x="5250426" y="2585364"/>
              <a:ext cx="1674567" cy="1674567"/>
            </a:xfrm>
            <a:prstGeom prst="ellipse">
              <a:avLst/>
            </a:prstGeom>
            <a:solidFill>
              <a:schemeClr val="accent3">
                <a:lumMod val="20000"/>
                <a:lumOff val="80000"/>
              </a:schemeClr>
            </a:solidFill>
            <a:ln>
              <a:noFill/>
            </a:ln>
          </p:spPr>
          <p:txBody>
            <a:bodyPr vert="horz" wrap="square" lIns="91440" tIns="45720" rIns="91440" bIns="45720" numCol="1" anchor="t" anchorCtr="0" compatLnSpc="1"/>
            <a:lstStyle/>
            <a:p>
              <a:endParaRPr>
                <a:cs typeface="+mn-ea"/>
              </a:endParaRPr>
            </a:p>
          </p:txBody>
        </p:sp>
        <p:sp>
          <p:nvSpPr>
            <p:cNvPr id="14" name="Shape">
              <a:extLst>
                <a:ext uri="{FF2B5EF4-FFF2-40B4-BE49-F238E27FC236}">
                  <a16:creationId xmlns:a16="http://schemas.microsoft.com/office/drawing/2014/main" id="{21D633D8-C67C-998A-FD3A-0E639C4E2A9B}"/>
                </a:ext>
              </a:extLst>
            </p:cNvPr>
            <p:cNvSpPr/>
            <p:nvPr/>
          </p:nvSpPr>
          <p:spPr>
            <a:xfrm>
              <a:off x="5158316" y="2447199"/>
              <a:ext cx="1868924" cy="1868924"/>
            </a:xfrm>
            <a:custGeom>
              <a:avLst/>
              <a:gdLst/>
              <a:ahLst/>
              <a:cxnLst>
                <a:cxn ang="0">
                  <a:pos x="wd2" y="hd2"/>
                </a:cxn>
                <a:cxn ang="5400000">
                  <a:pos x="wd2" y="hd2"/>
                </a:cxn>
                <a:cxn ang="10800000">
                  <a:pos x="wd2" y="hd2"/>
                </a:cxn>
                <a:cxn ang="16200000">
                  <a:pos x="wd2" y="hd2"/>
                </a:cxn>
              </a:cxnLst>
              <a:rect l="0" t="0" r="r" b="b"/>
              <a:pathLst>
                <a:path w="21600" h="21600" extrusionOk="0">
                  <a:moveTo>
                    <a:pt x="10800" y="21600"/>
                  </a:moveTo>
                  <a:cubicBezTo>
                    <a:pt x="4844" y="21600"/>
                    <a:pt x="0" y="16756"/>
                    <a:pt x="0" y="10800"/>
                  </a:cubicBezTo>
                  <a:cubicBezTo>
                    <a:pt x="0" y="4844"/>
                    <a:pt x="4844" y="0"/>
                    <a:pt x="10800" y="0"/>
                  </a:cubicBezTo>
                  <a:cubicBezTo>
                    <a:pt x="16756" y="0"/>
                    <a:pt x="21600" y="4844"/>
                    <a:pt x="21600" y="10800"/>
                  </a:cubicBezTo>
                  <a:cubicBezTo>
                    <a:pt x="21600" y="16756"/>
                    <a:pt x="16751" y="21600"/>
                    <a:pt x="10800" y="21600"/>
                  </a:cubicBezTo>
                  <a:close/>
                  <a:moveTo>
                    <a:pt x="10800" y="2246"/>
                  </a:moveTo>
                  <a:cubicBezTo>
                    <a:pt x="6084" y="2246"/>
                    <a:pt x="2246" y="6084"/>
                    <a:pt x="2246" y="10800"/>
                  </a:cubicBezTo>
                  <a:cubicBezTo>
                    <a:pt x="2246" y="15516"/>
                    <a:pt x="6084" y="19354"/>
                    <a:pt x="10800" y="19354"/>
                  </a:cubicBezTo>
                  <a:cubicBezTo>
                    <a:pt x="15516" y="19354"/>
                    <a:pt x="19354" y="15516"/>
                    <a:pt x="19354" y="10800"/>
                  </a:cubicBezTo>
                  <a:cubicBezTo>
                    <a:pt x="19354" y="6084"/>
                    <a:pt x="15516" y="2246"/>
                    <a:pt x="10800" y="2246"/>
                  </a:cubicBezTo>
                  <a:close/>
                </a:path>
              </a:pathLst>
            </a:custGeom>
            <a:solidFill>
              <a:srgbClr val="353536"/>
            </a:solidFill>
            <a:ln w="12700">
              <a:miter lim="400000"/>
            </a:ln>
          </p:spPr>
          <p:txBody>
            <a:bodyPr lIns="38100" tIns="38100" rIns="38100" bIns="38100" anchor="ctr"/>
            <a:lstStyle/>
            <a:p>
              <a:pPr>
                <a:defRPr sz="3000"/>
              </a:pPr>
              <a:endParaRPr/>
            </a:p>
          </p:txBody>
        </p:sp>
        <p:sp>
          <p:nvSpPr>
            <p:cNvPr id="15" name="Shape">
              <a:extLst>
                <a:ext uri="{FF2B5EF4-FFF2-40B4-BE49-F238E27FC236}">
                  <a16:creationId xmlns:a16="http://schemas.microsoft.com/office/drawing/2014/main" id="{CA4B5EFB-AFC5-52B6-4F83-29249D8B0DBA}"/>
                </a:ext>
              </a:extLst>
            </p:cNvPr>
            <p:cNvSpPr/>
            <p:nvPr/>
          </p:nvSpPr>
          <p:spPr>
            <a:xfrm>
              <a:off x="5250423" y="3414354"/>
              <a:ext cx="1675554" cy="843735"/>
            </a:xfrm>
            <a:custGeom>
              <a:avLst/>
              <a:gdLst/>
              <a:ahLst/>
              <a:cxnLst>
                <a:cxn ang="0">
                  <a:pos x="wd2" y="hd2"/>
                </a:cxn>
                <a:cxn ang="5400000">
                  <a:pos x="wd2" y="hd2"/>
                </a:cxn>
                <a:cxn ang="10800000">
                  <a:pos x="wd2" y="hd2"/>
                </a:cxn>
                <a:cxn ang="16200000">
                  <a:pos x="wd2" y="hd2"/>
                </a:cxn>
              </a:cxnLst>
              <a:rect l="0" t="0" r="r" b="b"/>
              <a:pathLst>
                <a:path w="21577" h="21600" extrusionOk="0">
                  <a:moveTo>
                    <a:pt x="21577" y="0"/>
                  </a:moveTo>
                  <a:cubicBezTo>
                    <a:pt x="21589" y="2806"/>
                    <a:pt x="21328" y="5624"/>
                    <a:pt x="20794" y="8230"/>
                  </a:cubicBezTo>
                  <a:cubicBezTo>
                    <a:pt x="20260" y="10835"/>
                    <a:pt x="19460" y="13229"/>
                    <a:pt x="18458" y="15233"/>
                  </a:cubicBezTo>
                  <a:cubicBezTo>
                    <a:pt x="16465" y="19254"/>
                    <a:pt x="13642" y="21600"/>
                    <a:pt x="10789" y="21600"/>
                  </a:cubicBezTo>
                  <a:cubicBezTo>
                    <a:pt x="7936" y="21600"/>
                    <a:pt x="5119" y="19254"/>
                    <a:pt x="3120" y="15233"/>
                  </a:cubicBezTo>
                  <a:cubicBezTo>
                    <a:pt x="2124" y="13229"/>
                    <a:pt x="1323" y="10835"/>
                    <a:pt x="784" y="8230"/>
                  </a:cubicBezTo>
                  <a:cubicBezTo>
                    <a:pt x="256" y="5612"/>
                    <a:pt x="-11" y="2806"/>
                    <a:pt x="1" y="0"/>
                  </a:cubicBezTo>
                  <a:cubicBezTo>
                    <a:pt x="25" y="5624"/>
                    <a:pt x="1205" y="11142"/>
                    <a:pt x="3203" y="15068"/>
                  </a:cubicBezTo>
                  <a:cubicBezTo>
                    <a:pt x="5190" y="19018"/>
                    <a:pt x="7984" y="21294"/>
                    <a:pt x="10783" y="21246"/>
                  </a:cubicBezTo>
                  <a:cubicBezTo>
                    <a:pt x="13588" y="21282"/>
                    <a:pt x="16376" y="19018"/>
                    <a:pt x="18363" y="15068"/>
                  </a:cubicBezTo>
                  <a:cubicBezTo>
                    <a:pt x="20373" y="11142"/>
                    <a:pt x="21547" y="5612"/>
                    <a:pt x="21577" y="0"/>
                  </a:cubicBezTo>
                  <a:close/>
                </a:path>
              </a:pathLst>
            </a:custGeom>
            <a:solidFill>
              <a:srgbClr val="808184"/>
            </a:solidFill>
            <a:ln w="12700">
              <a:miter lim="400000"/>
            </a:ln>
          </p:spPr>
          <p:txBody>
            <a:bodyPr lIns="38100" tIns="38100" rIns="38100" bIns="38100" anchor="ctr"/>
            <a:lstStyle/>
            <a:p>
              <a:pPr>
                <a:defRPr sz="3000"/>
              </a:pPr>
              <a:endParaRPr/>
            </a:p>
          </p:txBody>
        </p:sp>
        <p:sp>
          <p:nvSpPr>
            <p:cNvPr id="16" name="Shape">
              <a:extLst>
                <a:ext uri="{FF2B5EF4-FFF2-40B4-BE49-F238E27FC236}">
                  <a16:creationId xmlns:a16="http://schemas.microsoft.com/office/drawing/2014/main" id="{052BDF76-58DD-0172-5307-CC54E15AEF9F}"/>
                </a:ext>
              </a:extLst>
            </p:cNvPr>
            <p:cNvSpPr/>
            <p:nvPr/>
          </p:nvSpPr>
          <p:spPr>
            <a:xfrm>
              <a:off x="5618868" y="2723526"/>
              <a:ext cx="1132980" cy="1132983"/>
            </a:xfrm>
            <a:custGeom>
              <a:avLst/>
              <a:gdLst/>
              <a:ahLst/>
              <a:cxnLst>
                <a:cxn ang="0">
                  <a:pos x="wd2" y="hd2"/>
                </a:cxn>
                <a:cxn ang="5400000">
                  <a:pos x="wd2" y="hd2"/>
                </a:cxn>
                <a:cxn ang="10800000">
                  <a:pos x="wd2" y="hd2"/>
                </a:cxn>
                <a:cxn ang="16200000">
                  <a:pos x="wd2" y="hd2"/>
                </a:cxn>
              </a:cxnLst>
              <a:rect l="0" t="0" r="r" b="b"/>
              <a:pathLst>
                <a:path w="21574" h="21574" extrusionOk="0">
                  <a:moveTo>
                    <a:pt x="0" y="3763"/>
                  </a:moveTo>
                  <a:cubicBezTo>
                    <a:pt x="1158" y="2587"/>
                    <a:pt x="2543" y="1631"/>
                    <a:pt x="4069" y="983"/>
                  </a:cubicBezTo>
                  <a:cubicBezTo>
                    <a:pt x="5595" y="342"/>
                    <a:pt x="7253" y="9"/>
                    <a:pt x="8910" y="0"/>
                  </a:cubicBezTo>
                  <a:cubicBezTo>
                    <a:pt x="12234" y="-26"/>
                    <a:pt x="15531" y="1333"/>
                    <a:pt x="17890" y="3684"/>
                  </a:cubicBezTo>
                  <a:cubicBezTo>
                    <a:pt x="20249" y="6043"/>
                    <a:pt x="21600" y="9340"/>
                    <a:pt x="21574" y="12664"/>
                  </a:cubicBezTo>
                  <a:cubicBezTo>
                    <a:pt x="21565" y="14321"/>
                    <a:pt x="21232" y="15979"/>
                    <a:pt x="20591" y="17505"/>
                  </a:cubicBezTo>
                  <a:cubicBezTo>
                    <a:pt x="19942" y="19031"/>
                    <a:pt x="18987" y="20416"/>
                    <a:pt x="17811" y="21574"/>
                  </a:cubicBezTo>
                  <a:cubicBezTo>
                    <a:pt x="20127" y="19215"/>
                    <a:pt x="21451" y="15953"/>
                    <a:pt x="21433" y="12664"/>
                  </a:cubicBezTo>
                  <a:cubicBezTo>
                    <a:pt x="21433" y="9375"/>
                    <a:pt x="20074" y="6130"/>
                    <a:pt x="17741" y="3833"/>
                  </a:cubicBezTo>
                  <a:cubicBezTo>
                    <a:pt x="15444" y="1500"/>
                    <a:pt x="12190" y="141"/>
                    <a:pt x="8910" y="141"/>
                  </a:cubicBezTo>
                  <a:cubicBezTo>
                    <a:pt x="5630" y="132"/>
                    <a:pt x="2359" y="1456"/>
                    <a:pt x="0" y="3763"/>
                  </a:cubicBezTo>
                  <a:close/>
                </a:path>
              </a:pathLst>
            </a:custGeom>
            <a:solidFill>
              <a:srgbClr val="FFFFFF"/>
            </a:solidFill>
            <a:ln w="12700">
              <a:solidFill>
                <a:schemeClr val="accent3">
                  <a:lumMod val="60000"/>
                  <a:lumOff val="40000"/>
                </a:schemeClr>
              </a:solidFill>
              <a:miter lim="400000"/>
            </a:ln>
          </p:spPr>
          <p:txBody>
            <a:bodyPr lIns="38100" tIns="38100" rIns="38100" bIns="38100" anchor="ctr"/>
            <a:lstStyle/>
            <a:p>
              <a:pPr>
                <a:defRPr sz="3000"/>
              </a:pPr>
              <a:endParaRPr/>
            </a:p>
          </p:txBody>
        </p:sp>
        <p:sp>
          <p:nvSpPr>
            <p:cNvPr id="17" name="Shape">
              <a:extLst>
                <a:ext uri="{FF2B5EF4-FFF2-40B4-BE49-F238E27FC236}">
                  <a16:creationId xmlns:a16="http://schemas.microsoft.com/office/drawing/2014/main" id="{D376520E-6F31-9449-032D-1CFE8D5503FF}"/>
                </a:ext>
              </a:extLst>
            </p:cNvPr>
            <p:cNvSpPr/>
            <p:nvPr/>
          </p:nvSpPr>
          <p:spPr>
            <a:xfrm>
              <a:off x="5250423" y="3414354"/>
              <a:ext cx="1675554" cy="843735"/>
            </a:xfrm>
            <a:custGeom>
              <a:avLst/>
              <a:gdLst/>
              <a:ahLst/>
              <a:cxnLst>
                <a:cxn ang="0">
                  <a:pos x="wd2" y="hd2"/>
                </a:cxn>
                <a:cxn ang="5400000">
                  <a:pos x="wd2" y="hd2"/>
                </a:cxn>
                <a:cxn ang="10800000">
                  <a:pos x="wd2" y="hd2"/>
                </a:cxn>
                <a:cxn ang="16200000">
                  <a:pos x="wd2" y="hd2"/>
                </a:cxn>
              </a:cxnLst>
              <a:rect l="0" t="0" r="r" b="b"/>
              <a:pathLst>
                <a:path w="21577" h="21600" extrusionOk="0">
                  <a:moveTo>
                    <a:pt x="21577" y="0"/>
                  </a:moveTo>
                  <a:cubicBezTo>
                    <a:pt x="21589" y="2806"/>
                    <a:pt x="21328" y="5624"/>
                    <a:pt x="20794" y="8230"/>
                  </a:cubicBezTo>
                  <a:cubicBezTo>
                    <a:pt x="20260" y="10835"/>
                    <a:pt x="19460" y="13229"/>
                    <a:pt x="18458" y="15233"/>
                  </a:cubicBezTo>
                  <a:cubicBezTo>
                    <a:pt x="16465" y="19254"/>
                    <a:pt x="13642" y="21600"/>
                    <a:pt x="10789" y="21600"/>
                  </a:cubicBezTo>
                  <a:cubicBezTo>
                    <a:pt x="7936" y="21600"/>
                    <a:pt x="5119" y="19254"/>
                    <a:pt x="3120" y="15233"/>
                  </a:cubicBezTo>
                  <a:cubicBezTo>
                    <a:pt x="2124" y="13229"/>
                    <a:pt x="1323" y="10835"/>
                    <a:pt x="784" y="8230"/>
                  </a:cubicBezTo>
                  <a:cubicBezTo>
                    <a:pt x="256" y="5612"/>
                    <a:pt x="-11" y="2806"/>
                    <a:pt x="1" y="0"/>
                  </a:cubicBezTo>
                  <a:cubicBezTo>
                    <a:pt x="25" y="5624"/>
                    <a:pt x="1205" y="11142"/>
                    <a:pt x="3203" y="15068"/>
                  </a:cubicBezTo>
                  <a:cubicBezTo>
                    <a:pt x="5190" y="19018"/>
                    <a:pt x="7984" y="21294"/>
                    <a:pt x="10783" y="21246"/>
                  </a:cubicBezTo>
                  <a:cubicBezTo>
                    <a:pt x="13588" y="21282"/>
                    <a:pt x="16376" y="19018"/>
                    <a:pt x="18363" y="15068"/>
                  </a:cubicBezTo>
                  <a:cubicBezTo>
                    <a:pt x="20373" y="11142"/>
                    <a:pt x="21547" y="5612"/>
                    <a:pt x="21577" y="0"/>
                  </a:cubicBezTo>
                  <a:close/>
                </a:path>
              </a:pathLst>
            </a:custGeom>
            <a:solidFill>
              <a:srgbClr val="808184"/>
            </a:solidFill>
            <a:ln w="12700">
              <a:miter lim="400000"/>
            </a:ln>
          </p:spPr>
          <p:txBody>
            <a:bodyPr lIns="38100" tIns="38100" rIns="38100" bIns="38100" anchor="ctr"/>
            <a:lstStyle/>
            <a:p>
              <a:pPr>
                <a:defRPr sz="3000"/>
              </a:pPr>
              <a:endParaRPr/>
            </a:p>
          </p:txBody>
        </p:sp>
        <p:sp>
          <p:nvSpPr>
            <p:cNvPr id="18" name="Shape">
              <a:extLst>
                <a:ext uri="{FF2B5EF4-FFF2-40B4-BE49-F238E27FC236}">
                  <a16:creationId xmlns:a16="http://schemas.microsoft.com/office/drawing/2014/main" id="{12BF332A-D41D-632C-5D1E-D6B78A8DDDCC}"/>
                </a:ext>
              </a:extLst>
            </p:cNvPr>
            <p:cNvSpPr/>
            <p:nvPr/>
          </p:nvSpPr>
          <p:spPr>
            <a:xfrm>
              <a:off x="5342533" y="4703904"/>
              <a:ext cx="1413449" cy="2735044"/>
            </a:xfrm>
            <a:custGeom>
              <a:avLst/>
              <a:gdLst/>
              <a:ahLst/>
              <a:cxnLst>
                <a:cxn ang="0">
                  <a:pos x="wd2" y="hd2"/>
                </a:cxn>
                <a:cxn ang="5400000">
                  <a:pos x="wd2" y="hd2"/>
                </a:cxn>
                <a:cxn ang="10800000">
                  <a:pos x="wd2" y="hd2"/>
                </a:cxn>
                <a:cxn ang="16200000">
                  <a:pos x="wd2" y="hd2"/>
                </a:cxn>
              </a:cxnLst>
              <a:rect l="0" t="0" r="r" b="b"/>
              <a:pathLst>
                <a:path w="21281" h="21433" extrusionOk="0">
                  <a:moveTo>
                    <a:pt x="8068" y="21433"/>
                  </a:moveTo>
                  <a:cubicBezTo>
                    <a:pt x="8068" y="21433"/>
                    <a:pt x="7326" y="18636"/>
                    <a:pt x="7229" y="18282"/>
                  </a:cubicBezTo>
                  <a:cubicBezTo>
                    <a:pt x="7132" y="17929"/>
                    <a:pt x="6425" y="17059"/>
                    <a:pt x="5815" y="16539"/>
                  </a:cubicBezTo>
                  <a:cubicBezTo>
                    <a:pt x="5205" y="16019"/>
                    <a:pt x="4851" y="14630"/>
                    <a:pt x="4366" y="14042"/>
                  </a:cubicBezTo>
                  <a:cubicBezTo>
                    <a:pt x="3880" y="13457"/>
                    <a:pt x="3332" y="11898"/>
                    <a:pt x="3367" y="10440"/>
                  </a:cubicBezTo>
                  <a:cubicBezTo>
                    <a:pt x="3367" y="10440"/>
                    <a:pt x="2986" y="10487"/>
                    <a:pt x="2674" y="10324"/>
                  </a:cubicBezTo>
                  <a:cubicBezTo>
                    <a:pt x="2362" y="10162"/>
                    <a:pt x="2403" y="9938"/>
                    <a:pt x="2403" y="9938"/>
                  </a:cubicBezTo>
                  <a:cubicBezTo>
                    <a:pt x="2403" y="9938"/>
                    <a:pt x="1308" y="10332"/>
                    <a:pt x="746" y="10130"/>
                  </a:cubicBezTo>
                  <a:cubicBezTo>
                    <a:pt x="184" y="9927"/>
                    <a:pt x="108" y="9772"/>
                    <a:pt x="87" y="9610"/>
                  </a:cubicBezTo>
                  <a:cubicBezTo>
                    <a:pt x="87" y="9610"/>
                    <a:pt x="-114" y="9523"/>
                    <a:pt x="94" y="9303"/>
                  </a:cubicBezTo>
                  <a:cubicBezTo>
                    <a:pt x="302" y="9083"/>
                    <a:pt x="989" y="8462"/>
                    <a:pt x="989" y="8462"/>
                  </a:cubicBezTo>
                  <a:cubicBezTo>
                    <a:pt x="989" y="8462"/>
                    <a:pt x="364" y="8311"/>
                    <a:pt x="177" y="8040"/>
                  </a:cubicBezTo>
                  <a:cubicBezTo>
                    <a:pt x="-10" y="7769"/>
                    <a:pt x="274" y="7520"/>
                    <a:pt x="503" y="7354"/>
                  </a:cubicBezTo>
                  <a:cubicBezTo>
                    <a:pt x="732" y="7188"/>
                    <a:pt x="1363" y="6687"/>
                    <a:pt x="1654" y="6387"/>
                  </a:cubicBezTo>
                  <a:cubicBezTo>
                    <a:pt x="1945" y="6087"/>
                    <a:pt x="2237" y="5683"/>
                    <a:pt x="2611" y="5452"/>
                  </a:cubicBezTo>
                  <a:cubicBezTo>
                    <a:pt x="2993" y="5221"/>
                    <a:pt x="3818" y="4868"/>
                    <a:pt x="3818" y="4868"/>
                  </a:cubicBezTo>
                  <a:cubicBezTo>
                    <a:pt x="3818" y="4868"/>
                    <a:pt x="3298" y="4622"/>
                    <a:pt x="3256" y="4474"/>
                  </a:cubicBezTo>
                  <a:cubicBezTo>
                    <a:pt x="3214" y="4326"/>
                    <a:pt x="3908" y="3900"/>
                    <a:pt x="4151" y="3742"/>
                  </a:cubicBezTo>
                  <a:cubicBezTo>
                    <a:pt x="4393" y="3583"/>
                    <a:pt x="5156" y="2958"/>
                    <a:pt x="5517" y="2720"/>
                  </a:cubicBezTo>
                  <a:cubicBezTo>
                    <a:pt x="5877" y="2482"/>
                    <a:pt x="6453" y="2118"/>
                    <a:pt x="6709" y="2035"/>
                  </a:cubicBezTo>
                  <a:cubicBezTo>
                    <a:pt x="6966" y="1952"/>
                    <a:pt x="7895" y="1789"/>
                    <a:pt x="8228" y="1663"/>
                  </a:cubicBezTo>
                  <a:cubicBezTo>
                    <a:pt x="8228" y="1663"/>
                    <a:pt x="8464" y="862"/>
                    <a:pt x="9469" y="349"/>
                  </a:cubicBezTo>
                  <a:cubicBezTo>
                    <a:pt x="10475" y="-167"/>
                    <a:pt x="11820" y="13"/>
                    <a:pt x="12132" y="118"/>
                  </a:cubicBezTo>
                  <a:cubicBezTo>
                    <a:pt x="12444" y="223"/>
                    <a:pt x="12985" y="479"/>
                    <a:pt x="13331" y="851"/>
                  </a:cubicBezTo>
                  <a:cubicBezTo>
                    <a:pt x="13331" y="851"/>
                    <a:pt x="13886" y="815"/>
                    <a:pt x="14482" y="1024"/>
                  </a:cubicBezTo>
                  <a:cubicBezTo>
                    <a:pt x="15079" y="1233"/>
                    <a:pt x="15474" y="1598"/>
                    <a:pt x="16036" y="2092"/>
                  </a:cubicBezTo>
                  <a:cubicBezTo>
                    <a:pt x="16597" y="2587"/>
                    <a:pt x="18747" y="4474"/>
                    <a:pt x="19232" y="4868"/>
                  </a:cubicBezTo>
                  <a:cubicBezTo>
                    <a:pt x="19718" y="5261"/>
                    <a:pt x="20349" y="5651"/>
                    <a:pt x="20702" y="6012"/>
                  </a:cubicBezTo>
                  <a:cubicBezTo>
                    <a:pt x="21056" y="6373"/>
                    <a:pt x="21202" y="6780"/>
                    <a:pt x="21063" y="7195"/>
                  </a:cubicBezTo>
                  <a:cubicBezTo>
                    <a:pt x="21063" y="7195"/>
                    <a:pt x="21486" y="7502"/>
                    <a:pt x="21153" y="8170"/>
                  </a:cubicBezTo>
                  <a:cubicBezTo>
                    <a:pt x="20813" y="8841"/>
                    <a:pt x="19593" y="10465"/>
                    <a:pt x="19149" y="11238"/>
                  </a:cubicBezTo>
                  <a:cubicBezTo>
                    <a:pt x="18705" y="12013"/>
                    <a:pt x="17707" y="13912"/>
                    <a:pt x="17430" y="15258"/>
                  </a:cubicBezTo>
                  <a:cubicBezTo>
                    <a:pt x="17145" y="16600"/>
                    <a:pt x="17672" y="19286"/>
                    <a:pt x="18171" y="20794"/>
                  </a:cubicBezTo>
                  <a:lnTo>
                    <a:pt x="8068" y="21433"/>
                  </a:lnTo>
                  <a:close/>
                </a:path>
              </a:pathLst>
            </a:custGeom>
            <a:solidFill>
              <a:srgbClr val="F9D3A8"/>
            </a:solidFill>
            <a:ln w="12700">
              <a:miter lim="400000"/>
            </a:ln>
          </p:spPr>
          <p:txBody>
            <a:bodyPr lIns="38100" tIns="38100" rIns="38100" bIns="38100" anchor="ctr"/>
            <a:lstStyle/>
            <a:p>
              <a:pPr>
                <a:defRPr sz="3000"/>
              </a:pPr>
              <a:endParaRPr/>
            </a:p>
          </p:txBody>
        </p:sp>
        <p:sp>
          <p:nvSpPr>
            <p:cNvPr id="19" name="Shape">
              <a:extLst>
                <a:ext uri="{FF2B5EF4-FFF2-40B4-BE49-F238E27FC236}">
                  <a16:creationId xmlns:a16="http://schemas.microsoft.com/office/drawing/2014/main" id="{6334C737-67ED-A5A6-586F-E481C354278D}"/>
                </a:ext>
              </a:extLst>
            </p:cNvPr>
            <p:cNvSpPr/>
            <p:nvPr/>
          </p:nvSpPr>
          <p:spPr>
            <a:xfrm>
              <a:off x="5572809" y="4934180"/>
              <a:ext cx="322390" cy="1120530"/>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864" y="20188"/>
                  </a:lnTo>
                  <a:cubicBezTo>
                    <a:pt x="1173" y="19727"/>
                    <a:pt x="926" y="19256"/>
                    <a:pt x="895" y="18777"/>
                  </a:cubicBezTo>
                  <a:cubicBezTo>
                    <a:pt x="771" y="18289"/>
                    <a:pt x="1234" y="17774"/>
                    <a:pt x="1851" y="17330"/>
                  </a:cubicBezTo>
                  <a:cubicBezTo>
                    <a:pt x="2438" y="16877"/>
                    <a:pt x="3117" y="16433"/>
                    <a:pt x="3888" y="15998"/>
                  </a:cubicBezTo>
                  <a:cubicBezTo>
                    <a:pt x="5338" y="15119"/>
                    <a:pt x="7406" y="14329"/>
                    <a:pt x="9288" y="13565"/>
                  </a:cubicBezTo>
                  <a:cubicBezTo>
                    <a:pt x="11201" y="12784"/>
                    <a:pt x="12929" y="11985"/>
                    <a:pt x="14379" y="11142"/>
                  </a:cubicBezTo>
                  <a:cubicBezTo>
                    <a:pt x="15922" y="10352"/>
                    <a:pt x="16385" y="9402"/>
                    <a:pt x="16848" y="8461"/>
                  </a:cubicBezTo>
                  <a:cubicBezTo>
                    <a:pt x="17249" y="7537"/>
                    <a:pt x="17558" y="6543"/>
                    <a:pt x="17897" y="5629"/>
                  </a:cubicBezTo>
                  <a:cubicBezTo>
                    <a:pt x="17990" y="3720"/>
                    <a:pt x="18946" y="1758"/>
                    <a:pt x="21600" y="0"/>
                  </a:cubicBezTo>
                  <a:cubicBezTo>
                    <a:pt x="19563" y="1829"/>
                    <a:pt x="18977" y="3729"/>
                    <a:pt x="19131" y="5637"/>
                  </a:cubicBezTo>
                  <a:cubicBezTo>
                    <a:pt x="18977" y="6632"/>
                    <a:pt x="18669" y="7546"/>
                    <a:pt x="18298" y="8514"/>
                  </a:cubicBezTo>
                  <a:cubicBezTo>
                    <a:pt x="17866" y="9455"/>
                    <a:pt x="17465" y="10458"/>
                    <a:pt x="15799" y="11355"/>
                  </a:cubicBezTo>
                  <a:cubicBezTo>
                    <a:pt x="14256" y="12216"/>
                    <a:pt x="12436" y="13033"/>
                    <a:pt x="10461" y="13814"/>
                  </a:cubicBezTo>
                  <a:cubicBezTo>
                    <a:pt x="8455" y="14595"/>
                    <a:pt x="6542" y="15341"/>
                    <a:pt x="4968" y="16176"/>
                  </a:cubicBezTo>
                  <a:cubicBezTo>
                    <a:pt x="4166" y="16584"/>
                    <a:pt x="3425" y="17010"/>
                    <a:pt x="2808" y="17445"/>
                  </a:cubicBezTo>
                  <a:cubicBezTo>
                    <a:pt x="2129" y="17889"/>
                    <a:pt x="1666" y="18306"/>
                    <a:pt x="1697" y="18777"/>
                  </a:cubicBezTo>
                  <a:cubicBezTo>
                    <a:pt x="1605" y="19247"/>
                    <a:pt x="1759" y="19736"/>
                    <a:pt x="1296" y="20215"/>
                  </a:cubicBezTo>
                  <a:lnTo>
                    <a:pt x="0" y="21600"/>
                  </a:lnTo>
                  <a:close/>
                </a:path>
              </a:pathLst>
            </a:custGeom>
            <a:solidFill>
              <a:srgbClr val="E69D7F"/>
            </a:solidFill>
            <a:ln w="12700">
              <a:miter lim="400000"/>
            </a:ln>
          </p:spPr>
          <p:txBody>
            <a:bodyPr lIns="38100" tIns="38100" rIns="38100" bIns="38100" anchor="ctr"/>
            <a:lstStyle/>
            <a:p>
              <a:pPr>
                <a:defRPr sz="3000"/>
              </a:pPr>
              <a:endParaRPr/>
            </a:p>
          </p:txBody>
        </p:sp>
        <p:sp>
          <p:nvSpPr>
            <p:cNvPr id="20" name="Shape">
              <a:extLst>
                <a:ext uri="{FF2B5EF4-FFF2-40B4-BE49-F238E27FC236}">
                  <a16:creationId xmlns:a16="http://schemas.microsoft.com/office/drawing/2014/main" id="{0AE817F6-779F-57E4-F45E-A32C45CB4B62}"/>
                </a:ext>
              </a:extLst>
            </p:cNvPr>
            <p:cNvSpPr/>
            <p:nvPr/>
          </p:nvSpPr>
          <p:spPr>
            <a:xfrm>
              <a:off x="6171531" y="4842065"/>
              <a:ext cx="131896" cy="996178"/>
            </a:xfrm>
            <a:custGeom>
              <a:avLst/>
              <a:gdLst/>
              <a:ahLst/>
              <a:cxnLst>
                <a:cxn ang="0">
                  <a:pos x="wd2" y="hd2"/>
                </a:cxn>
                <a:cxn ang="5400000">
                  <a:pos x="wd2" y="hd2"/>
                </a:cxn>
                <a:cxn ang="10800000">
                  <a:pos x="wd2" y="hd2"/>
                </a:cxn>
                <a:cxn ang="16200000">
                  <a:pos x="wd2" y="hd2"/>
                </a:cxn>
              </a:cxnLst>
              <a:rect l="0" t="0" r="r" b="b"/>
              <a:pathLst>
                <a:path w="21257" h="21600" extrusionOk="0">
                  <a:moveTo>
                    <a:pt x="14574" y="0"/>
                  </a:moveTo>
                  <a:cubicBezTo>
                    <a:pt x="17914" y="1797"/>
                    <a:pt x="20512" y="3615"/>
                    <a:pt x="21180" y="5482"/>
                  </a:cubicBezTo>
                  <a:cubicBezTo>
                    <a:pt x="21477" y="6421"/>
                    <a:pt x="20883" y="7350"/>
                    <a:pt x="19918" y="8278"/>
                  </a:cubicBezTo>
                  <a:cubicBezTo>
                    <a:pt x="18879" y="9207"/>
                    <a:pt x="17469" y="10126"/>
                    <a:pt x="14796" y="11025"/>
                  </a:cubicBezTo>
                  <a:lnTo>
                    <a:pt x="7671" y="13611"/>
                  </a:lnTo>
                  <a:cubicBezTo>
                    <a:pt x="6260" y="14060"/>
                    <a:pt x="5518" y="14390"/>
                    <a:pt x="5889" y="14849"/>
                  </a:cubicBezTo>
                  <a:cubicBezTo>
                    <a:pt x="6038" y="15289"/>
                    <a:pt x="7003" y="15748"/>
                    <a:pt x="6335" y="16277"/>
                  </a:cubicBezTo>
                  <a:cubicBezTo>
                    <a:pt x="5518" y="16767"/>
                    <a:pt x="4182" y="17186"/>
                    <a:pt x="3143" y="17616"/>
                  </a:cubicBezTo>
                  <a:cubicBezTo>
                    <a:pt x="2623" y="17825"/>
                    <a:pt x="2104" y="18055"/>
                    <a:pt x="2178" y="18225"/>
                  </a:cubicBezTo>
                  <a:lnTo>
                    <a:pt x="2994" y="18894"/>
                  </a:lnTo>
                  <a:cubicBezTo>
                    <a:pt x="3959" y="19802"/>
                    <a:pt x="5221" y="20711"/>
                    <a:pt x="7151" y="21600"/>
                  </a:cubicBezTo>
                  <a:cubicBezTo>
                    <a:pt x="4405" y="20751"/>
                    <a:pt x="2772" y="19842"/>
                    <a:pt x="1139" y="18944"/>
                  </a:cubicBezTo>
                  <a:lnTo>
                    <a:pt x="25" y="18255"/>
                  </a:lnTo>
                  <a:cubicBezTo>
                    <a:pt x="-123" y="17955"/>
                    <a:pt x="396" y="17745"/>
                    <a:pt x="842" y="17506"/>
                  </a:cubicBezTo>
                  <a:cubicBezTo>
                    <a:pt x="1732" y="17056"/>
                    <a:pt x="2920" y="16607"/>
                    <a:pt x="3440" y="16188"/>
                  </a:cubicBezTo>
                  <a:cubicBezTo>
                    <a:pt x="3811" y="15798"/>
                    <a:pt x="2846" y="15339"/>
                    <a:pt x="2549" y="14859"/>
                  </a:cubicBezTo>
                  <a:cubicBezTo>
                    <a:pt x="2401" y="14620"/>
                    <a:pt x="2401" y="14370"/>
                    <a:pt x="2772" y="14110"/>
                  </a:cubicBezTo>
                  <a:cubicBezTo>
                    <a:pt x="3217" y="13841"/>
                    <a:pt x="3885" y="13631"/>
                    <a:pt x="4405" y="13411"/>
                  </a:cubicBezTo>
                  <a:lnTo>
                    <a:pt x="11308" y="10785"/>
                  </a:lnTo>
                  <a:cubicBezTo>
                    <a:pt x="16281" y="9137"/>
                    <a:pt x="17914" y="7270"/>
                    <a:pt x="18285" y="5462"/>
                  </a:cubicBezTo>
                  <a:cubicBezTo>
                    <a:pt x="18137" y="3665"/>
                    <a:pt x="16355" y="1827"/>
                    <a:pt x="14574" y="0"/>
                  </a:cubicBezTo>
                  <a:close/>
                </a:path>
              </a:pathLst>
            </a:custGeom>
            <a:solidFill>
              <a:srgbClr val="E69D7F"/>
            </a:solidFill>
            <a:ln w="12700">
              <a:miter lim="400000"/>
            </a:ln>
          </p:spPr>
          <p:txBody>
            <a:bodyPr lIns="38100" tIns="38100" rIns="38100" bIns="38100" anchor="ctr"/>
            <a:lstStyle/>
            <a:p>
              <a:pPr>
                <a:defRPr sz="3000"/>
              </a:pPr>
              <a:endParaRPr/>
            </a:p>
          </p:txBody>
        </p:sp>
        <p:sp>
          <p:nvSpPr>
            <p:cNvPr id="21" name="Shape">
              <a:extLst>
                <a:ext uri="{FF2B5EF4-FFF2-40B4-BE49-F238E27FC236}">
                  <a16:creationId xmlns:a16="http://schemas.microsoft.com/office/drawing/2014/main" id="{C919DC8C-CA5F-BDC0-6F1C-454BCACCE4E0}"/>
                </a:ext>
              </a:extLst>
            </p:cNvPr>
            <p:cNvSpPr/>
            <p:nvPr/>
          </p:nvSpPr>
          <p:spPr>
            <a:xfrm>
              <a:off x="5618868" y="5302618"/>
              <a:ext cx="240872" cy="78533"/>
            </a:xfrm>
            <a:custGeom>
              <a:avLst/>
              <a:gdLst/>
              <a:ahLst/>
              <a:cxnLst>
                <a:cxn ang="0">
                  <a:pos x="wd2" y="hd2"/>
                </a:cxn>
                <a:cxn ang="5400000">
                  <a:pos x="wd2" y="hd2"/>
                </a:cxn>
                <a:cxn ang="10800000">
                  <a:pos x="wd2" y="hd2"/>
                </a:cxn>
                <a:cxn ang="16200000">
                  <a:pos x="wd2" y="hd2"/>
                </a:cxn>
              </a:cxnLst>
              <a:rect l="0" t="0" r="r" b="b"/>
              <a:pathLst>
                <a:path w="21600" h="20691" extrusionOk="0">
                  <a:moveTo>
                    <a:pt x="0" y="11892"/>
                  </a:moveTo>
                  <a:cubicBezTo>
                    <a:pt x="1817" y="14198"/>
                    <a:pt x="3676" y="15047"/>
                    <a:pt x="5493" y="15169"/>
                  </a:cubicBezTo>
                  <a:cubicBezTo>
                    <a:pt x="7351" y="15290"/>
                    <a:pt x="8921" y="13834"/>
                    <a:pt x="10738" y="11892"/>
                  </a:cubicBezTo>
                  <a:cubicBezTo>
                    <a:pt x="14290" y="8130"/>
                    <a:pt x="17800" y="3397"/>
                    <a:pt x="21600" y="0"/>
                  </a:cubicBezTo>
                  <a:cubicBezTo>
                    <a:pt x="20154" y="4005"/>
                    <a:pt x="18502" y="7281"/>
                    <a:pt x="16850" y="10314"/>
                  </a:cubicBezTo>
                  <a:cubicBezTo>
                    <a:pt x="15157" y="13348"/>
                    <a:pt x="13381" y="15897"/>
                    <a:pt x="11523" y="17960"/>
                  </a:cubicBezTo>
                  <a:cubicBezTo>
                    <a:pt x="9747" y="19901"/>
                    <a:pt x="7393" y="21600"/>
                    <a:pt x="5369" y="20144"/>
                  </a:cubicBezTo>
                  <a:cubicBezTo>
                    <a:pt x="3345" y="18931"/>
                    <a:pt x="1322" y="16382"/>
                    <a:pt x="0" y="11892"/>
                  </a:cubicBezTo>
                  <a:close/>
                </a:path>
              </a:pathLst>
            </a:custGeom>
            <a:solidFill>
              <a:srgbClr val="E69D7F"/>
            </a:solidFill>
            <a:ln w="12700">
              <a:miter lim="400000"/>
            </a:ln>
          </p:spPr>
          <p:txBody>
            <a:bodyPr lIns="38100" tIns="38100" rIns="38100" bIns="38100" anchor="ctr"/>
            <a:lstStyle/>
            <a:p>
              <a:pPr>
                <a:defRPr sz="3000"/>
              </a:pPr>
              <a:endParaRPr/>
            </a:p>
          </p:txBody>
        </p:sp>
        <p:sp>
          <p:nvSpPr>
            <p:cNvPr id="22" name="Shape">
              <a:extLst>
                <a:ext uri="{FF2B5EF4-FFF2-40B4-BE49-F238E27FC236}">
                  <a16:creationId xmlns:a16="http://schemas.microsoft.com/office/drawing/2014/main" id="{5A079A4C-E254-A219-0432-82F7C5BEC178}"/>
                </a:ext>
              </a:extLst>
            </p:cNvPr>
            <p:cNvSpPr/>
            <p:nvPr/>
          </p:nvSpPr>
          <p:spPr>
            <a:xfrm>
              <a:off x="5434647" y="5625004"/>
              <a:ext cx="315478" cy="188417"/>
            </a:xfrm>
            <a:custGeom>
              <a:avLst/>
              <a:gdLst/>
              <a:ahLst/>
              <a:cxnLst>
                <a:cxn ang="0">
                  <a:pos x="wd2" y="hd2"/>
                </a:cxn>
                <a:cxn ang="5400000">
                  <a:pos x="wd2" y="hd2"/>
                </a:cxn>
                <a:cxn ang="10800000">
                  <a:pos x="wd2" y="hd2"/>
                </a:cxn>
                <a:cxn ang="16200000">
                  <a:pos x="wd2" y="hd2"/>
                </a:cxn>
              </a:cxnLst>
              <a:rect l="0" t="0" r="r" b="b"/>
              <a:pathLst>
                <a:path w="21600" h="21553" extrusionOk="0">
                  <a:moveTo>
                    <a:pt x="0" y="19756"/>
                  </a:moveTo>
                  <a:cubicBezTo>
                    <a:pt x="946" y="20704"/>
                    <a:pt x="2018" y="20599"/>
                    <a:pt x="3027" y="20230"/>
                  </a:cubicBezTo>
                  <a:cubicBezTo>
                    <a:pt x="4036" y="19861"/>
                    <a:pt x="4982" y="19229"/>
                    <a:pt x="5928" y="18386"/>
                  </a:cubicBezTo>
                  <a:cubicBezTo>
                    <a:pt x="7757" y="16648"/>
                    <a:pt x="9681" y="14909"/>
                    <a:pt x="11415" y="13013"/>
                  </a:cubicBezTo>
                  <a:cubicBezTo>
                    <a:pt x="14978" y="9272"/>
                    <a:pt x="18131" y="4425"/>
                    <a:pt x="21600" y="0"/>
                  </a:cubicBezTo>
                  <a:cubicBezTo>
                    <a:pt x="20370" y="3003"/>
                    <a:pt x="18951" y="5743"/>
                    <a:pt x="17406" y="8377"/>
                  </a:cubicBezTo>
                  <a:cubicBezTo>
                    <a:pt x="15893" y="11011"/>
                    <a:pt x="14158" y="13382"/>
                    <a:pt x="12298" y="15384"/>
                  </a:cubicBezTo>
                  <a:cubicBezTo>
                    <a:pt x="10406" y="17333"/>
                    <a:pt x="8514" y="19019"/>
                    <a:pt x="6433" y="20336"/>
                  </a:cubicBezTo>
                  <a:cubicBezTo>
                    <a:pt x="5361" y="20968"/>
                    <a:pt x="4257" y="21442"/>
                    <a:pt x="3122" y="21548"/>
                  </a:cubicBezTo>
                  <a:cubicBezTo>
                    <a:pt x="1987" y="21600"/>
                    <a:pt x="725" y="21284"/>
                    <a:pt x="0" y="19756"/>
                  </a:cubicBezTo>
                  <a:close/>
                </a:path>
              </a:pathLst>
            </a:custGeom>
            <a:solidFill>
              <a:srgbClr val="E69D7F"/>
            </a:solidFill>
            <a:ln w="12700">
              <a:miter lim="400000"/>
            </a:ln>
          </p:spPr>
          <p:txBody>
            <a:bodyPr lIns="38100" tIns="38100" rIns="38100" bIns="38100" anchor="ctr"/>
            <a:lstStyle/>
            <a:p>
              <a:pPr>
                <a:defRPr sz="3000"/>
              </a:pPr>
              <a:endParaRPr/>
            </a:p>
          </p:txBody>
        </p:sp>
        <p:sp>
          <p:nvSpPr>
            <p:cNvPr id="23" name="Shape">
              <a:extLst>
                <a:ext uri="{FF2B5EF4-FFF2-40B4-BE49-F238E27FC236}">
                  <a16:creationId xmlns:a16="http://schemas.microsoft.com/office/drawing/2014/main" id="{90231383-490C-BE7F-7764-D1B17915123C}"/>
                </a:ext>
              </a:extLst>
            </p:cNvPr>
            <p:cNvSpPr/>
            <p:nvPr/>
          </p:nvSpPr>
          <p:spPr>
            <a:xfrm>
              <a:off x="5526758" y="5901335"/>
              <a:ext cx="89351" cy="75534"/>
            </a:xfrm>
            <a:custGeom>
              <a:avLst/>
              <a:gdLst/>
              <a:ahLst/>
              <a:cxnLst>
                <a:cxn ang="0">
                  <a:pos x="wd2" y="hd2"/>
                </a:cxn>
                <a:cxn ang="5400000">
                  <a:pos x="wd2" y="hd2"/>
                </a:cxn>
                <a:cxn ang="10800000">
                  <a:pos x="wd2" y="hd2"/>
                </a:cxn>
                <a:cxn ang="16200000">
                  <a:pos x="wd2" y="hd2"/>
                </a:cxn>
              </a:cxnLst>
              <a:rect l="0" t="0" r="r" b="b"/>
              <a:pathLst>
                <a:path w="21600" h="21600" extrusionOk="0">
                  <a:moveTo>
                    <a:pt x="0" y="15673"/>
                  </a:moveTo>
                  <a:cubicBezTo>
                    <a:pt x="7460" y="11722"/>
                    <a:pt x="14920" y="6191"/>
                    <a:pt x="21600" y="0"/>
                  </a:cubicBezTo>
                  <a:cubicBezTo>
                    <a:pt x="16144" y="7902"/>
                    <a:pt x="10021" y="15147"/>
                    <a:pt x="2895" y="21600"/>
                  </a:cubicBezTo>
                  <a:lnTo>
                    <a:pt x="0" y="15673"/>
                  </a:lnTo>
                  <a:close/>
                </a:path>
              </a:pathLst>
            </a:custGeom>
            <a:solidFill>
              <a:srgbClr val="E69D7F"/>
            </a:solidFill>
            <a:ln w="12700">
              <a:miter lim="400000"/>
            </a:ln>
          </p:spPr>
          <p:txBody>
            <a:bodyPr lIns="38100" tIns="38100" rIns="38100" bIns="38100" anchor="ctr"/>
            <a:lstStyle/>
            <a:p>
              <a:pPr>
                <a:defRPr sz="3000"/>
              </a:pPr>
              <a:endParaRPr/>
            </a:p>
          </p:txBody>
        </p:sp>
        <p:sp>
          <p:nvSpPr>
            <p:cNvPr id="24" name="Shape">
              <a:extLst>
                <a:ext uri="{FF2B5EF4-FFF2-40B4-BE49-F238E27FC236}">
                  <a16:creationId xmlns:a16="http://schemas.microsoft.com/office/drawing/2014/main" id="{6054C95C-349E-6CED-EB24-9DD7C6086619}"/>
                </a:ext>
              </a:extLst>
            </p:cNvPr>
            <p:cNvSpPr/>
            <p:nvPr/>
          </p:nvSpPr>
          <p:spPr>
            <a:xfrm>
              <a:off x="5710978" y="5394728"/>
              <a:ext cx="66983" cy="196659"/>
            </a:xfrm>
            <a:custGeom>
              <a:avLst/>
              <a:gdLst/>
              <a:ahLst/>
              <a:cxnLst>
                <a:cxn ang="0">
                  <a:pos x="wd2" y="hd2"/>
                </a:cxn>
                <a:cxn ang="5400000">
                  <a:pos x="wd2" y="hd2"/>
                </a:cxn>
                <a:cxn ang="10800000">
                  <a:pos x="wd2" y="hd2"/>
                </a:cxn>
                <a:cxn ang="16200000">
                  <a:pos x="wd2" y="hd2"/>
                </a:cxn>
              </a:cxnLst>
              <a:rect l="0" t="0" r="r" b="b"/>
              <a:pathLst>
                <a:path w="21226" h="21600" extrusionOk="0">
                  <a:moveTo>
                    <a:pt x="13281" y="21094"/>
                  </a:moveTo>
                  <a:cubicBezTo>
                    <a:pt x="14157" y="19526"/>
                    <a:pt x="14303" y="17604"/>
                    <a:pt x="14157" y="15833"/>
                  </a:cubicBezTo>
                  <a:cubicBezTo>
                    <a:pt x="13865" y="14012"/>
                    <a:pt x="12990" y="12191"/>
                    <a:pt x="11822" y="10370"/>
                  </a:cubicBezTo>
                  <a:cubicBezTo>
                    <a:pt x="9340" y="6778"/>
                    <a:pt x="5254" y="3288"/>
                    <a:pt x="0" y="0"/>
                  </a:cubicBezTo>
                  <a:cubicBezTo>
                    <a:pt x="6422" y="3035"/>
                    <a:pt x="11676" y="6425"/>
                    <a:pt x="15617" y="10016"/>
                  </a:cubicBezTo>
                  <a:cubicBezTo>
                    <a:pt x="17514" y="11837"/>
                    <a:pt x="18973" y="13709"/>
                    <a:pt x="19995" y="15631"/>
                  </a:cubicBezTo>
                  <a:cubicBezTo>
                    <a:pt x="20870" y="17553"/>
                    <a:pt x="21600" y="19425"/>
                    <a:pt x="21017" y="21600"/>
                  </a:cubicBezTo>
                  <a:lnTo>
                    <a:pt x="13281" y="21094"/>
                  </a:lnTo>
                  <a:close/>
                </a:path>
              </a:pathLst>
            </a:custGeom>
            <a:solidFill>
              <a:srgbClr val="E69D7F"/>
            </a:solidFill>
            <a:ln w="12700">
              <a:miter lim="400000"/>
            </a:ln>
          </p:spPr>
          <p:txBody>
            <a:bodyPr lIns="38100" tIns="38100" rIns="38100" bIns="38100" anchor="ctr"/>
            <a:lstStyle/>
            <a:p>
              <a:pPr>
                <a:defRPr sz="3000"/>
              </a:pPr>
              <a:endParaRPr/>
            </a:p>
          </p:txBody>
        </p:sp>
        <p:sp>
          <p:nvSpPr>
            <p:cNvPr id="25" name="Shape">
              <a:extLst>
                <a:ext uri="{FF2B5EF4-FFF2-40B4-BE49-F238E27FC236}">
                  <a16:creationId xmlns:a16="http://schemas.microsoft.com/office/drawing/2014/main" id="{AFCE2954-E8A3-D552-EC2E-E02DD9BAAC9E}"/>
                </a:ext>
              </a:extLst>
            </p:cNvPr>
            <p:cNvSpPr/>
            <p:nvPr/>
          </p:nvSpPr>
          <p:spPr>
            <a:xfrm>
              <a:off x="6171527" y="5578949"/>
              <a:ext cx="161197" cy="64256"/>
            </a:xfrm>
            <a:custGeom>
              <a:avLst/>
              <a:gdLst/>
              <a:ahLst/>
              <a:cxnLst>
                <a:cxn ang="0">
                  <a:pos x="wd2" y="hd2"/>
                </a:cxn>
                <a:cxn ang="5400000">
                  <a:pos x="wd2" y="hd2"/>
                </a:cxn>
                <a:cxn ang="10800000">
                  <a:pos x="wd2" y="hd2"/>
                </a:cxn>
                <a:cxn ang="16200000">
                  <a:pos x="wd2" y="hd2"/>
                </a:cxn>
              </a:cxnLst>
              <a:rect l="0" t="0" r="r" b="b"/>
              <a:pathLst>
                <a:path w="21600" h="20926" extrusionOk="0">
                  <a:moveTo>
                    <a:pt x="1666" y="0"/>
                  </a:moveTo>
                  <a:cubicBezTo>
                    <a:pt x="3332" y="2700"/>
                    <a:pt x="4875" y="5400"/>
                    <a:pt x="6357" y="8400"/>
                  </a:cubicBezTo>
                  <a:cubicBezTo>
                    <a:pt x="7097" y="9900"/>
                    <a:pt x="7838" y="11400"/>
                    <a:pt x="8517" y="13200"/>
                  </a:cubicBezTo>
                  <a:cubicBezTo>
                    <a:pt x="9010" y="14550"/>
                    <a:pt x="9751" y="15300"/>
                    <a:pt x="10553" y="16200"/>
                  </a:cubicBezTo>
                  <a:cubicBezTo>
                    <a:pt x="13947" y="18900"/>
                    <a:pt x="17835" y="19650"/>
                    <a:pt x="21600" y="19950"/>
                  </a:cubicBezTo>
                  <a:cubicBezTo>
                    <a:pt x="17836" y="20850"/>
                    <a:pt x="14071" y="21600"/>
                    <a:pt x="10121" y="19950"/>
                  </a:cubicBezTo>
                  <a:cubicBezTo>
                    <a:pt x="9196" y="19500"/>
                    <a:pt x="8023" y="18600"/>
                    <a:pt x="7159" y="16950"/>
                  </a:cubicBezTo>
                  <a:cubicBezTo>
                    <a:pt x="6418" y="15600"/>
                    <a:pt x="5678" y="14400"/>
                    <a:pt x="4875" y="13350"/>
                  </a:cubicBezTo>
                  <a:cubicBezTo>
                    <a:pt x="3333" y="11100"/>
                    <a:pt x="1666" y="9001"/>
                    <a:pt x="0" y="7050"/>
                  </a:cubicBezTo>
                  <a:lnTo>
                    <a:pt x="1666" y="0"/>
                  </a:lnTo>
                  <a:close/>
                </a:path>
              </a:pathLst>
            </a:custGeom>
            <a:solidFill>
              <a:srgbClr val="E69D7F"/>
            </a:solidFill>
            <a:ln w="12700">
              <a:miter lim="400000"/>
            </a:ln>
          </p:spPr>
          <p:txBody>
            <a:bodyPr lIns="38100" tIns="38100" rIns="38100" bIns="38100" anchor="ctr"/>
            <a:lstStyle/>
            <a:p>
              <a:pPr>
                <a:defRPr sz="3000"/>
              </a:pPr>
              <a:endParaRPr/>
            </a:p>
          </p:txBody>
        </p:sp>
        <p:sp>
          <p:nvSpPr>
            <p:cNvPr id="26" name="Shape">
              <a:extLst>
                <a:ext uri="{FF2B5EF4-FFF2-40B4-BE49-F238E27FC236}">
                  <a16:creationId xmlns:a16="http://schemas.microsoft.com/office/drawing/2014/main" id="{B4F121F9-8838-8B3C-BDEA-C6728CD1615F}"/>
                </a:ext>
              </a:extLst>
            </p:cNvPr>
            <p:cNvSpPr/>
            <p:nvPr/>
          </p:nvSpPr>
          <p:spPr>
            <a:xfrm>
              <a:off x="6171527" y="5440787"/>
              <a:ext cx="259759" cy="60847"/>
            </a:xfrm>
            <a:custGeom>
              <a:avLst/>
              <a:gdLst/>
              <a:ahLst/>
              <a:cxnLst>
                <a:cxn ang="0">
                  <a:pos x="wd2" y="hd2"/>
                </a:cxn>
                <a:cxn ang="5400000">
                  <a:pos x="wd2" y="hd2"/>
                </a:cxn>
                <a:cxn ang="10800000">
                  <a:pos x="wd2" y="hd2"/>
                </a:cxn>
                <a:cxn ang="16200000">
                  <a:pos x="wd2" y="hd2"/>
                </a:cxn>
              </a:cxnLst>
              <a:rect l="0" t="0" r="r" b="b"/>
              <a:pathLst>
                <a:path w="21600" h="20831" extrusionOk="0">
                  <a:moveTo>
                    <a:pt x="0" y="13106"/>
                  </a:moveTo>
                  <a:cubicBezTo>
                    <a:pt x="3523" y="7745"/>
                    <a:pt x="7085" y="4119"/>
                    <a:pt x="10685" y="1911"/>
                  </a:cubicBezTo>
                  <a:cubicBezTo>
                    <a:pt x="14323" y="-296"/>
                    <a:pt x="18000" y="-769"/>
                    <a:pt x="21600" y="1438"/>
                  </a:cubicBezTo>
                  <a:cubicBezTo>
                    <a:pt x="17962" y="650"/>
                    <a:pt x="14362" y="2541"/>
                    <a:pt x="10877" y="6010"/>
                  </a:cubicBezTo>
                  <a:cubicBezTo>
                    <a:pt x="7392" y="9478"/>
                    <a:pt x="3983" y="14524"/>
                    <a:pt x="804" y="20831"/>
                  </a:cubicBezTo>
                  <a:lnTo>
                    <a:pt x="0" y="13106"/>
                  </a:lnTo>
                  <a:close/>
                </a:path>
              </a:pathLst>
            </a:custGeom>
            <a:solidFill>
              <a:srgbClr val="E69D7F"/>
            </a:solidFill>
            <a:ln w="12700">
              <a:miter lim="400000"/>
            </a:ln>
          </p:spPr>
          <p:txBody>
            <a:bodyPr lIns="38100" tIns="38100" rIns="38100" bIns="38100" anchor="ctr"/>
            <a:lstStyle/>
            <a:p>
              <a:pPr>
                <a:defRPr sz="3000"/>
              </a:pPr>
              <a:endParaRPr/>
            </a:p>
          </p:txBody>
        </p:sp>
        <p:sp>
          <p:nvSpPr>
            <p:cNvPr id="27" name="Triangle">
              <a:extLst>
                <a:ext uri="{FF2B5EF4-FFF2-40B4-BE49-F238E27FC236}">
                  <a16:creationId xmlns:a16="http://schemas.microsoft.com/office/drawing/2014/main" id="{DE7C6333-A332-A778-D28E-5CC6EAE04575}"/>
                </a:ext>
              </a:extLst>
            </p:cNvPr>
            <p:cNvSpPr/>
            <p:nvPr/>
          </p:nvSpPr>
          <p:spPr>
            <a:xfrm>
              <a:off x="6217586" y="5256562"/>
              <a:ext cx="118826" cy="48822"/>
            </a:xfrm>
            <a:custGeom>
              <a:avLst/>
              <a:gdLst/>
              <a:ahLst/>
              <a:cxnLst>
                <a:cxn ang="0">
                  <a:pos x="wd2" y="hd2"/>
                </a:cxn>
                <a:cxn ang="5400000">
                  <a:pos x="wd2" y="hd2"/>
                </a:cxn>
                <a:cxn ang="10800000">
                  <a:pos x="wd2" y="hd2"/>
                </a:cxn>
                <a:cxn ang="16200000">
                  <a:pos x="wd2" y="hd2"/>
                </a:cxn>
              </a:cxnLst>
              <a:rect l="0" t="0" r="r" b="b"/>
              <a:pathLst>
                <a:path w="21600" h="21600" extrusionOk="0">
                  <a:moveTo>
                    <a:pt x="0" y="11615"/>
                  </a:moveTo>
                  <a:lnTo>
                    <a:pt x="21600" y="0"/>
                  </a:lnTo>
                  <a:lnTo>
                    <a:pt x="1423" y="21600"/>
                  </a:lnTo>
                  <a:close/>
                </a:path>
              </a:pathLst>
            </a:custGeom>
            <a:solidFill>
              <a:srgbClr val="E69D7F"/>
            </a:solidFill>
            <a:ln w="12700">
              <a:miter lim="400000"/>
            </a:ln>
          </p:spPr>
          <p:txBody>
            <a:bodyPr lIns="38100" tIns="38100" rIns="38100" bIns="38100" anchor="ctr"/>
            <a:lstStyle/>
            <a:p>
              <a:pPr>
                <a:defRPr sz="3000"/>
              </a:pPr>
              <a:endParaRPr/>
            </a:p>
          </p:txBody>
        </p:sp>
        <p:sp>
          <p:nvSpPr>
            <p:cNvPr id="28" name="Shape">
              <a:extLst>
                <a:ext uri="{FF2B5EF4-FFF2-40B4-BE49-F238E27FC236}">
                  <a16:creationId xmlns:a16="http://schemas.microsoft.com/office/drawing/2014/main" id="{2683793F-3E41-790C-A6D6-652E3A431357}"/>
                </a:ext>
              </a:extLst>
            </p:cNvPr>
            <p:cNvSpPr/>
            <p:nvPr/>
          </p:nvSpPr>
          <p:spPr>
            <a:xfrm>
              <a:off x="5895199" y="5302621"/>
              <a:ext cx="242711" cy="64847"/>
            </a:xfrm>
            <a:custGeom>
              <a:avLst/>
              <a:gdLst/>
              <a:ahLst/>
              <a:cxnLst>
                <a:cxn ang="0">
                  <a:pos x="wd2" y="hd2"/>
                </a:cxn>
                <a:cxn ang="5400000">
                  <a:pos x="wd2" y="hd2"/>
                </a:cxn>
                <a:cxn ang="10800000">
                  <a:pos x="wd2" y="hd2"/>
                </a:cxn>
                <a:cxn ang="16200000">
                  <a:pos x="wd2" y="hd2"/>
                </a:cxn>
              </a:cxnLst>
              <a:rect l="0" t="0" r="r" b="b"/>
              <a:pathLst>
                <a:path w="21600" h="20412" extrusionOk="0">
                  <a:moveTo>
                    <a:pt x="0" y="0"/>
                  </a:moveTo>
                  <a:cubicBezTo>
                    <a:pt x="3689" y="3479"/>
                    <a:pt x="7173" y="7248"/>
                    <a:pt x="10739" y="10148"/>
                  </a:cubicBezTo>
                  <a:cubicBezTo>
                    <a:pt x="12501" y="11742"/>
                    <a:pt x="14304" y="13047"/>
                    <a:pt x="16108" y="14497"/>
                  </a:cubicBezTo>
                  <a:cubicBezTo>
                    <a:pt x="17911" y="15946"/>
                    <a:pt x="19715" y="16816"/>
                    <a:pt x="21600" y="18411"/>
                  </a:cubicBezTo>
                  <a:cubicBezTo>
                    <a:pt x="17870" y="21600"/>
                    <a:pt x="13935" y="20730"/>
                    <a:pt x="10247" y="17541"/>
                  </a:cubicBezTo>
                  <a:cubicBezTo>
                    <a:pt x="8402" y="15802"/>
                    <a:pt x="6558" y="13772"/>
                    <a:pt x="4877" y="10728"/>
                  </a:cubicBezTo>
                  <a:cubicBezTo>
                    <a:pt x="3074" y="7973"/>
                    <a:pt x="1434" y="4494"/>
                    <a:pt x="0" y="0"/>
                  </a:cubicBezTo>
                  <a:close/>
                </a:path>
              </a:pathLst>
            </a:custGeom>
            <a:solidFill>
              <a:srgbClr val="E69D7F"/>
            </a:solidFill>
            <a:ln w="12700">
              <a:miter lim="400000"/>
            </a:ln>
          </p:spPr>
          <p:txBody>
            <a:bodyPr lIns="38100" tIns="38100" rIns="38100" bIns="38100" anchor="ctr"/>
            <a:lstStyle/>
            <a:p>
              <a:pPr>
                <a:defRPr sz="3000"/>
              </a:pPr>
              <a:endParaRPr/>
            </a:p>
          </p:txBody>
        </p:sp>
        <p:sp>
          <p:nvSpPr>
            <p:cNvPr id="29" name="Shape">
              <a:extLst>
                <a:ext uri="{FF2B5EF4-FFF2-40B4-BE49-F238E27FC236}">
                  <a16:creationId xmlns:a16="http://schemas.microsoft.com/office/drawing/2014/main" id="{2FC8C70C-ECE3-8569-796A-07F699B3A9F0}"/>
                </a:ext>
              </a:extLst>
            </p:cNvPr>
            <p:cNvSpPr/>
            <p:nvPr/>
          </p:nvSpPr>
          <p:spPr>
            <a:xfrm>
              <a:off x="6033361" y="5256562"/>
              <a:ext cx="188373" cy="29573"/>
            </a:xfrm>
            <a:custGeom>
              <a:avLst/>
              <a:gdLst/>
              <a:ahLst/>
              <a:cxnLst>
                <a:cxn ang="0">
                  <a:pos x="wd2" y="hd2"/>
                </a:cxn>
                <a:cxn ang="5400000">
                  <a:pos x="wd2" y="hd2"/>
                </a:cxn>
                <a:cxn ang="10800000">
                  <a:pos x="wd2" y="hd2"/>
                </a:cxn>
                <a:cxn ang="16200000">
                  <a:pos x="wd2" y="hd2"/>
                </a:cxn>
              </a:cxnLst>
              <a:rect l="0" t="0" r="r" b="b"/>
              <a:pathLst>
                <a:path w="21600" h="20391" extrusionOk="0">
                  <a:moveTo>
                    <a:pt x="0" y="230"/>
                  </a:moveTo>
                  <a:cubicBezTo>
                    <a:pt x="3802" y="-724"/>
                    <a:pt x="7341" y="1500"/>
                    <a:pt x="10879" y="3089"/>
                  </a:cubicBezTo>
                  <a:cubicBezTo>
                    <a:pt x="14418" y="4995"/>
                    <a:pt x="17798" y="6901"/>
                    <a:pt x="21600" y="6901"/>
                  </a:cubicBezTo>
                  <a:cubicBezTo>
                    <a:pt x="20016" y="13571"/>
                    <a:pt x="18167" y="16747"/>
                    <a:pt x="16266" y="18652"/>
                  </a:cubicBezTo>
                  <a:cubicBezTo>
                    <a:pt x="14418" y="20876"/>
                    <a:pt x="12516" y="20558"/>
                    <a:pt x="10668" y="19922"/>
                  </a:cubicBezTo>
                  <a:cubicBezTo>
                    <a:pt x="8819" y="18968"/>
                    <a:pt x="6971" y="17063"/>
                    <a:pt x="5175" y="13569"/>
                  </a:cubicBezTo>
                  <a:cubicBezTo>
                    <a:pt x="3380" y="10394"/>
                    <a:pt x="1584" y="6583"/>
                    <a:pt x="0" y="230"/>
                  </a:cubicBezTo>
                  <a:close/>
                </a:path>
              </a:pathLst>
            </a:custGeom>
            <a:solidFill>
              <a:srgbClr val="E69D7F"/>
            </a:solidFill>
            <a:ln w="12700">
              <a:miter lim="400000"/>
            </a:ln>
          </p:spPr>
          <p:txBody>
            <a:bodyPr lIns="38100" tIns="38100" rIns="38100" bIns="38100" anchor="ctr"/>
            <a:lstStyle/>
            <a:p>
              <a:pPr>
                <a:defRPr sz="3000"/>
              </a:pPr>
              <a:endParaRPr/>
            </a:p>
          </p:txBody>
        </p:sp>
        <p:sp>
          <p:nvSpPr>
            <p:cNvPr id="30" name="Shape">
              <a:extLst>
                <a:ext uri="{FF2B5EF4-FFF2-40B4-BE49-F238E27FC236}">
                  <a16:creationId xmlns:a16="http://schemas.microsoft.com/office/drawing/2014/main" id="{D883908F-48BD-9049-CB93-9DE445D2BE54}"/>
                </a:ext>
              </a:extLst>
            </p:cNvPr>
            <p:cNvSpPr/>
            <p:nvPr/>
          </p:nvSpPr>
          <p:spPr>
            <a:xfrm>
              <a:off x="5941254" y="4749959"/>
              <a:ext cx="289317" cy="240078"/>
            </a:xfrm>
            <a:custGeom>
              <a:avLst/>
              <a:gdLst/>
              <a:ahLst/>
              <a:cxnLst>
                <a:cxn ang="0">
                  <a:pos x="wd2" y="hd2"/>
                </a:cxn>
                <a:cxn ang="5400000">
                  <a:pos x="wd2" y="hd2"/>
                </a:cxn>
                <a:cxn ang="10800000">
                  <a:pos x="wd2" y="hd2"/>
                </a:cxn>
                <a:cxn ang="16200000">
                  <a:pos x="wd2" y="hd2"/>
                </a:cxn>
              </a:cxnLst>
              <a:rect l="0" t="0" r="r" b="b"/>
              <a:pathLst>
                <a:path w="21235" h="21488" extrusionOk="0">
                  <a:moveTo>
                    <a:pt x="2626" y="0"/>
                  </a:moveTo>
                  <a:cubicBezTo>
                    <a:pt x="2017" y="2679"/>
                    <a:pt x="1612" y="5441"/>
                    <a:pt x="1409" y="8162"/>
                  </a:cubicBezTo>
                  <a:cubicBezTo>
                    <a:pt x="1172" y="10882"/>
                    <a:pt x="1307" y="13603"/>
                    <a:pt x="1814" y="16200"/>
                  </a:cubicBezTo>
                  <a:lnTo>
                    <a:pt x="1273" y="15499"/>
                  </a:lnTo>
                  <a:cubicBezTo>
                    <a:pt x="3741" y="16200"/>
                    <a:pt x="6175" y="16983"/>
                    <a:pt x="8609" y="17807"/>
                  </a:cubicBezTo>
                  <a:cubicBezTo>
                    <a:pt x="11043" y="18632"/>
                    <a:pt x="13510" y="19456"/>
                    <a:pt x="15809" y="19497"/>
                  </a:cubicBezTo>
                  <a:cubicBezTo>
                    <a:pt x="16350" y="19456"/>
                    <a:pt x="16890" y="19374"/>
                    <a:pt x="17228" y="19085"/>
                  </a:cubicBezTo>
                  <a:cubicBezTo>
                    <a:pt x="17567" y="18879"/>
                    <a:pt x="17837" y="18302"/>
                    <a:pt x="18175" y="17643"/>
                  </a:cubicBezTo>
                  <a:cubicBezTo>
                    <a:pt x="18783" y="16365"/>
                    <a:pt x="19257" y="14963"/>
                    <a:pt x="19662" y="13521"/>
                  </a:cubicBezTo>
                  <a:cubicBezTo>
                    <a:pt x="20440" y="10635"/>
                    <a:pt x="20981" y="7626"/>
                    <a:pt x="20913" y="4534"/>
                  </a:cubicBezTo>
                  <a:cubicBezTo>
                    <a:pt x="21420" y="7585"/>
                    <a:pt x="21319" y="10841"/>
                    <a:pt x="20676" y="13892"/>
                  </a:cubicBezTo>
                  <a:cubicBezTo>
                    <a:pt x="20372" y="15417"/>
                    <a:pt x="19967" y="16942"/>
                    <a:pt x="19426" y="18426"/>
                  </a:cubicBezTo>
                  <a:cubicBezTo>
                    <a:pt x="19155" y="19085"/>
                    <a:pt x="18851" y="20034"/>
                    <a:pt x="18074" y="20652"/>
                  </a:cubicBezTo>
                  <a:cubicBezTo>
                    <a:pt x="17364" y="21270"/>
                    <a:pt x="16586" y="21394"/>
                    <a:pt x="15876" y="21476"/>
                  </a:cubicBezTo>
                  <a:cubicBezTo>
                    <a:pt x="13071" y="21600"/>
                    <a:pt x="10603" y="20693"/>
                    <a:pt x="8136" y="19910"/>
                  </a:cubicBezTo>
                  <a:cubicBezTo>
                    <a:pt x="5668" y="19085"/>
                    <a:pt x="3234" y="18261"/>
                    <a:pt x="800" y="17354"/>
                  </a:cubicBezTo>
                  <a:lnTo>
                    <a:pt x="327" y="17189"/>
                  </a:lnTo>
                  <a:lnTo>
                    <a:pt x="259" y="16653"/>
                  </a:lnTo>
                  <a:cubicBezTo>
                    <a:pt x="-180" y="13768"/>
                    <a:pt x="-11" y="10841"/>
                    <a:pt x="395" y="8038"/>
                  </a:cubicBezTo>
                  <a:cubicBezTo>
                    <a:pt x="834" y="5194"/>
                    <a:pt x="1578" y="2473"/>
                    <a:pt x="2626" y="0"/>
                  </a:cubicBezTo>
                  <a:close/>
                </a:path>
              </a:pathLst>
            </a:custGeom>
            <a:solidFill>
              <a:srgbClr val="E69D7F"/>
            </a:solidFill>
            <a:ln w="12700">
              <a:miter lim="400000"/>
            </a:ln>
          </p:spPr>
          <p:txBody>
            <a:bodyPr lIns="38100" tIns="38100" rIns="38100" bIns="38100" anchor="ctr"/>
            <a:lstStyle/>
            <a:p>
              <a:pPr>
                <a:defRPr sz="3000"/>
              </a:pPr>
              <a:endParaRPr/>
            </a:p>
          </p:txBody>
        </p:sp>
        <p:sp>
          <p:nvSpPr>
            <p:cNvPr id="31" name="Shape">
              <a:extLst>
                <a:ext uri="{FF2B5EF4-FFF2-40B4-BE49-F238E27FC236}">
                  <a16:creationId xmlns:a16="http://schemas.microsoft.com/office/drawing/2014/main" id="{4C49BCE5-FD64-88A8-982E-378E721092CB}"/>
                </a:ext>
              </a:extLst>
            </p:cNvPr>
            <p:cNvSpPr/>
            <p:nvPr/>
          </p:nvSpPr>
          <p:spPr>
            <a:xfrm>
              <a:off x="5342537" y="5809228"/>
              <a:ext cx="100865" cy="126195"/>
            </a:xfrm>
            <a:custGeom>
              <a:avLst/>
              <a:gdLst/>
              <a:ahLst/>
              <a:cxnLst>
                <a:cxn ang="0">
                  <a:pos x="wd2" y="hd2"/>
                </a:cxn>
                <a:cxn ang="5400000">
                  <a:pos x="wd2" y="hd2"/>
                </a:cxn>
                <a:cxn ang="10800000">
                  <a:pos x="wd2" y="hd2"/>
                </a:cxn>
                <a:cxn ang="16200000">
                  <a:pos x="wd2" y="hd2"/>
                </a:cxn>
              </a:cxnLst>
              <a:rect l="0" t="0" r="r" b="b"/>
              <a:pathLst>
                <a:path w="21600" h="21600" extrusionOk="0">
                  <a:moveTo>
                    <a:pt x="0" y="17579"/>
                  </a:moveTo>
                  <a:cubicBezTo>
                    <a:pt x="2466" y="17106"/>
                    <a:pt x="5129" y="16397"/>
                    <a:pt x="7496" y="15530"/>
                  </a:cubicBezTo>
                  <a:cubicBezTo>
                    <a:pt x="10060" y="14584"/>
                    <a:pt x="11836" y="13559"/>
                    <a:pt x="13414" y="11746"/>
                  </a:cubicBezTo>
                  <a:cubicBezTo>
                    <a:pt x="16570" y="8198"/>
                    <a:pt x="19134" y="4099"/>
                    <a:pt x="21600" y="0"/>
                  </a:cubicBezTo>
                  <a:cubicBezTo>
                    <a:pt x="20022" y="4336"/>
                    <a:pt x="18247" y="8671"/>
                    <a:pt x="15682" y="12850"/>
                  </a:cubicBezTo>
                  <a:cubicBezTo>
                    <a:pt x="14499" y="14978"/>
                    <a:pt x="11934" y="17106"/>
                    <a:pt x="9468" y="18289"/>
                  </a:cubicBezTo>
                  <a:cubicBezTo>
                    <a:pt x="6904" y="19629"/>
                    <a:pt x="4340" y="20654"/>
                    <a:pt x="1479" y="21600"/>
                  </a:cubicBezTo>
                  <a:lnTo>
                    <a:pt x="0" y="17579"/>
                  </a:lnTo>
                  <a:close/>
                </a:path>
              </a:pathLst>
            </a:custGeom>
            <a:solidFill>
              <a:srgbClr val="E69D7F"/>
            </a:solidFill>
            <a:ln w="12700">
              <a:miter lim="400000"/>
            </a:ln>
          </p:spPr>
          <p:txBody>
            <a:bodyPr lIns="38100" tIns="38100" rIns="38100" bIns="38100" anchor="ctr"/>
            <a:lstStyle/>
            <a:p>
              <a:pPr>
                <a:defRPr sz="3000"/>
              </a:pPr>
              <a:endParaRPr/>
            </a:p>
          </p:txBody>
        </p:sp>
      </p:grpSp>
      <p:grpSp>
        <p:nvGrpSpPr>
          <p:cNvPr id="32" name="Group 31">
            <a:extLst>
              <a:ext uri="{FF2B5EF4-FFF2-40B4-BE49-F238E27FC236}">
                <a16:creationId xmlns:a16="http://schemas.microsoft.com/office/drawing/2014/main" id="{868C1352-B8EF-35CE-6DAB-118D92709295}"/>
              </a:ext>
            </a:extLst>
          </p:cNvPr>
          <p:cNvGrpSpPr/>
          <p:nvPr/>
        </p:nvGrpSpPr>
        <p:grpSpPr>
          <a:xfrm>
            <a:off x="704529" y="3180070"/>
            <a:ext cx="2666935" cy="1951707"/>
            <a:chOff x="553359" y="973525"/>
            <a:chExt cx="6459453" cy="2224134"/>
          </a:xfrm>
        </p:grpSpPr>
        <p:sp>
          <p:nvSpPr>
            <p:cNvPr id="33" name="TextBox 32">
              <a:extLst>
                <a:ext uri="{FF2B5EF4-FFF2-40B4-BE49-F238E27FC236}">
                  <a16:creationId xmlns:a16="http://schemas.microsoft.com/office/drawing/2014/main" id="{758B5D94-8768-183C-C6D0-D88A9E84D060}"/>
                </a:ext>
              </a:extLst>
            </p:cNvPr>
            <p:cNvSpPr txBox="1"/>
            <p:nvPr/>
          </p:nvSpPr>
          <p:spPr>
            <a:xfrm>
              <a:off x="553359" y="973525"/>
              <a:ext cx="6459453" cy="1087285"/>
            </a:xfrm>
            <a:prstGeom prst="rect">
              <a:avLst/>
            </a:prstGeom>
            <a:noFill/>
          </p:spPr>
          <p:txBody>
            <a:bodyPr wrap="square" lIns="0" rtlCol="0" anchor="ctr">
              <a:spAutoFit/>
            </a:bodyPr>
            <a:lstStyle/>
            <a:p>
              <a:r>
                <a:rPr lang="en-US" sz="2800" b="1">
                  <a:solidFill>
                    <a:schemeClr val="tx1">
                      <a:lumMod val="65000"/>
                      <a:lumOff val="35000"/>
                    </a:schemeClr>
                  </a:solidFill>
                </a:rPr>
                <a:t>Understanding the Scenario</a:t>
              </a:r>
            </a:p>
          </p:txBody>
        </p:sp>
        <p:sp>
          <p:nvSpPr>
            <p:cNvPr id="34" name="TextBox 33">
              <a:extLst>
                <a:ext uri="{FF2B5EF4-FFF2-40B4-BE49-F238E27FC236}">
                  <a16:creationId xmlns:a16="http://schemas.microsoft.com/office/drawing/2014/main" id="{616CB4B7-D56D-7514-107E-9E83672083E0}"/>
                </a:ext>
              </a:extLst>
            </p:cNvPr>
            <p:cNvSpPr txBox="1"/>
            <p:nvPr/>
          </p:nvSpPr>
          <p:spPr>
            <a:xfrm>
              <a:off x="584528" y="2040226"/>
              <a:ext cx="5886655" cy="1157433"/>
            </a:xfrm>
            <a:prstGeom prst="rect">
              <a:avLst/>
            </a:prstGeom>
            <a:noFill/>
          </p:spPr>
          <p:txBody>
            <a:bodyPr wrap="square" lIns="0" rIns="0" rtlCol="0" anchor="t">
              <a:spAutoFit/>
            </a:bodyPr>
            <a:lstStyle/>
            <a:p>
              <a:r>
                <a:rPr lang="en-US" sz="1200">
                  <a:solidFill>
                    <a:srgbClr val="75686B"/>
                  </a:solidFill>
                  <a:effectLst/>
                  <a:latin typeface="Arial" panose="020B0604020202020204" pitchFamily="34" charset="0"/>
                </a:rPr>
                <a:t>Picture a banking representative preparing an ideal reply outlining the steps you should take for a know-your-customer enhanced due diligence review.</a:t>
              </a:r>
              <a:endParaRPr lang="en-US" sz="1200">
                <a:solidFill>
                  <a:schemeClr val="tx1">
                    <a:lumMod val="65000"/>
                    <a:lumOff val="35000"/>
                  </a:schemeClr>
                </a:solidFill>
              </a:endParaRPr>
            </a:p>
          </p:txBody>
        </p:sp>
      </p:grpSp>
      <p:grpSp>
        <p:nvGrpSpPr>
          <p:cNvPr id="35" name="Group 34">
            <a:extLst>
              <a:ext uri="{FF2B5EF4-FFF2-40B4-BE49-F238E27FC236}">
                <a16:creationId xmlns:a16="http://schemas.microsoft.com/office/drawing/2014/main" id="{11BF367E-2911-DB04-E410-B8087EBB8589}"/>
              </a:ext>
            </a:extLst>
          </p:cNvPr>
          <p:cNvGrpSpPr/>
          <p:nvPr/>
        </p:nvGrpSpPr>
        <p:grpSpPr>
          <a:xfrm>
            <a:off x="606056" y="1187278"/>
            <a:ext cx="2873962" cy="1354219"/>
            <a:chOff x="553361" y="1219041"/>
            <a:chExt cx="2197443" cy="1543246"/>
          </a:xfrm>
        </p:grpSpPr>
        <p:sp>
          <p:nvSpPr>
            <p:cNvPr id="36" name="TextBox 35">
              <a:extLst>
                <a:ext uri="{FF2B5EF4-FFF2-40B4-BE49-F238E27FC236}">
                  <a16:creationId xmlns:a16="http://schemas.microsoft.com/office/drawing/2014/main" id="{9F87A07D-87CF-52E3-4010-730535E13E7E}"/>
                </a:ext>
              </a:extLst>
            </p:cNvPr>
            <p:cNvSpPr txBox="1"/>
            <p:nvPr/>
          </p:nvSpPr>
          <p:spPr>
            <a:xfrm>
              <a:off x="553361" y="1219041"/>
              <a:ext cx="2098285" cy="596253"/>
            </a:xfrm>
            <a:prstGeom prst="rect">
              <a:avLst/>
            </a:prstGeom>
            <a:noFill/>
          </p:spPr>
          <p:txBody>
            <a:bodyPr wrap="none" lIns="0" rtlCol="0" anchor="ctr">
              <a:spAutoFit/>
            </a:bodyPr>
            <a:lstStyle/>
            <a:p>
              <a:r>
                <a:rPr lang="en-US" sz="2800" b="1">
                  <a:solidFill>
                    <a:schemeClr val="tx1">
                      <a:lumMod val="65000"/>
                      <a:lumOff val="35000"/>
                    </a:schemeClr>
                  </a:solidFill>
                </a:rPr>
                <a:t>Actions to Take</a:t>
              </a:r>
            </a:p>
          </p:txBody>
        </p:sp>
        <p:sp>
          <p:nvSpPr>
            <p:cNvPr id="37" name="TextBox 36">
              <a:extLst>
                <a:ext uri="{FF2B5EF4-FFF2-40B4-BE49-F238E27FC236}">
                  <a16:creationId xmlns:a16="http://schemas.microsoft.com/office/drawing/2014/main" id="{7A05BE09-7F0D-5CFB-E5A6-52114B73C595}"/>
                </a:ext>
              </a:extLst>
            </p:cNvPr>
            <p:cNvSpPr txBox="1"/>
            <p:nvPr/>
          </p:nvSpPr>
          <p:spPr>
            <a:xfrm>
              <a:off x="559193" y="1815296"/>
              <a:ext cx="2191611" cy="946991"/>
            </a:xfrm>
            <a:prstGeom prst="rect">
              <a:avLst/>
            </a:prstGeom>
            <a:noFill/>
          </p:spPr>
          <p:txBody>
            <a:bodyPr wrap="square" lIns="0" rIns="0" rtlCol="0" anchor="t">
              <a:spAutoFit/>
            </a:bodyPr>
            <a:lstStyle/>
            <a:p>
              <a:r>
                <a:rPr lang="en-US" sz="1200">
                  <a:solidFill>
                    <a:srgbClr val="75686B"/>
                  </a:solidFill>
                  <a:effectLst/>
                  <a:latin typeface="Arial" panose="020B0604020202020204" pitchFamily="34" charset="0"/>
                </a:rPr>
                <a:t>The LLM has been trained on your policies and tools, providing guidance on which GUI buttons to select and describing the expected results.</a:t>
              </a:r>
              <a:endParaRPr lang="en-US" sz="1200">
                <a:solidFill>
                  <a:schemeClr val="tx1">
                    <a:lumMod val="65000"/>
                    <a:lumOff val="35000"/>
                  </a:schemeClr>
                </a:solidFill>
              </a:endParaRPr>
            </a:p>
          </p:txBody>
        </p:sp>
      </p:grpSp>
      <p:grpSp>
        <p:nvGrpSpPr>
          <p:cNvPr id="38" name="Group 37">
            <a:extLst>
              <a:ext uri="{FF2B5EF4-FFF2-40B4-BE49-F238E27FC236}">
                <a16:creationId xmlns:a16="http://schemas.microsoft.com/office/drawing/2014/main" id="{578823EB-63E2-DA16-A2C1-87D39C8C0C53}"/>
              </a:ext>
            </a:extLst>
          </p:cNvPr>
          <p:cNvGrpSpPr/>
          <p:nvPr/>
        </p:nvGrpSpPr>
        <p:grpSpPr>
          <a:xfrm>
            <a:off x="9122736" y="2978230"/>
            <a:ext cx="2721934" cy="1494503"/>
            <a:chOff x="553361" y="1219041"/>
            <a:chExt cx="2224260" cy="1703110"/>
          </a:xfrm>
        </p:grpSpPr>
        <p:sp>
          <p:nvSpPr>
            <p:cNvPr id="39" name="TextBox 38">
              <a:extLst>
                <a:ext uri="{FF2B5EF4-FFF2-40B4-BE49-F238E27FC236}">
                  <a16:creationId xmlns:a16="http://schemas.microsoft.com/office/drawing/2014/main" id="{8DEB4E3B-B721-718F-3A75-72C0FA8D82EF}"/>
                </a:ext>
              </a:extLst>
            </p:cNvPr>
            <p:cNvSpPr txBox="1"/>
            <p:nvPr/>
          </p:nvSpPr>
          <p:spPr>
            <a:xfrm>
              <a:off x="553361" y="1219041"/>
              <a:ext cx="2224260" cy="596253"/>
            </a:xfrm>
            <a:prstGeom prst="rect">
              <a:avLst/>
            </a:prstGeom>
            <a:noFill/>
          </p:spPr>
          <p:txBody>
            <a:bodyPr wrap="none" lIns="0" rtlCol="0" anchor="ctr">
              <a:spAutoFit/>
            </a:bodyPr>
            <a:lstStyle/>
            <a:p>
              <a:r>
                <a:rPr lang="en-US" sz="2800" b="1">
                  <a:solidFill>
                    <a:schemeClr val="tx1">
                      <a:lumMod val="65000"/>
                      <a:lumOff val="35000"/>
                    </a:schemeClr>
                  </a:solidFill>
                </a:rPr>
                <a:t>Next Steps</a:t>
              </a:r>
            </a:p>
          </p:txBody>
        </p:sp>
        <p:sp>
          <p:nvSpPr>
            <p:cNvPr id="40" name="TextBox 39">
              <a:extLst>
                <a:ext uri="{FF2B5EF4-FFF2-40B4-BE49-F238E27FC236}">
                  <a16:creationId xmlns:a16="http://schemas.microsoft.com/office/drawing/2014/main" id="{9ABC8F5D-9A21-5661-8B8D-A51739E8ABA2}"/>
                </a:ext>
              </a:extLst>
            </p:cNvPr>
            <p:cNvSpPr txBox="1"/>
            <p:nvPr/>
          </p:nvSpPr>
          <p:spPr>
            <a:xfrm>
              <a:off x="569686" y="1764719"/>
              <a:ext cx="2191611" cy="1157432"/>
            </a:xfrm>
            <a:prstGeom prst="rect">
              <a:avLst/>
            </a:prstGeom>
            <a:noFill/>
          </p:spPr>
          <p:txBody>
            <a:bodyPr wrap="square" lIns="0" rIns="0" rtlCol="0" anchor="t">
              <a:spAutoFit/>
            </a:bodyPr>
            <a:lstStyle/>
            <a:p>
              <a:r>
                <a:rPr lang="en-US" sz="1200">
                  <a:solidFill>
                    <a:srgbClr val="75686B"/>
                  </a:solidFill>
                  <a:effectLst/>
                  <a:latin typeface="Arial" panose="020B0604020202020204" pitchFamily="34" charset="0"/>
                </a:rPr>
                <a:t>The LLM thoroughly outlines the internal procedures required for income verification and offers a template response for logging and customer follow-up.</a:t>
              </a:r>
              <a:endParaRPr lang="en-US" sz="1200">
                <a:solidFill>
                  <a:schemeClr val="tx1">
                    <a:lumMod val="65000"/>
                    <a:lumOff val="35000"/>
                  </a:schemeClr>
                </a:solidFill>
              </a:endParaRPr>
            </a:p>
          </p:txBody>
        </p:sp>
      </p:grpSp>
      <p:grpSp>
        <p:nvGrpSpPr>
          <p:cNvPr id="41" name="Group 40">
            <a:extLst>
              <a:ext uri="{FF2B5EF4-FFF2-40B4-BE49-F238E27FC236}">
                <a16:creationId xmlns:a16="http://schemas.microsoft.com/office/drawing/2014/main" id="{9EFAA82B-2AA9-C107-4DD0-F89A65599E7D}"/>
              </a:ext>
            </a:extLst>
          </p:cNvPr>
          <p:cNvGrpSpPr/>
          <p:nvPr/>
        </p:nvGrpSpPr>
        <p:grpSpPr>
          <a:xfrm>
            <a:off x="8525840" y="1259441"/>
            <a:ext cx="2930741" cy="1261886"/>
            <a:chOff x="553361" y="1219041"/>
            <a:chExt cx="2655375" cy="1438025"/>
          </a:xfrm>
        </p:grpSpPr>
        <p:sp>
          <p:nvSpPr>
            <p:cNvPr id="42" name="TextBox 41">
              <a:extLst>
                <a:ext uri="{FF2B5EF4-FFF2-40B4-BE49-F238E27FC236}">
                  <a16:creationId xmlns:a16="http://schemas.microsoft.com/office/drawing/2014/main" id="{1EFB9CA8-98D9-8BE9-89DE-DB3445BE5852}"/>
                </a:ext>
              </a:extLst>
            </p:cNvPr>
            <p:cNvSpPr txBox="1"/>
            <p:nvPr/>
          </p:nvSpPr>
          <p:spPr>
            <a:xfrm>
              <a:off x="553361" y="1219041"/>
              <a:ext cx="2655375" cy="596253"/>
            </a:xfrm>
            <a:prstGeom prst="rect">
              <a:avLst/>
            </a:prstGeom>
            <a:noFill/>
          </p:spPr>
          <p:txBody>
            <a:bodyPr wrap="none" lIns="0" rtlCol="0" anchor="ctr">
              <a:spAutoFit/>
            </a:bodyPr>
            <a:lstStyle/>
            <a:p>
              <a:r>
                <a:rPr lang="en-US" sz="2800" b="1">
                  <a:solidFill>
                    <a:schemeClr val="tx1">
                      <a:lumMod val="65000"/>
                      <a:lumOff val="35000"/>
                    </a:schemeClr>
                  </a:solidFill>
                </a:rPr>
                <a:t>Explanations</a:t>
              </a:r>
            </a:p>
          </p:txBody>
        </p:sp>
        <p:sp>
          <p:nvSpPr>
            <p:cNvPr id="43" name="TextBox 42">
              <a:extLst>
                <a:ext uri="{FF2B5EF4-FFF2-40B4-BE49-F238E27FC236}">
                  <a16:creationId xmlns:a16="http://schemas.microsoft.com/office/drawing/2014/main" id="{08EAD5AB-5E41-769B-F22C-3C4364513E2C}"/>
                </a:ext>
              </a:extLst>
            </p:cNvPr>
            <p:cNvSpPr txBox="1"/>
            <p:nvPr/>
          </p:nvSpPr>
          <p:spPr>
            <a:xfrm>
              <a:off x="559193" y="1710075"/>
              <a:ext cx="2191611" cy="946991"/>
            </a:xfrm>
            <a:prstGeom prst="rect">
              <a:avLst/>
            </a:prstGeom>
            <a:noFill/>
          </p:spPr>
          <p:txBody>
            <a:bodyPr wrap="square" lIns="0" rIns="0" rtlCol="0" anchor="t">
              <a:spAutoFit/>
            </a:bodyPr>
            <a:lstStyle/>
            <a:p>
              <a:r>
                <a:rPr lang="en-US" sz="1200">
                  <a:solidFill>
                    <a:srgbClr val="75686B"/>
                  </a:solidFill>
                  <a:effectLst/>
                  <a:latin typeface="Arial" panose="020B0604020202020204" pitchFamily="34" charset="0"/>
                </a:rPr>
                <a:t>The model references Citizen policies and clarifies the need for additional income verification for the customer.</a:t>
              </a:r>
              <a:endParaRPr lang="en-US" sz="1200">
                <a:solidFill>
                  <a:schemeClr val="tx1">
                    <a:lumMod val="65000"/>
                    <a:lumOff val="35000"/>
                  </a:schemeClr>
                </a:solidFill>
              </a:endParaRPr>
            </a:p>
          </p:txBody>
        </p:sp>
      </p:grpSp>
      <p:sp>
        <p:nvSpPr>
          <p:cNvPr id="106" name="TextBox 105">
            <a:extLst>
              <a:ext uri="{FF2B5EF4-FFF2-40B4-BE49-F238E27FC236}">
                <a16:creationId xmlns:a16="http://schemas.microsoft.com/office/drawing/2014/main" id="{31AA127D-4EE8-4349-A9A8-94C572844003}"/>
              </a:ext>
            </a:extLst>
          </p:cNvPr>
          <p:cNvSpPr txBox="1"/>
          <p:nvPr/>
        </p:nvSpPr>
        <p:spPr>
          <a:xfrm>
            <a:off x="5734004" y="3120656"/>
            <a:ext cx="746540" cy="369332"/>
          </a:xfrm>
          <a:prstGeom prst="rect">
            <a:avLst/>
          </a:prstGeom>
          <a:noFill/>
        </p:spPr>
        <p:txBody>
          <a:bodyPr wrap="square" rtlCol="0">
            <a:spAutoFit/>
          </a:bodyPr>
          <a:lstStyle/>
          <a:p>
            <a:r>
              <a:rPr lang="en-US"/>
              <a:t>ACT!</a:t>
            </a:r>
          </a:p>
        </p:txBody>
      </p:sp>
      <p:sp>
        <p:nvSpPr>
          <p:cNvPr id="107" name="TextBox 106">
            <a:extLst>
              <a:ext uri="{FF2B5EF4-FFF2-40B4-BE49-F238E27FC236}">
                <a16:creationId xmlns:a16="http://schemas.microsoft.com/office/drawing/2014/main" id="{06537CFB-32A4-E8EC-8D28-FF6EF6D728EB}"/>
              </a:ext>
            </a:extLst>
          </p:cNvPr>
          <p:cNvSpPr txBox="1"/>
          <p:nvPr/>
        </p:nvSpPr>
        <p:spPr>
          <a:xfrm>
            <a:off x="6958635" y="5321560"/>
            <a:ext cx="3992526" cy="954107"/>
          </a:xfrm>
          <a:prstGeom prst="rect">
            <a:avLst/>
          </a:prstGeom>
          <a:noFill/>
        </p:spPr>
        <p:txBody>
          <a:bodyPr wrap="square" rtlCol="0">
            <a:spAutoFit/>
          </a:bodyPr>
          <a:lstStyle/>
          <a:p>
            <a:r>
              <a:rPr lang="en-US" sz="1400">
                <a:solidFill>
                  <a:srgbClr val="231F20"/>
                </a:solidFill>
                <a:effectLst/>
                <a:latin typeface="Arial" panose="020B0604020202020204" pitchFamily="34" charset="0"/>
              </a:rPr>
              <a:t>An agent lacks the ability to gather context, draw accurate conclusions, offer explanations and decisions, or determine subsequent actions without the aid of tools.</a:t>
            </a:r>
            <a:endParaRPr lang="en-US" sz="1400"/>
          </a:p>
        </p:txBody>
      </p:sp>
      <p:sp>
        <p:nvSpPr>
          <p:cNvPr id="108" name="TextBox 107">
            <a:extLst>
              <a:ext uri="{FF2B5EF4-FFF2-40B4-BE49-F238E27FC236}">
                <a16:creationId xmlns:a16="http://schemas.microsoft.com/office/drawing/2014/main" id="{B09D9232-5249-A4F9-C815-4775BE51F475}"/>
              </a:ext>
            </a:extLst>
          </p:cNvPr>
          <p:cNvSpPr txBox="1"/>
          <p:nvPr/>
        </p:nvSpPr>
        <p:spPr>
          <a:xfrm>
            <a:off x="1812852" y="5417287"/>
            <a:ext cx="3225250" cy="954107"/>
          </a:xfrm>
          <a:prstGeom prst="rect">
            <a:avLst/>
          </a:prstGeom>
          <a:noFill/>
        </p:spPr>
        <p:txBody>
          <a:bodyPr wrap="square" rtlCol="0">
            <a:spAutoFit/>
          </a:bodyPr>
          <a:lstStyle/>
          <a:p>
            <a:r>
              <a:rPr lang="en-US" sz="1400">
                <a:solidFill>
                  <a:srgbClr val="231F20"/>
                </a:solidFill>
                <a:effectLst/>
                <a:latin typeface="Arial" panose="020B0604020202020204" pitchFamily="34" charset="0"/>
              </a:rPr>
              <a:t>Grasping the task is one aspect; however, effectively applying the tools to complete that task is an entirely different challenge.</a:t>
            </a:r>
            <a:endParaRPr lang="en-US" sz="1400"/>
          </a:p>
        </p:txBody>
      </p:sp>
    </p:spTree>
    <p:extLst>
      <p:ext uri="{BB962C8B-B14F-4D97-AF65-F5344CB8AC3E}">
        <p14:creationId xmlns:p14="http://schemas.microsoft.com/office/powerpoint/2010/main" val="319998436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676E09-4DF5-5AA4-FFF3-A4D5091CAF93}"/>
              </a:ext>
            </a:extLst>
          </p:cNvPr>
          <p:cNvSpPr>
            <a:spLocks noGrp="1"/>
          </p:cNvSpPr>
          <p:nvPr>
            <p:ph type="title"/>
          </p:nvPr>
        </p:nvSpPr>
        <p:spPr/>
        <p:txBody>
          <a:bodyPr/>
          <a:lstStyle/>
          <a:p>
            <a:r>
              <a:rPr lang="en-US"/>
              <a:t>Dilemmas, Dilemmas, Dilemmas</a:t>
            </a:r>
          </a:p>
        </p:txBody>
      </p:sp>
      <p:grpSp>
        <p:nvGrpSpPr>
          <p:cNvPr id="4" name="Group 3">
            <a:extLst>
              <a:ext uri="{FF2B5EF4-FFF2-40B4-BE49-F238E27FC236}">
                <a16:creationId xmlns:a16="http://schemas.microsoft.com/office/drawing/2014/main" id="{3F1EB40A-BA2D-A3E7-1D48-C1377854E31D}"/>
              </a:ext>
            </a:extLst>
          </p:cNvPr>
          <p:cNvGrpSpPr/>
          <p:nvPr/>
        </p:nvGrpSpPr>
        <p:grpSpPr>
          <a:xfrm>
            <a:off x="384048" y="998416"/>
            <a:ext cx="5992643" cy="5445136"/>
            <a:chOff x="332936" y="2504656"/>
            <a:chExt cx="2926080" cy="5445136"/>
          </a:xfrm>
        </p:grpSpPr>
        <p:sp>
          <p:nvSpPr>
            <p:cNvPr id="5" name="TextBox 4">
              <a:extLst>
                <a:ext uri="{FF2B5EF4-FFF2-40B4-BE49-F238E27FC236}">
                  <a16:creationId xmlns:a16="http://schemas.microsoft.com/office/drawing/2014/main" id="{4C9B483B-10D5-A13C-0D1C-B9C5CC6F6876}"/>
                </a:ext>
              </a:extLst>
            </p:cNvPr>
            <p:cNvSpPr txBox="1"/>
            <p:nvPr/>
          </p:nvSpPr>
          <p:spPr>
            <a:xfrm>
              <a:off x="332936" y="2504656"/>
              <a:ext cx="2926080" cy="584775"/>
            </a:xfrm>
            <a:prstGeom prst="rect">
              <a:avLst/>
            </a:prstGeom>
            <a:noFill/>
          </p:spPr>
          <p:txBody>
            <a:bodyPr wrap="square" lIns="0" rIns="0" rtlCol="0" anchor="b">
              <a:spAutoFit/>
            </a:bodyPr>
            <a:lstStyle/>
            <a:p>
              <a:pPr algn="ctr"/>
              <a:r>
                <a:rPr lang="en-US" sz="3200" b="1" noProof="1"/>
                <a:t>Goal Conflicts</a:t>
              </a:r>
            </a:p>
          </p:txBody>
        </p:sp>
        <p:sp>
          <p:nvSpPr>
            <p:cNvPr id="6" name="TextBox 5">
              <a:extLst>
                <a:ext uri="{FF2B5EF4-FFF2-40B4-BE49-F238E27FC236}">
                  <a16:creationId xmlns:a16="http://schemas.microsoft.com/office/drawing/2014/main" id="{C88B9DDA-C9E1-215E-1B00-4BBBD88A3B34}"/>
                </a:ext>
              </a:extLst>
            </p:cNvPr>
            <p:cNvSpPr txBox="1"/>
            <p:nvPr/>
          </p:nvSpPr>
          <p:spPr>
            <a:xfrm>
              <a:off x="332936" y="3086922"/>
              <a:ext cx="2926080" cy="4862870"/>
            </a:xfrm>
            <a:prstGeom prst="rect">
              <a:avLst/>
            </a:prstGeom>
            <a:noFill/>
          </p:spPr>
          <p:txBody>
            <a:bodyPr wrap="square" lIns="0" rIns="0" rtlCol="0" anchor="t">
              <a:spAutoFit/>
            </a:bodyPr>
            <a:lstStyle/>
            <a:p>
              <a:pPr algn="just">
                <a:spcAft>
                  <a:spcPts val="1200"/>
                </a:spcAft>
              </a:pPr>
              <a:r>
                <a:rPr lang="en-US" sz="1600" noProof="1">
                  <a:solidFill>
                    <a:schemeClr val="tx1">
                      <a:lumMod val="65000"/>
                      <a:lumOff val="35000"/>
                    </a:schemeClr>
                  </a:solidFill>
                </a:rPr>
                <a:t>It is important to define clear goals and build systems to work with ambigious or incomplete inputs. </a:t>
              </a:r>
            </a:p>
            <a:p>
              <a:pPr marL="285750" indent="-285750" algn="just">
                <a:spcAft>
                  <a:spcPts val="1200"/>
                </a:spcAft>
                <a:buFont typeface="Arial" panose="020B0604020202020204" pitchFamily="34" charset="0"/>
                <a:buChar char="•"/>
              </a:pPr>
              <a:r>
                <a:rPr lang="en-US" sz="1600" noProof="1">
                  <a:solidFill>
                    <a:schemeClr val="tx1">
                      <a:lumMod val="65000"/>
                      <a:lumOff val="35000"/>
                    </a:schemeClr>
                  </a:solidFill>
                </a:rPr>
                <a:t>A revealing limitation in Agentic AI is LLMs inability to handle conflicting goals effectively.</a:t>
              </a:r>
            </a:p>
            <a:p>
              <a:pPr marL="285750" indent="-285750" algn="just">
                <a:spcAft>
                  <a:spcPts val="1200"/>
                </a:spcAft>
                <a:buFont typeface="Arial" panose="020B0604020202020204" pitchFamily="34" charset="0"/>
                <a:buChar char="•"/>
              </a:pPr>
              <a:r>
                <a:rPr lang="en-US" sz="1600" noProof="1">
                  <a:solidFill>
                    <a:schemeClr val="tx1">
                      <a:lumMod val="65000"/>
                      <a:lumOff val="35000"/>
                    </a:schemeClr>
                  </a:solidFill>
                </a:rPr>
                <a:t>Let’s experiment, go to your favorite LLM chat app.</a:t>
              </a:r>
            </a:p>
            <a:p>
              <a:pPr marL="285750" indent="-285750" algn="just">
                <a:spcAft>
                  <a:spcPts val="1200"/>
                </a:spcAft>
                <a:buFont typeface="Arial" panose="020B0604020202020204" pitchFamily="34" charset="0"/>
                <a:buChar char="•"/>
              </a:pPr>
              <a:r>
                <a:rPr lang="en-US" sz="1600" noProof="1">
                  <a:solidFill>
                    <a:schemeClr val="tx1">
                      <a:lumMod val="65000"/>
                      <a:lumOff val="35000"/>
                    </a:schemeClr>
                  </a:solidFill>
                </a:rPr>
                <a:t>Insert provided prompt.</a:t>
              </a:r>
            </a:p>
            <a:p>
              <a:pPr marL="285750" indent="-285750" algn="just">
                <a:spcAft>
                  <a:spcPts val="1200"/>
                </a:spcAft>
                <a:buFont typeface="Arial" panose="020B0604020202020204" pitchFamily="34" charset="0"/>
                <a:buChar char="•"/>
              </a:pPr>
              <a:r>
                <a:rPr lang="en-US" sz="1600" noProof="1">
                  <a:solidFill>
                    <a:schemeClr val="tx1">
                      <a:lumMod val="65000"/>
                      <a:lumOff val="35000"/>
                    </a:schemeClr>
                  </a:solidFill>
                </a:rPr>
                <a:t>Often this prompt reveals patterns in how your favorite LLM handles conflicts. </a:t>
              </a:r>
            </a:p>
            <a:p>
              <a:pPr marL="285750" indent="-285750" algn="just">
                <a:spcAft>
                  <a:spcPts val="1200"/>
                </a:spcAft>
                <a:buFont typeface="Arial" panose="020B0604020202020204" pitchFamily="34" charset="0"/>
                <a:buChar char="•"/>
              </a:pPr>
              <a:r>
                <a:rPr lang="en-US" sz="1600" noProof="1">
                  <a:solidFill>
                    <a:schemeClr val="tx1">
                      <a:lumMod val="65000"/>
                      <a:lumOff val="35000"/>
                    </a:schemeClr>
                  </a:solidFill>
                </a:rPr>
                <a:t>The model often demonstrates decision paralysis and struggles to make progress.</a:t>
              </a:r>
            </a:p>
            <a:p>
              <a:pPr marL="285750" indent="-285750" algn="just">
                <a:spcAft>
                  <a:spcPts val="1200"/>
                </a:spcAft>
                <a:buFont typeface="Arial" panose="020B0604020202020204" pitchFamily="34" charset="0"/>
                <a:buChar char="•"/>
              </a:pPr>
              <a:r>
                <a:rPr lang="en-US" sz="1600" noProof="1">
                  <a:solidFill>
                    <a:schemeClr val="tx1">
                      <a:lumMod val="65000"/>
                      <a:lumOff val="35000"/>
                    </a:schemeClr>
                  </a:solidFill>
                </a:rPr>
                <a:t>This paralysis can come in the form of an ocisllation between competing tasks or between different solutions that solves only a subset of the tasks.</a:t>
              </a:r>
            </a:p>
            <a:p>
              <a:pPr marL="285750" indent="-285750" algn="just">
                <a:spcAft>
                  <a:spcPts val="1200"/>
                </a:spcAft>
                <a:buFont typeface="Arial" panose="020B0604020202020204" pitchFamily="34" charset="0"/>
                <a:buChar char="•"/>
              </a:pPr>
              <a:r>
                <a:rPr lang="en-US" sz="1600" noProof="1">
                  <a:solidFill>
                    <a:schemeClr val="tx1">
                      <a:lumMod val="65000"/>
                      <a:lumOff val="35000"/>
                    </a:schemeClr>
                  </a:solidFill>
                </a:rPr>
                <a:t>Ideally some sort of compromise should be proposed that allows for the most possible complete state.</a:t>
              </a:r>
            </a:p>
          </p:txBody>
        </p:sp>
      </p:grpSp>
      <p:grpSp>
        <p:nvGrpSpPr>
          <p:cNvPr id="7" name="Graphic 7">
            <a:extLst>
              <a:ext uri="{FF2B5EF4-FFF2-40B4-BE49-F238E27FC236}">
                <a16:creationId xmlns:a16="http://schemas.microsoft.com/office/drawing/2014/main" id="{4CAF8DF6-226B-12F2-0440-9A65AFC4D4B5}"/>
              </a:ext>
            </a:extLst>
          </p:cNvPr>
          <p:cNvGrpSpPr/>
          <p:nvPr/>
        </p:nvGrpSpPr>
        <p:grpSpPr>
          <a:xfrm>
            <a:off x="7417087" y="677083"/>
            <a:ext cx="4160111" cy="5503834"/>
            <a:chOff x="-41481055" y="23290007"/>
            <a:chExt cx="3447090" cy="4560506"/>
          </a:xfrm>
        </p:grpSpPr>
        <p:sp>
          <p:nvSpPr>
            <p:cNvPr id="8" name="Freeform 9">
              <a:extLst>
                <a:ext uri="{FF2B5EF4-FFF2-40B4-BE49-F238E27FC236}">
                  <a16:creationId xmlns:a16="http://schemas.microsoft.com/office/drawing/2014/main" id="{C983013D-9873-895E-4FFE-F4F802C12C89}"/>
                </a:ext>
              </a:extLst>
            </p:cNvPr>
            <p:cNvSpPr/>
            <p:nvPr/>
          </p:nvSpPr>
          <p:spPr>
            <a:xfrm>
              <a:off x="-41387410" y="23290007"/>
              <a:ext cx="2984947" cy="4348268"/>
            </a:xfrm>
            <a:custGeom>
              <a:avLst/>
              <a:gdLst>
                <a:gd name="connsiteX0" fmla="*/ 1245077 w 2984947"/>
                <a:gd name="connsiteY0" fmla="*/ 593318 h 4348268"/>
                <a:gd name="connsiteX1" fmla="*/ 911563 w 2984947"/>
                <a:gd name="connsiteY1" fmla="*/ 784566 h 4348268"/>
                <a:gd name="connsiteX2" fmla="*/ 895237 w 2984947"/>
                <a:gd name="connsiteY2" fmla="*/ 805557 h 4348268"/>
                <a:gd name="connsiteX3" fmla="*/ 752968 w 2984947"/>
                <a:gd name="connsiteY3" fmla="*/ 838206 h 4348268"/>
                <a:gd name="connsiteX4" fmla="*/ 678336 w 2984947"/>
                <a:gd name="connsiteY4" fmla="*/ 961818 h 4348268"/>
                <a:gd name="connsiteX5" fmla="*/ 459103 w 2984947"/>
                <a:gd name="connsiteY5" fmla="*/ 1547216 h 4348268"/>
                <a:gd name="connsiteX6" fmla="*/ 361147 w 2984947"/>
                <a:gd name="connsiteY6" fmla="*/ 1533223 h 4348268"/>
                <a:gd name="connsiteX7" fmla="*/ 46291 w 2984947"/>
                <a:gd name="connsiteY7" fmla="*/ 1437601 h 4348268"/>
                <a:gd name="connsiteX8" fmla="*/ 27633 w 2984947"/>
                <a:gd name="connsiteY8" fmla="*/ 1430603 h 4348268"/>
                <a:gd name="connsiteX9" fmla="*/ 1979 w 2984947"/>
                <a:gd name="connsiteY9" fmla="*/ 1341978 h 4348268"/>
                <a:gd name="connsiteX10" fmla="*/ 559390 w 2984947"/>
                <a:gd name="connsiteY10" fmla="*/ 390412 h 4348268"/>
                <a:gd name="connsiteX11" fmla="*/ 2063702 w 2984947"/>
                <a:gd name="connsiteY11" fmla="*/ 33574 h 4348268"/>
                <a:gd name="connsiteX12" fmla="*/ 2751721 w 2984947"/>
                <a:gd name="connsiteY12" fmla="*/ 1239358 h 4348268"/>
                <a:gd name="connsiteX13" fmla="*/ 1648559 w 2984947"/>
                <a:gd name="connsiteY13" fmla="*/ 3042199 h 4348268"/>
                <a:gd name="connsiteX14" fmla="*/ 1601913 w 2984947"/>
                <a:gd name="connsiteY14" fmla="*/ 3156480 h 4348268"/>
                <a:gd name="connsiteX15" fmla="*/ 1580922 w 2984947"/>
                <a:gd name="connsiteY15" fmla="*/ 3256769 h 4348268"/>
                <a:gd name="connsiteX16" fmla="*/ 1482968 w 2984947"/>
                <a:gd name="connsiteY16" fmla="*/ 3319739 h 4348268"/>
                <a:gd name="connsiteX17" fmla="*/ 1058495 w 2984947"/>
                <a:gd name="connsiteY17" fmla="*/ 3420028 h 4348268"/>
                <a:gd name="connsiteX18" fmla="*/ 1079485 w 2984947"/>
                <a:gd name="connsiteY18" fmla="*/ 3231115 h 4348268"/>
                <a:gd name="connsiteX19" fmla="*/ 1156451 w 2984947"/>
                <a:gd name="connsiteY19" fmla="*/ 3002551 h 4348268"/>
                <a:gd name="connsiteX20" fmla="*/ 1249742 w 2984947"/>
                <a:gd name="connsiteY20" fmla="*/ 2806640 h 4348268"/>
                <a:gd name="connsiteX21" fmla="*/ 1252073 w 2984947"/>
                <a:gd name="connsiteY21" fmla="*/ 2790316 h 4348268"/>
                <a:gd name="connsiteX22" fmla="*/ 1646227 w 2984947"/>
                <a:gd name="connsiteY22" fmla="*/ 2204917 h 4348268"/>
                <a:gd name="connsiteX23" fmla="*/ 1751179 w 2984947"/>
                <a:gd name="connsiteY23" fmla="*/ 2067313 h 4348268"/>
                <a:gd name="connsiteX24" fmla="*/ 1755842 w 2984947"/>
                <a:gd name="connsiteY24" fmla="*/ 2050985 h 4348268"/>
                <a:gd name="connsiteX25" fmla="*/ 1842137 w 2984947"/>
                <a:gd name="connsiteY25" fmla="*/ 1948368 h 4348268"/>
                <a:gd name="connsiteX26" fmla="*/ 1900443 w 2984947"/>
                <a:gd name="connsiteY26" fmla="*/ 1848079 h 4348268"/>
                <a:gd name="connsiteX27" fmla="*/ 2124342 w 2984947"/>
                <a:gd name="connsiteY27" fmla="*/ 926834 h 4348268"/>
                <a:gd name="connsiteX28" fmla="*/ 1767504 w 2984947"/>
                <a:gd name="connsiteY28" fmla="*/ 607314 h 4348268"/>
                <a:gd name="connsiteX29" fmla="*/ 1657888 w 2984947"/>
                <a:gd name="connsiteY29" fmla="*/ 161849 h 4348268"/>
                <a:gd name="connsiteX30" fmla="*/ 1541275 w 2984947"/>
                <a:gd name="connsiteY30" fmla="*/ 140861 h 4348268"/>
                <a:gd name="connsiteX31" fmla="*/ 1494630 w 2984947"/>
                <a:gd name="connsiteY31" fmla="*/ 117538 h 4348268"/>
                <a:gd name="connsiteX32" fmla="*/ 1389678 w 2984947"/>
                <a:gd name="connsiteY32" fmla="*/ 185172 h 4348268"/>
                <a:gd name="connsiteX33" fmla="*/ 1382680 w 2984947"/>
                <a:gd name="connsiteY33" fmla="*/ 215492 h 4348268"/>
                <a:gd name="connsiteX34" fmla="*/ 1326706 w 2984947"/>
                <a:gd name="connsiteY34" fmla="*/ 229485 h 4348268"/>
                <a:gd name="connsiteX35" fmla="*/ 1268400 w 2984947"/>
                <a:gd name="connsiteY35" fmla="*/ 465044 h 4348268"/>
                <a:gd name="connsiteX36" fmla="*/ 1245077 w 2984947"/>
                <a:gd name="connsiteY36" fmla="*/ 593318 h 4348268"/>
                <a:gd name="connsiteX37" fmla="*/ 2705075 w 2984947"/>
                <a:gd name="connsiteY37" fmla="*/ 1589198 h 4348268"/>
                <a:gd name="connsiteX38" fmla="*/ 2609453 w 2984947"/>
                <a:gd name="connsiteY38" fmla="*/ 1773448 h 4348268"/>
                <a:gd name="connsiteX39" fmla="*/ 1872456 w 2984947"/>
                <a:gd name="connsiteY39" fmla="*/ 2706355 h 4348268"/>
                <a:gd name="connsiteX40" fmla="*/ 1888782 w 2984947"/>
                <a:gd name="connsiteY40" fmla="*/ 2944245 h 4348268"/>
                <a:gd name="connsiteX41" fmla="*/ 1900443 w 2984947"/>
                <a:gd name="connsiteY41" fmla="*/ 3016544 h 4348268"/>
                <a:gd name="connsiteX42" fmla="*/ 2033383 w 2984947"/>
                <a:gd name="connsiteY42" fmla="*/ 2801977 h 4348268"/>
                <a:gd name="connsiteX43" fmla="*/ 2775044 w 2984947"/>
                <a:gd name="connsiteY43" fmla="*/ 1883063 h 4348268"/>
                <a:gd name="connsiteX44" fmla="*/ 2835683 w 2984947"/>
                <a:gd name="connsiteY44" fmla="*/ 1738464 h 4348268"/>
                <a:gd name="connsiteX45" fmla="*/ 2716737 w 2984947"/>
                <a:gd name="connsiteY45" fmla="*/ 1589198 h 4348268"/>
                <a:gd name="connsiteX46" fmla="*/ 2705075 w 2984947"/>
                <a:gd name="connsiteY46" fmla="*/ 1589198 h 4348268"/>
                <a:gd name="connsiteX47" fmla="*/ 2968621 w 2984947"/>
                <a:gd name="connsiteY47" fmla="*/ 1106417 h 4348268"/>
                <a:gd name="connsiteX48" fmla="*/ 2984948 w 2984947"/>
                <a:gd name="connsiteY48" fmla="*/ 1115747 h 4348268"/>
                <a:gd name="connsiteX49" fmla="*/ 2952297 w 2984947"/>
                <a:gd name="connsiteY49" fmla="*/ 852202 h 4348268"/>
                <a:gd name="connsiteX50" fmla="*/ 2639772 w 2984947"/>
                <a:gd name="connsiteY50" fmla="*/ 350765 h 4348268"/>
                <a:gd name="connsiteX51" fmla="*/ 2558143 w 2984947"/>
                <a:gd name="connsiteY51" fmla="*/ 290124 h 4348268"/>
                <a:gd name="connsiteX52" fmla="*/ 2807696 w 2984947"/>
                <a:gd name="connsiteY52" fmla="*/ 950156 h 4348268"/>
                <a:gd name="connsiteX53" fmla="*/ 2966290 w 2984947"/>
                <a:gd name="connsiteY53" fmla="*/ 1108752 h 4348268"/>
                <a:gd name="connsiteX54" fmla="*/ 2952297 w 2984947"/>
                <a:gd name="connsiteY54" fmla="*/ 1160060 h 4348268"/>
                <a:gd name="connsiteX55" fmla="*/ 2866002 w 2984947"/>
                <a:gd name="connsiteY55" fmla="*/ 1073768 h 4348268"/>
                <a:gd name="connsiteX56" fmla="*/ 2814692 w 2984947"/>
                <a:gd name="connsiteY56" fmla="*/ 1036449 h 4348268"/>
                <a:gd name="connsiteX57" fmla="*/ 2819357 w 2984947"/>
                <a:gd name="connsiteY57" fmla="*/ 1073768 h 4348268"/>
                <a:gd name="connsiteX58" fmla="*/ 2931306 w 2984947"/>
                <a:gd name="connsiteY58" fmla="*/ 1190381 h 4348268"/>
                <a:gd name="connsiteX59" fmla="*/ 2980283 w 2984947"/>
                <a:gd name="connsiteY59" fmla="*/ 1225365 h 4348268"/>
                <a:gd name="connsiteX60" fmla="*/ 2952297 w 2984947"/>
                <a:gd name="connsiteY60" fmla="*/ 1160060 h 4348268"/>
                <a:gd name="connsiteX61" fmla="*/ 2821689 w 2984947"/>
                <a:gd name="connsiteY61" fmla="*/ 1143736 h 4348268"/>
                <a:gd name="connsiteX62" fmla="*/ 2807696 w 2984947"/>
                <a:gd name="connsiteY62" fmla="*/ 1157729 h 4348268"/>
                <a:gd name="connsiteX63" fmla="*/ 2928974 w 2984947"/>
                <a:gd name="connsiteY63" fmla="*/ 1272010 h 4348268"/>
                <a:gd name="connsiteX64" fmla="*/ 2952297 w 2984947"/>
                <a:gd name="connsiteY64" fmla="*/ 1283672 h 4348268"/>
                <a:gd name="connsiteX65" fmla="*/ 2963958 w 2984947"/>
                <a:gd name="connsiteY65" fmla="*/ 1297665 h 4348268"/>
                <a:gd name="connsiteX66" fmla="*/ 2940635 w 2984947"/>
                <a:gd name="connsiteY66" fmla="*/ 1260349 h 4348268"/>
                <a:gd name="connsiteX67" fmla="*/ 2821689 w 2984947"/>
                <a:gd name="connsiteY67" fmla="*/ 1143736 h 4348268"/>
                <a:gd name="connsiteX68" fmla="*/ 2800699 w 2984947"/>
                <a:gd name="connsiteY68" fmla="*/ 1369964 h 4348268"/>
                <a:gd name="connsiteX69" fmla="*/ 2784373 w 2984947"/>
                <a:gd name="connsiteY69" fmla="*/ 1381626 h 4348268"/>
                <a:gd name="connsiteX70" fmla="*/ 2903318 w 2984947"/>
                <a:gd name="connsiteY70" fmla="*/ 1495907 h 4348268"/>
                <a:gd name="connsiteX71" fmla="*/ 2924309 w 2984947"/>
                <a:gd name="connsiteY71" fmla="*/ 1507569 h 4348268"/>
                <a:gd name="connsiteX72" fmla="*/ 2877664 w 2984947"/>
                <a:gd name="connsiteY72" fmla="*/ 1446930 h 4348268"/>
                <a:gd name="connsiteX73" fmla="*/ 2800699 w 2984947"/>
                <a:gd name="connsiteY73" fmla="*/ 1369964 h 4348268"/>
                <a:gd name="connsiteX74" fmla="*/ 2891657 w 2984947"/>
                <a:gd name="connsiteY74" fmla="*/ 1523893 h 4348268"/>
                <a:gd name="connsiteX75" fmla="*/ 2793701 w 2984947"/>
                <a:gd name="connsiteY75" fmla="*/ 1425939 h 4348268"/>
                <a:gd name="connsiteX76" fmla="*/ 2777377 w 2984947"/>
                <a:gd name="connsiteY76" fmla="*/ 1437601 h 4348268"/>
                <a:gd name="connsiteX77" fmla="*/ 2903318 w 2984947"/>
                <a:gd name="connsiteY77" fmla="*/ 1556546 h 4348268"/>
                <a:gd name="connsiteX78" fmla="*/ 2910315 w 2984947"/>
                <a:gd name="connsiteY78" fmla="*/ 1535555 h 4348268"/>
                <a:gd name="connsiteX79" fmla="*/ 2891657 w 2984947"/>
                <a:gd name="connsiteY79" fmla="*/ 1523893 h 4348268"/>
                <a:gd name="connsiteX80" fmla="*/ 2803031 w 2984947"/>
                <a:gd name="connsiteY80" fmla="*/ 1239358 h 4348268"/>
                <a:gd name="connsiteX81" fmla="*/ 2891657 w 2984947"/>
                <a:gd name="connsiteY81" fmla="*/ 1327982 h 4348268"/>
                <a:gd name="connsiteX82" fmla="*/ 2912648 w 2984947"/>
                <a:gd name="connsiteY82" fmla="*/ 1339644 h 4348268"/>
                <a:gd name="connsiteX83" fmla="*/ 2900986 w 2984947"/>
                <a:gd name="connsiteY83" fmla="*/ 1318656 h 4348268"/>
                <a:gd name="connsiteX84" fmla="*/ 2814692 w 2984947"/>
                <a:gd name="connsiteY84" fmla="*/ 1227697 h 4348268"/>
                <a:gd name="connsiteX85" fmla="*/ 2791370 w 2984947"/>
                <a:gd name="connsiteY85" fmla="*/ 1218367 h 4348268"/>
                <a:gd name="connsiteX86" fmla="*/ 2803031 w 2984947"/>
                <a:gd name="connsiteY86" fmla="*/ 1239358 h 4348268"/>
                <a:gd name="connsiteX87" fmla="*/ 946547 w 2984947"/>
                <a:gd name="connsiteY87" fmla="*/ 793896 h 4348268"/>
                <a:gd name="connsiteX88" fmla="*/ 1142457 w 2984947"/>
                <a:gd name="connsiteY88" fmla="*/ 763575 h 4348268"/>
                <a:gd name="connsiteX89" fmla="*/ 1238080 w 2984947"/>
                <a:gd name="connsiteY89" fmla="*/ 716930 h 4348268"/>
                <a:gd name="connsiteX90" fmla="*/ 1238080 w 2984947"/>
                <a:gd name="connsiteY90" fmla="*/ 625971 h 4348268"/>
                <a:gd name="connsiteX91" fmla="*/ 944214 w 2984947"/>
                <a:gd name="connsiteY91" fmla="*/ 791561 h 4348268"/>
                <a:gd name="connsiteX92" fmla="*/ 517409 w 2984947"/>
                <a:gd name="connsiteY92" fmla="*/ 1418941 h 4348268"/>
                <a:gd name="connsiteX93" fmla="*/ 648016 w 2984947"/>
                <a:gd name="connsiteY93" fmla="*/ 1045779 h 4348268"/>
                <a:gd name="connsiteX94" fmla="*/ 487090 w 2984947"/>
                <a:gd name="connsiteY94" fmla="*/ 1540221 h 4348268"/>
                <a:gd name="connsiteX95" fmla="*/ 517409 w 2984947"/>
                <a:gd name="connsiteY95" fmla="*/ 1418941 h 4348268"/>
                <a:gd name="connsiteX96" fmla="*/ 1189102 w 2984947"/>
                <a:gd name="connsiteY96" fmla="*/ 4254978 h 4348268"/>
                <a:gd name="connsiteX97" fmla="*/ 1522616 w 2984947"/>
                <a:gd name="connsiteY97" fmla="*/ 3956449 h 4348268"/>
                <a:gd name="connsiteX98" fmla="*/ 1182105 w 2984947"/>
                <a:gd name="connsiteY98" fmla="*/ 3601943 h 4348268"/>
                <a:gd name="connsiteX99" fmla="*/ 941882 w 2984947"/>
                <a:gd name="connsiteY99" fmla="*/ 3991433 h 4348268"/>
                <a:gd name="connsiteX100" fmla="*/ 1025843 w 2984947"/>
                <a:gd name="connsiteY100" fmla="*/ 4217662 h 4348268"/>
                <a:gd name="connsiteX101" fmla="*/ 1025843 w 2984947"/>
                <a:gd name="connsiteY101" fmla="*/ 4226992 h 4348268"/>
                <a:gd name="connsiteX102" fmla="*/ 1116802 w 2984947"/>
                <a:gd name="connsiteY102" fmla="*/ 4261976 h 4348268"/>
                <a:gd name="connsiteX103" fmla="*/ 1186770 w 2984947"/>
                <a:gd name="connsiteY103" fmla="*/ 4254978 h 4348268"/>
                <a:gd name="connsiteX104" fmla="*/ 1559933 w 2984947"/>
                <a:gd name="connsiteY104" fmla="*/ 3975106 h 4348268"/>
                <a:gd name="connsiteX105" fmla="*/ 1247409 w 2984947"/>
                <a:gd name="connsiteY105" fmla="*/ 4259644 h 4348268"/>
                <a:gd name="connsiteX106" fmla="*/ 1172776 w 2984947"/>
                <a:gd name="connsiteY106" fmla="*/ 4273637 h 4348268"/>
                <a:gd name="connsiteX107" fmla="*/ 1210093 w 2984947"/>
                <a:gd name="connsiteY107" fmla="*/ 4301623 h 4348268"/>
                <a:gd name="connsiteX108" fmla="*/ 1275396 w 2984947"/>
                <a:gd name="connsiteY108" fmla="*/ 4343605 h 4348268"/>
                <a:gd name="connsiteX109" fmla="*/ 1315045 w 2984947"/>
                <a:gd name="connsiteY109" fmla="*/ 4348268 h 4348268"/>
                <a:gd name="connsiteX110" fmla="*/ 1331371 w 2984947"/>
                <a:gd name="connsiteY110" fmla="*/ 4348268 h 4348268"/>
                <a:gd name="connsiteX111" fmla="*/ 1669550 w 2984947"/>
                <a:gd name="connsiteY111" fmla="*/ 4108047 h 4348268"/>
                <a:gd name="connsiteX112" fmla="*/ 1683543 w 2984947"/>
                <a:gd name="connsiteY112" fmla="*/ 4052072 h 4348268"/>
                <a:gd name="connsiteX113" fmla="*/ 1559933 w 2984947"/>
                <a:gd name="connsiteY113" fmla="*/ 3975106 h 4348268"/>
                <a:gd name="connsiteX114" fmla="*/ 1522616 w 2984947"/>
                <a:gd name="connsiteY114" fmla="*/ 3648588 h 4348268"/>
                <a:gd name="connsiteX115" fmla="*/ 1571594 w 2984947"/>
                <a:gd name="connsiteY115" fmla="*/ 3786193 h 4348268"/>
                <a:gd name="connsiteX116" fmla="*/ 1730188 w 2984947"/>
                <a:gd name="connsiteY116" fmla="*/ 3877152 h 4348268"/>
                <a:gd name="connsiteX117" fmla="*/ 1522616 w 2984947"/>
                <a:gd name="connsiteY117" fmla="*/ 3648588 h 4348268"/>
                <a:gd name="connsiteX118" fmla="*/ 1802488 w 2984947"/>
                <a:gd name="connsiteY118" fmla="*/ 693607 h 4348268"/>
                <a:gd name="connsiteX119" fmla="*/ 1979741 w 2984947"/>
                <a:gd name="connsiteY119" fmla="*/ 742584 h 4348268"/>
                <a:gd name="connsiteX120" fmla="*/ 1951753 w 2984947"/>
                <a:gd name="connsiteY120" fmla="*/ 712266 h 4348268"/>
                <a:gd name="connsiteX121" fmla="*/ 1746514 w 2984947"/>
                <a:gd name="connsiteY121" fmla="*/ 635300 h 4348268"/>
                <a:gd name="connsiteX122" fmla="*/ 1734853 w 2984947"/>
                <a:gd name="connsiteY122" fmla="*/ 686609 h 4348268"/>
                <a:gd name="connsiteX123" fmla="*/ 1804821 w 2984947"/>
                <a:gd name="connsiteY123" fmla="*/ 695939 h 4348268"/>
                <a:gd name="connsiteX124" fmla="*/ 862584 w 2984947"/>
                <a:gd name="connsiteY124" fmla="*/ 3408366 h 4348268"/>
                <a:gd name="connsiteX125" fmla="*/ 857920 w 2984947"/>
                <a:gd name="connsiteY125" fmla="*/ 3392039 h 4348268"/>
                <a:gd name="connsiteX126" fmla="*/ 862584 w 2984947"/>
                <a:gd name="connsiteY126" fmla="*/ 3408366 h 4348268"/>
                <a:gd name="connsiteX127" fmla="*/ 855588 w 2984947"/>
                <a:gd name="connsiteY127" fmla="*/ 3373382 h 4348268"/>
                <a:gd name="connsiteX128" fmla="*/ 855588 w 2984947"/>
                <a:gd name="connsiteY128" fmla="*/ 3378046 h 4348268"/>
                <a:gd name="connsiteX129" fmla="*/ 855588 w 2984947"/>
                <a:gd name="connsiteY129" fmla="*/ 3373382 h 4348268"/>
                <a:gd name="connsiteX130" fmla="*/ 1308048 w 2984947"/>
                <a:gd name="connsiteY130" fmla="*/ 1232360 h 4348268"/>
                <a:gd name="connsiteX131" fmla="*/ 1333703 w 2984947"/>
                <a:gd name="connsiteY131" fmla="*/ 1209037 h 4348268"/>
                <a:gd name="connsiteX132" fmla="*/ 1333703 w 2984947"/>
                <a:gd name="connsiteY132" fmla="*/ 1288335 h 4348268"/>
                <a:gd name="connsiteX133" fmla="*/ 1350029 w 2984947"/>
                <a:gd name="connsiteY133" fmla="*/ 1267344 h 4348268"/>
                <a:gd name="connsiteX134" fmla="*/ 1350029 w 2984947"/>
                <a:gd name="connsiteY134" fmla="*/ 1178720 h 4348268"/>
                <a:gd name="connsiteX135" fmla="*/ 1361690 w 2984947"/>
                <a:gd name="connsiteY135" fmla="*/ 1199708 h 4348268"/>
                <a:gd name="connsiteX136" fmla="*/ 1373352 w 2984947"/>
                <a:gd name="connsiteY136" fmla="*/ 1339644 h 4348268"/>
                <a:gd name="connsiteX137" fmla="*/ 1361690 w 2984947"/>
                <a:gd name="connsiteY137" fmla="*/ 1327982 h 4348268"/>
                <a:gd name="connsiteX138" fmla="*/ 1357025 w 2984947"/>
                <a:gd name="connsiteY138" fmla="*/ 1411946 h 4348268"/>
                <a:gd name="connsiteX139" fmla="*/ 1424662 w 2984947"/>
                <a:gd name="connsiteY139" fmla="*/ 1955363 h 4348268"/>
                <a:gd name="connsiteX140" fmla="*/ 1373352 w 2984947"/>
                <a:gd name="connsiteY140" fmla="*/ 2102297 h 4348268"/>
                <a:gd name="connsiteX141" fmla="*/ 1357025 w 2984947"/>
                <a:gd name="connsiteY141" fmla="*/ 2102297 h 4348268"/>
                <a:gd name="connsiteX142" fmla="*/ 1315045 w 2984947"/>
                <a:gd name="connsiteY142" fmla="*/ 2039324 h 4348268"/>
                <a:gd name="connsiteX143" fmla="*/ 1275396 w 2984947"/>
                <a:gd name="connsiteY143" fmla="*/ 1754788 h 4348268"/>
                <a:gd name="connsiteX144" fmla="*/ 1287057 w 2984947"/>
                <a:gd name="connsiteY144" fmla="*/ 1689484 h 4348268"/>
                <a:gd name="connsiteX145" fmla="*/ 1275396 w 2984947"/>
                <a:gd name="connsiteY145" fmla="*/ 1668496 h 4348268"/>
                <a:gd name="connsiteX146" fmla="*/ 1308048 w 2984947"/>
                <a:gd name="connsiteY146" fmla="*/ 1232360 h 4348268"/>
                <a:gd name="connsiteX147" fmla="*/ 1331371 w 2984947"/>
                <a:gd name="connsiteY147" fmla="*/ 1351305 h 4348268"/>
                <a:gd name="connsiteX148" fmla="*/ 1326706 w 2984947"/>
                <a:gd name="connsiteY148" fmla="*/ 1302328 h 4348268"/>
                <a:gd name="connsiteX149" fmla="*/ 1331371 w 2984947"/>
                <a:gd name="connsiteY149" fmla="*/ 1351305 h 4348268"/>
                <a:gd name="connsiteX150" fmla="*/ 1303384 w 2984947"/>
                <a:gd name="connsiteY150" fmla="*/ 1649836 h 4348268"/>
                <a:gd name="connsiteX151" fmla="*/ 1326706 w 2984947"/>
                <a:gd name="connsiteY151" fmla="*/ 1537887 h 4348268"/>
                <a:gd name="connsiteX152" fmla="*/ 1326706 w 2984947"/>
                <a:gd name="connsiteY152" fmla="*/ 1376962 h 4348268"/>
                <a:gd name="connsiteX153" fmla="*/ 1315045 w 2984947"/>
                <a:gd name="connsiteY153" fmla="*/ 1367633 h 4348268"/>
                <a:gd name="connsiteX154" fmla="*/ 1303384 w 2984947"/>
                <a:gd name="connsiteY154" fmla="*/ 1649836 h 4348268"/>
                <a:gd name="connsiteX155" fmla="*/ 1252073 w 2984947"/>
                <a:gd name="connsiteY155" fmla="*/ 1547216 h 4348268"/>
                <a:gd name="connsiteX156" fmla="*/ 1240412 w 2984947"/>
                <a:gd name="connsiteY156" fmla="*/ 1561209 h 4348268"/>
                <a:gd name="connsiteX157" fmla="*/ 1217089 w 2984947"/>
                <a:gd name="connsiteY157" fmla="*/ 1656834 h 4348268"/>
                <a:gd name="connsiteX158" fmla="*/ 1189102 w 2984947"/>
                <a:gd name="connsiteY158" fmla="*/ 1789772 h 4348268"/>
                <a:gd name="connsiteX159" fmla="*/ 1189102 w 2984947"/>
                <a:gd name="connsiteY159" fmla="*/ 1831754 h 4348268"/>
                <a:gd name="connsiteX160" fmla="*/ 1163447 w 2984947"/>
                <a:gd name="connsiteY160" fmla="*/ 1967024 h 4348268"/>
                <a:gd name="connsiteX161" fmla="*/ 1238080 w 2984947"/>
                <a:gd name="connsiteY161" fmla="*/ 2088304 h 4348268"/>
                <a:gd name="connsiteX162" fmla="*/ 1280061 w 2984947"/>
                <a:gd name="connsiteY162" fmla="*/ 2039324 h 4348268"/>
                <a:gd name="connsiteX163" fmla="*/ 1263735 w 2984947"/>
                <a:gd name="connsiteY163" fmla="*/ 1964693 h 4348268"/>
                <a:gd name="connsiteX164" fmla="*/ 1252073 w 2984947"/>
                <a:gd name="connsiteY164" fmla="*/ 1549548 h 4348268"/>
                <a:gd name="connsiteX165" fmla="*/ 1366355 w 2984947"/>
                <a:gd name="connsiteY165" fmla="*/ 1078431 h 4348268"/>
                <a:gd name="connsiteX166" fmla="*/ 1324373 w 2984947"/>
                <a:gd name="connsiteY166" fmla="*/ 1059772 h 4348268"/>
                <a:gd name="connsiteX167" fmla="*/ 1336034 w 2984947"/>
                <a:gd name="connsiteY167" fmla="*/ 1139069 h 4348268"/>
                <a:gd name="connsiteX168" fmla="*/ 1366355 w 2984947"/>
                <a:gd name="connsiteY168" fmla="*/ 1078431 h 4348268"/>
                <a:gd name="connsiteX169" fmla="*/ 1713862 w 2984947"/>
                <a:gd name="connsiteY169" fmla="*/ 672616 h 4348268"/>
                <a:gd name="connsiteX170" fmla="*/ 1723192 w 2984947"/>
                <a:gd name="connsiteY170" fmla="*/ 632969 h 4348268"/>
                <a:gd name="connsiteX171" fmla="*/ 1695204 w 2984947"/>
                <a:gd name="connsiteY171" fmla="*/ 695939 h 4348268"/>
                <a:gd name="connsiteX172" fmla="*/ 1713862 w 2984947"/>
                <a:gd name="connsiteY172" fmla="*/ 672616 h 4348268"/>
                <a:gd name="connsiteX173" fmla="*/ 1331371 w 2984947"/>
                <a:gd name="connsiteY173" fmla="*/ 1190381 h 4348268"/>
                <a:gd name="connsiteX174" fmla="*/ 1336034 w 2984947"/>
                <a:gd name="connsiteY174" fmla="*/ 1202042 h 4348268"/>
                <a:gd name="connsiteX175" fmla="*/ 1331371 w 2984947"/>
                <a:gd name="connsiteY175" fmla="*/ 1190381 h 4348268"/>
                <a:gd name="connsiteX176" fmla="*/ 1993734 w 2984947"/>
                <a:gd name="connsiteY176" fmla="*/ 1316321 h 4348268"/>
                <a:gd name="connsiteX177" fmla="*/ 1998399 w 2984947"/>
                <a:gd name="connsiteY177" fmla="*/ 1311658 h 4348268"/>
                <a:gd name="connsiteX178" fmla="*/ 1993734 w 2984947"/>
                <a:gd name="connsiteY178" fmla="*/ 1316321 h 4348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Lst>
              <a:rect l="l" t="t" r="r" b="b"/>
              <a:pathLst>
                <a:path w="2984947" h="4348268">
                  <a:moveTo>
                    <a:pt x="1245077" y="593318"/>
                  </a:moveTo>
                  <a:cubicBezTo>
                    <a:pt x="1126130" y="637632"/>
                    <a:pt x="1009517" y="705268"/>
                    <a:pt x="911563" y="784566"/>
                  </a:cubicBezTo>
                  <a:cubicBezTo>
                    <a:pt x="904565" y="791561"/>
                    <a:pt x="895237" y="791561"/>
                    <a:pt x="895237" y="805557"/>
                  </a:cubicBezTo>
                  <a:cubicBezTo>
                    <a:pt x="843927" y="814884"/>
                    <a:pt x="801946" y="805557"/>
                    <a:pt x="752968" y="838206"/>
                  </a:cubicBezTo>
                  <a:cubicBezTo>
                    <a:pt x="706322" y="868527"/>
                    <a:pt x="694661" y="912841"/>
                    <a:pt x="678336" y="961818"/>
                  </a:cubicBezTo>
                  <a:cubicBezTo>
                    <a:pt x="531402" y="1118078"/>
                    <a:pt x="463767" y="1334980"/>
                    <a:pt x="459103" y="1547216"/>
                  </a:cubicBezTo>
                  <a:cubicBezTo>
                    <a:pt x="431115" y="1540221"/>
                    <a:pt x="391466" y="1540221"/>
                    <a:pt x="361147" y="1533223"/>
                  </a:cubicBezTo>
                  <a:cubicBezTo>
                    <a:pt x="263192" y="1512232"/>
                    <a:pt x="141915" y="1470253"/>
                    <a:pt x="46291" y="1437601"/>
                  </a:cubicBezTo>
                  <a:cubicBezTo>
                    <a:pt x="39294" y="1437601"/>
                    <a:pt x="32298" y="1437601"/>
                    <a:pt x="27633" y="1430603"/>
                  </a:cubicBezTo>
                  <a:cubicBezTo>
                    <a:pt x="13640" y="1421273"/>
                    <a:pt x="1979" y="1360635"/>
                    <a:pt x="1979" y="1341978"/>
                  </a:cubicBezTo>
                  <a:cubicBezTo>
                    <a:pt x="-28342" y="999133"/>
                    <a:pt x="295844" y="581657"/>
                    <a:pt x="559390" y="390412"/>
                  </a:cubicBezTo>
                  <a:cubicBezTo>
                    <a:pt x="1014182" y="59231"/>
                    <a:pt x="1503958" y="-66712"/>
                    <a:pt x="2063702" y="33574"/>
                  </a:cubicBezTo>
                  <a:cubicBezTo>
                    <a:pt x="2665427" y="138526"/>
                    <a:pt x="2817024" y="700605"/>
                    <a:pt x="2751721" y="1239358"/>
                  </a:cubicBezTo>
                  <a:cubicBezTo>
                    <a:pt x="2667760" y="1943702"/>
                    <a:pt x="1926099" y="2412487"/>
                    <a:pt x="1648559" y="3042199"/>
                  </a:cubicBezTo>
                  <a:cubicBezTo>
                    <a:pt x="1632233" y="3077183"/>
                    <a:pt x="1613575" y="3119165"/>
                    <a:pt x="1601913" y="3156480"/>
                  </a:cubicBezTo>
                  <a:cubicBezTo>
                    <a:pt x="1594917" y="3177471"/>
                    <a:pt x="1587920" y="3245108"/>
                    <a:pt x="1580922" y="3256769"/>
                  </a:cubicBezTo>
                  <a:cubicBezTo>
                    <a:pt x="1573926" y="3266099"/>
                    <a:pt x="1499293" y="3310410"/>
                    <a:pt x="1482968" y="3319739"/>
                  </a:cubicBezTo>
                  <a:cubicBezTo>
                    <a:pt x="1347696" y="3387375"/>
                    <a:pt x="1203096" y="3396705"/>
                    <a:pt x="1058495" y="3420028"/>
                  </a:cubicBezTo>
                  <a:cubicBezTo>
                    <a:pt x="1049166" y="3380378"/>
                    <a:pt x="1067824" y="3273094"/>
                    <a:pt x="1079485" y="3231115"/>
                  </a:cubicBezTo>
                  <a:cubicBezTo>
                    <a:pt x="1095811" y="3161147"/>
                    <a:pt x="1151786" y="3056195"/>
                    <a:pt x="1156451" y="3002551"/>
                  </a:cubicBezTo>
                  <a:cubicBezTo>
                    <a:pt x="1186770" y="2937247"/>
                    <a:pt x="1217089" y="2871945"/>
                    <a:pt x="1249742" y="2806640"/>
                  </a:cubicBezTo>
                  <a:cubicBezTo>
                    <a:pt x="1252073" y="2799645"/>
                    <a:pt x="1249742" y="2792647"/>
                    <a:pt x="1252073" y="2790316"/>
                  </a:cubicBezTo>
                  <a:cubicBezTo>
                    <a:pt x="1357025" y="2587407"/>
                    <a:pt x="1506291" y="2386832"/>
                    <a:pt x="1646227" y="2204917"/>
                  </a:cubicBezTo>
                  <a:cubicBezTo>
                    <a:pt x="1678878" y="2162935"/>
                    <a:pt x="1732520" y="2113958"/>
                    <a:pt x="1751179" y="2067313"/>
                  </a:cubicBezTo>
                  <a:cubicBezTo>
                    <a:pt x="1751179" y="2062647"/>
                    <a:pt x="1760507" y="2057983"/>
                    <a:pt x="1755842" y="2050985"/>
                  </a:cubicBezTo>
                  <a:cubicBezTo>
                    <a:pt x="1807153" y="2041658"/>
                    <a:pt x="1818814" y="1988015"/>
                    <a:pt x="1842137" y="1948368"/>
                  </a:cubicBezTo>
                  <a:cubicBezTo>
                    <a:pt x="1860794" y="1915715"/>
                    <a:pt x="1879454" y="1880731"/>
                    <a:pt x="1900443" y="1848079"/>
                  </a:cubicBezTo>
                  <a:cubicBezTo>
                    <a:pt x="2089358" y="1570539"/>
                    <a:pt x="2245619" y="1281337"/>
                    <a:pt x="2124342" y="926834"/>
                  </a:cubicBezTo>
                  <a:cubicBezTo>
                    <a:pt x="2063702" y="749582"/>
                    <a:pt x="1949422" y="653960"/>
                    <a:pt x="1767504" y="607314"/>
                  </a:cubicBezTo>
                  <a:cubicBezTo>
                    <a:pt x="1860794" y="453382"/>
                    <a:pt x="1837472" y="238815"/>
                    <a:pt x="1657888" y="161849"/>
                  </a:cubicBezTo>
                  <a:cubicBezTo>
                    <a:pt x="1611243" y="140861"/>
                    <a:pt x="1580922" y="150188"/>
                    <a:pt x="1541275" y="140861"/>
                  </a:cubicBezTo>
                  <a:cubicBezTo>
                    <a:pt x="1522616" y="136195"/>
                    <a:pt x="1522616" y="119870"/>
                    <a:pt x="1494630" y="117538"/>
                  </a:cubicBezTo>
                  <a:cubicBezTo>
                    <a:pt x="1445651" y="115204"/>
                    <a:pt x="1408336" y="140861"/>
                    <a:pt x="1389678" y="185172"/>
                  </a:cubicBezTo>
                  <a:cubicBezTo>
                    <a:pt x="1385013" y="194501"/>
                    <a:pt x="1385013" y="215492"/>
                    <a:pt x="1382680" y="215492"/>
                  </a:cubicBezTo>
                  <a:cubicBezTo>
                    <a:pt x="1382680" y="215492"/>
                    <a:pt x="1347696" y="215492"/>
                    <a:pt x="1326706" y="229485"/>
                  </a:cubicBezTo>
                  <a:cubicBezTo>
                    <a:pt x="1249742" y="280797"/>
                    <a:pt x="1268400" y="383414"/>
                    <a:pt x="1268400" y="465044"/>
                  </a:cubicBezTo>
                  <a:cubicBezTo>
                    <a:pt x="1268400" y="539678"/>
                    <a:pt x="1261403" y="528017"/>
                    <a:pt x="1245077" y="593318"/>
                  </a:cubicBezTo>
                  <a:close/>
                  <a:moveTo>
                    <a:pt x="2705075" y="1589198"/>
                  </a:moveTo>
                  <a:cubicBezTo>
                    <a:pt x="2674756" y="1652168"/>
                    <a:pt x="2644437" y="1712807"/>
                    <a:pt x="2609453" y="1773448"/>
                  </a:cubicBezTo>
                  <a:cubicBezTo>
                    <a:pt x="2411210" y="2116290"/>
                    <a:pt x="2105683" y="2386832"/>
                    <a:pt x="1872456" y="2706355"/>
                  </a:cubicBezTo>
                  <a:lnTo>
                    <a:pt x="1888782" y="2944245"/>
                  </a:lnTo>
                  <a:cubicBezTo>
                    <a:pt x="1891115" y="2967567"/>
                    <a:pt x="1898112" y="2993222"/>
                    <a:pt x="1900443" y="3016544"/>
                  </a:cubicBezTo>
                  <a:cubicBezTo>
                    <a:pt x="1942424" y="2941913"/>
                    <a:pt x="1977408" y="2867279"/>
                    <a:pt x="2033383" y="2801977"/>
                  </a:cubicBezTo>
                  <a:cubicBezTo>
                    <a:pt x="2282936" y="2494116"/>
                    <a:pt x="2588462" y="2244565"/>
                    <a:pt x="2775044" y="1883063"/>
                  </a:cubicBezTo>
                  <a:cubicBezTo>
                    <a:pt x="2786705" y="1859740"/>
                    <a:pt x="2838015" y="1757120"/>
                    <a:pt x="2835683" y="1738464"/>
                  </a:cubicBezTo>
                  <a:cubicBezTo>
                    <a:pt x="2835683" y="1724468"/>
                    <a:pt x="2735395" y="1610189"/>
                    <a:pt x="2716737" y="1589198"/>
                  </a:cubicBezTo>
                  <a:cubicBezTo>
                    <a:pt x="2712072" y="1582200"/>
                    <a:pt x="2709740" y="1582200"/>
                    <a:pt x="2705075" y="1589198"/>
                  </a:cubicBezTo>
                  <a:close/>
                  <a:moveTo>
                    <a:pt x="2968621" y="1106417"/>
                  </a:moveTo>
                  <a:cubicBezTo>
                    <a:pt x="2973286" y="1111083"/>
                    <a:pt x="2975619" y="1118078"/>
                    <a:pt x="2984948" y="1115747"/>
                  </a:cubicBezTo>
                  <a:cubicBezTo>
                    <a:pt x="2980283" y="1024788"/>
                    <a:pt x="2973286" y="940827"/>
                    <a:pt x="2952297" y="852202"/>
                  </a:cubicBezTo>
                  <a:cubicBezTo>
                    <a:pt x="2898653" y="604980"/>
                    <a:pt x="2819357" y="514024"/>
                    <a:pt x="2639772" y="350765"/>
                  </a:cubicBezTo>
                  <a:cubicBezTo>
                    <a:pt x="2630443" y="341435"/>
                    <a:pt x="2567473" y="283129"/>
                    <a:pt x="2558143" y="290124"/>
                  </a:cubicBezTo>
                  <a:cubicBezTo>
                    <a:pt x="2707409" y="479040"/>
                    <a:pt x="2789038" y="709932"/>
                    <a:pt x="2807696" y="950156"/>
                  </a:cubicBezTo>
                  <a:cubicBezTo>
                    <a:pt x="2861338" y="994470"/>
                    <a:pt x="2912648" y="1066770"/>
                    <a:pt x="2966290" y="1108752"/>
                  </a:cubicBezTo>
                  <a:close/>
                  <a:moveTo>
                    <a:pt x="2952297" y="1160060"/>
                  </a:moveTo>
                  <a:cubicBezTo>
                    <a:pt x="2924309" y="1132074"/>
                    <a:pt x="2896322" y="1099422"/>
                    <a:pt x="2866002" y="1073768"/>
                  </a:cubicBezTo>
                  <a:cubicBezTo>
                    <a:pt x="2861338" y="1069101"/>
                    <a:pt x="2817024" y="1031786"/>
                    <a:pt x="2814692" y="1036449"/>
                  </a:cubicBezTo>
                  <a:cubicBezTo>
                    <a:pt x="2814692" y="1050445"/>
                    <a:pt x="2814692" y="1062106"/>
                    <a:pt x="2819357" y="1073768"/>
                  </a:cubicBezTo>
                  <a:cubicBezTo>
                    <a:pt x="2824022" y="1083094"/>
                    <a:pt x="2917313" y="1176385"/>
                    <a:pt x="2931306" y="1190381"/>
                  </a:cubicBezTo>
                  <a:cubicBezTo>
                    <a:pt x="2935970" y="1195044"/>
                    <a:pt x="2975619" y="1227697"/>
                    <a:pt x="2980283" y="1225365"/>
                  </a:cubicBezTo>
                  <a:cubicBezTo>
                    <a:pt x="2987281" y="1178720"/>
                    <a:pt x="2975619" y="1183383"/>
                    <a:pt x="2952297" y="1160060"/>
                  </a:cubicBezTo>
                  <a:close/>
                  <a:moveTo>
                    <a:pt x="2821689" y="1143736"/>
                  </a:moveTo>
                  <a:cubicBezTo>
                    <a:pt x="2798366" y="1125076"/>
                    <a:pt x="2793701" y="1134406"/>
                    <a:pt x="2807696" y="1157729"/>
                  </a:cubicBezTo>
                  <a:cubicBezTo>
                    <a:pt x="2814692" y="1167058"/>
                    <a:pt x="2912648" y="1258014"/>
                    <a:pt x="2928974" y="1272010"/>
                  </a:cubicBezTo>
                  <a:cubicBezTo>
                    <a:pt x="2935970" y="1279005"/>
                    <a:pt x="2945299" y="1279005"/>
                    <a:pt x="2952297" y="1283672"/>
                  </a:cubicBezTo>
                  <a:cubicBezTo>
                    <a:pt x="2959293" y="1288335"/>
                    <a:pt x="2954628" y="1299996"/>
                    <a:pt x="2963958" y="1297665"/>
                  </a:cubicBezTo>
                  <a:cubicBezTo>
                    <a:pt x="2963958" y="1283672"/>
                    <a:pt x="2949964" y="1269676"/>
                    <a:pt x="2940635" y="1260349"/>
                  </a:cubicBezTo>
                  <a:cubicBezTo>
                    <a:pt x="2912648" y="1227697"/>
                    <a:pt x="2854341" y="1169390"/>
                    <a:pt x="2821689" y="1143736"/>
                  </a:cubicBezTo>
                  <a:close/>
                  <a:moveTo>
                    <a:pt x="2800699" y="1369964"/>
                  </a:moveTo>
                  <a:cubicBezTo>
                    <a:pt x="2777377" y="1351305"/>
                    <a:pt x="2770379" y="1362966"/>
                    <a:pt x="2784373" y="1381626"/>
                  </a:cubicBezTo>
                  <a:cubicBezTo>
                    <a:pt x="2803031" y="1404948"/>
                    <a:pt x="2877664" y="1474916"/>
                    <a:pt x="2903318" y="1495907"/>
                  </a:cubicBezTo>
                  <a:cubicBezTo>
                    <a:pt x="2910315" y="1500571"/>
                    <a:pt x="2912648" y="1509900"/>
                    <a:pt x="2924309" y="1507569"/>
                  </a:cubicBezTo>
                  <a:lnTo>
                    <a:pt x="2877664" y="1446930"/>
                  </a:lnTo>
                  <a:cubicBezTo>
                    <a:pt x="2849676" y="1423608"/>
                    <a:pt x="2826354" y="1390955"/>
                    <a:pt x="2800699" y="1369964"/>
                  </a:cubicBezTo>
                  <a:close/>
                  <a:moveTo>
                    <a:pt x="2891657" y="1523893"/>
                  </a:moveTo>
                  <a:cubicBezTo>
                    <a:pt x="2861338" y="1493576"/>
                    <a:pt x="2826354" y="1451594"/>
                    <a:pt x="2793701" y="1425939"/>
                  </a:cubicBezTo>
                  <a:cubicBezTo>
                    <a:pt x="2772712" y="1409612"/>
                    <a:pt x="2768047" y="1409612"/>
                    <a:pt x="2777377" y="1437601"/>
                  </a:cubicBezTo>
                  <a:lnTo>
                    <a:pt x="2903318" y="1556546"/>
                  </a:lnTo>
                  <a:cubicBezTo>
                    <a:pt x="2914980" y="1561209"/>
                    <a:pt x="2912648" y="1540221"/>
                    <a:pt x="2910315" y="1535555"/>
                  </a:cubicBezTo>
                  <a:cubicBezTo>
                    <a:pt x="2910315" y="1535555"/>
                    <a:pt x="2896322" y="1528560"/>
                    <a:pt x="2891657" y="1523893"/>
                  </a:cubicBezTo>
                  <a:close/>
                  <a:moveTo>
                    <a:pt x="2803031" y="1239358"/>
                  </a:moveTo>
                  <a:cubicBezTo>
                    <a:pt x="2824022" y="1265012"/>
                    <a:pt x="2868334" y="1306994"/>
                    <a:pt x="2891657" y="1327982"/>
                  </a:cubicBezTo>
                  <a:cubicBezTo>
                    <a:pt x="2898653" y="1332649"/>
                    <a:pt x="2900986" y="1341978"/>
                    <a:pt x="2912648" y="1339644"/>
                  </a:cubicBezTo>
                  <a:cubicBezTo>
                    <a:pt x="2914980" y="1327982"/>
                    <a:pt x="2905651" y="1325651"/>
                    <a:pt x="2900986" y="1318656"/>
                  </a:cubicBezTo>
                  <a:cubicBezTo>
                    <a:pt x="2886992" y="1302328"/>
                    <a:pt x="2828685" y="1237026"/>
                    <a:pt x="2814692" y="1227697"/>
                  </a:cubicBezTo>
                  <a:cubicBezTo>
                    <a:pt x="2807696" y="1223030"/>
                    <a:pt x="2803031" y="1216035"/>
                    <a:pt x="2791370" y="1218367"/>
                  </a:cubicBezTo>
                  <a:cubicBezTo>
                    <a:pt x="2789038" y="1230028"/>
                    <a:pt x="2798366" y="1232360"/>
                    <a:pt x="2803031" y="1239358"/>
                  </a:cubicBezTo>
                  <a:close/>
                  <a:moveTo>
                    <a:pt x="946547" y="793896"/>
                  </a:moveTo>
                  <a:cubicBezTo>
                    <a:pt x="1009517" y="782234"/>
                    <a:pt x="1084150" y="777568"/>
                    <a:pt x="1142457" y="763575"/>
                  </a:cubicBezTo>
                  <a:cubicBezTo>
                    <a:pt x="1168112" y="758912"/>
                    <a:pt x="1203096" y="716930"/>
                    <a:pt x="1238080" y="716930"/>
                  </a:cubicBezTo>
                  <a:cubicBezTo>
                    <a:pt x="1240412" y="686609"/>
                    <a:pt x="1238080" y="656291"/>
                    <a:pt x="1238080" y="625971"/>
                  </a:cubicBezTo>
                  <a:cubicBezTo>
                    <a:pt x="1133128" y="665621"/>
                    <a:pt x="1030508" y="719261"/>
                    <a:pt x="944214" y="791561"/>
                  </a:cubicBezTo>
                  <a:close/>
                  <a:moveTo>
                    <a:pt x="517409" y="1418941"/>
                  </a:moveTo>
                  <a:cubicBezTo>
                    <a:pt x="554725" y="1297665"/>
                    <a:pt x="608368" y="1171722"/>
                    <a:pt x="648016" y="1045779"/>
                  </a:cubicBezTo>
                  <a:cubicBezTo>
                    <a:pt x="533735" y="1176385"/>
                    <a:pt x="494087" y="1367633"/>
                    <a:pt x="487090" y="1540221"/>
                  </a:cubicBezTo>
                  <a:cubicBezTo>
                    <a:pt x="501083" y="1512232"/>
                    <a:pt x="505748" y="1453925"/>
                    <a:pt x="517409" y="1418941"/>
                  </a:cubicBezTo>
                  <a:close/>
                  <a:moveTo>
                    <a:pt x="1189102" y="4254978"/>
                  </a:moveTo>
                  <a:cubicBezTo>
                    <a:pt x="1340699" y="4231655"/>
                    <a:pt x="1480635" y="4101049"/>
                    <a:pt x="1522616" y="3956449"/>
                  </a:cubicBezTo>
                  <a:cubicBezTo>
                    <a:pt x="1592584" y="3713893"/>
                    <a:pt x="1445651" y="3492327"/>
                    <a:pt x="1182105" y="3601943"/>
                  </a:cubicBezTo>
                  <a:cubicBezTo>
                    <a:pt x="1035173" y="3662584"/>
                    <a:pt x="948879" y="3839836"/>
                    <a:pt x="941882" y="3991433"/>
                  </a:cubicBezTo>
                  <a:cubicBezTo>
                    <a:pt x="937217" y="4073063"/>
                    <a:pt x="962872" y="4161687"/>
                    <a:pt x="1025843" y="4217662"/>
                  </a:cubicBezTo>
                  <a:cubicBezTo>
                    <a:pt x="1028176" y="4219994"/>
                    <a:pt x="1025843" y="4226992"/>
                    <a:pt x="1025843" y="4226992"/>
                  </a:cubicBezTo>
                  <a:cubicBezTo>
                    <a:pt x="1039838" y="4238653"/>
                    <a:pt x="1098144" y="4254978"/>
                    <a:pt x="1116802" y="4261976"/>
                  </a:cubicBezTo>
                  <a:cubicBezTo>
                    <a:pt x="1137792" y="4250314"/>
                    <a:pt x="1163447" y="4257312"/>
                    <a:pt x="1186770" y="4254978"/>
                  </a:cubicBezTo>
                  <a:close/>
                  <a:moveTo>
                    <a:pt x="1559933" y="3975106"/>
                  </a:moveTo>
                  <a:cubicBezTo>
                    <a:pt x="1510954" y="4112710"/>
                    <a:pt x="1387345" y="4222328"/>
                    <a:pt x="1247409" y="4259644"/>
                  </a:cubicBezTo>
                  <a:cubicBezTo>
                    <a:pt x="1228751" y="4264307"/>
                    <a:pt x="1191435" y="4273637"/>
                    <a:pt x="1172776" y="4273637"/>
                  </a:cubicBezTo>
                  <a:cubicBezTo>
                    <a:pt x="1172776" y="4287630"/>
                    <a:pt x="1200763" y="4296960"/>
                    <a:pt x="1210093" y="4301623"/>
                  </a:cubicBezTo>
                  <a:cubicBezTo>
                    <a:pt x="1231082" y="4310953"/>
                    <a:pt x="1277728" y="4315619"/>
                    <a:pt x="1275396" y="4343605"/>
                  </a:cubicBezTo>
                  <a:cubicBezTo>
                    <a:pt x="1291722" y="4343605"/>
                    <a:pt x="1310380" y="4348268"/>
                    <a:pt x="1315045" y="4348268"/>
                  </a:cubicBezTo>
                  <a:cubicBezTo>
                    <a:pt x="1319710" y="4348268"/>
                    <a:pt x="1326706" y="4348268"/>
                    <a:pt x="1331371" y="4348268"/>
                  </a:cubicBezTo>
                  <a:cubicBezTo>
                    <a:pt x="1452648" y="4348268"/>
                    <a:pt x="1615906" y="4212999"/>
                    <a:pt x="1669550" y="4108047"/>
                  </a:cubicBezTo>
                  <a:cubicBezTo>
                    <a:pt x="1676546" y="4094054"/>
                    <a:pt x="1695204" y="4066065"/>
                    <a:pt x="1683543" y="4052072"/>
                  </a:cubicBezTo>
                  <a:cubicBezTo>
                    <a:pt x="1667217" y="4031081"/>
                    <a:pt x="1583256" y="4000763"/>
                    <a:pt x="1559933" y="3975106"/>
                  </a:cubicBezTo>
                  <a:close/>
                  <a:moveTo>
                    <a:pt x="1522616" y="3648588"/>
                  </a:moveTo>
                  <a:cubicBezTo>
                    <a:pt x="1550603" y="3690570"/>
                    <a:pt x="1557600" y="3739547"/>
                    <a:pt x="1571594" y="3786193"/>
                  </a:cubicBezTo>
                  <a:lnTo>
                    <a:pt x="1730188" y="3877152"/>
                  </a:lnTo>
                  <a:cubicBezTo>
                    <a:pt x="1727856" y="3765202"/>
                    <a:pt x="1625236" y="3678909"/>
                    <a:pt x="1522616" y="3648588"/>
                  </a:cubicBezTo>
                  <a:close/>
                  <a:moveTo>
                    <a:pt x="1802488" y="693607"/>
                  </a:moveTo>
                  <a:cubicBezTo>
                    <a:pt x="1863128" y="705268"/>
                    <a:pt x="1919101" y="730923"/>
                    <a:pt x="1979741" y="742584"/>
                  </a:cubicBezTo>
                  <a:lnTo>
                    <a:pt x="1951753" y="712266"/>
                  </a:lnTo>
                  <a:cubicBezTo>
                    <a:pt x="1888782" y="674948"/>
                    <a:pt x="1818814" y="644630"/>
                    <a:pt x="1746514" y="635300"/>
                  </a:cubicBezTo>
                  <a:cubicBezTo>
                    <a:pt x="1739518" y="653960"/>
                    <a:pt x="1730188" y="665621"/>
                    <a:pt x="1734853" y="686609"/>
                  </a:cubicBezTo>
                  <a:cubicBezTo>
                    <a:pt x="1748846" y="686609"/>
                    <a:pt x="1788495" y="691275"/>
                    <a:pt x="1804821" y="695939"/>
                  </a:cubicBezTo>
                  <a:close/>
                  <a:moveTo>
                    <a:pt x="862584" y="3408366"/>
                  </a:moveTo>
                  <a:cubicBezTo>
                    <a:pt x="862584" y="3396705"/>
                    <a:pt x="857920" y="3392039"/>
                    <a:pt x="857920" y="3392039"/>
                  </a:cubicBezTo>
                  <a:lnTo>
                    <a:pt x="862584" y="3408366"/>
                  </a:lnTo>
                  <a:close/>
                  <a:moveTo>
                    <a:pt x="855588" y="3373382"/>
                  </a:moveTo>
                  <a:lnTo>
                    <a:pt x="855588" y="3378046"/>
                  </a:lnTo>
                  <a:cubicBezTo>
                    <a:pt x="855588" y="3378046"/>
                    <a:pt x="855588" y="3378046"/>
                    <a:pt x="855588" y="3373382"/>
                  </a:cubicBezTo>
                  <a:close/>
                  <a:moveTo>
                    <a:pt x="1308048" y="1232360"/>
                  </a:moveTo>
                  <a:cubicBezTo>
                    <a:pt x="1312712" y="1220699"/>
                    <a:pt x="1317377" y="1206706"/>
                    <a:pt x="1333703" y="1209037"/>
                  </a:cubicBezTo>
                  <a:lnTo>
                    <a:pt x="1333703" y="1288335"/>
                  </a:lnTo>
                  <a:cubicBezTo>
                    <a:pt x="1333703" y="1295333"/>
                    <a:pt x="1350029" y="1281337"/>
                    <a:pt x="1350029" y="1267344"/>
                  </a:cubicBezTo>
                  <a:lnTo>
                    <a:pt x="1350029" y="1178720"/>
                  </a:lnTo>
                  <a:cubicBezTo>
                    <a:pt x="1361690" y="1178720"/>
                    <a:pt x="1361690" y="1190381"/>
                    <a:pt x="1361690" y="1199708"/>
                  </a:cubicBezTo>
                  <a:cubicBezTo>
                    <a:pt x="1366355" y="1246353"/>
                    <a:pt x="1368687" y="1292998"/>
                    <a:pt x="1373352" y="1339644"/>
                  </a:cubicBezTo>
                  <a:cubicBezTo>
                    <a:pt x="1368687" y="1334980"/>
                    <a:pt x="1368687" y="1325651"/>
                    <a:pt x="1361690" y="1327982"/>
                  </a:cubicBezTo>
                  <a:cubicBezTo>
                    <a:pt x="1354694" y="1355971"/>
                    <a:pt x="1354694" y="1383957"/>
                    <a:pt x="1357025" y="1411946"/>
                  </a:cubicBezTo>
                  <a:cubicBezTo>
                    <a:pt x="1368687" y="1589198"/>
                    <a:pt x="1410667" y="1775779"/>
                    <a:pt x="1424662" y="1955363"/>
                  </a:cubicBezTo>
                  <a:cubicBezTo>
                    <a:pt x="1413000" y="1974022"/>
                    <a:pt x="1380348" y="2099965"/>
                    <a:pt x="1373352" y="2102297"/>
                  </a:cubicBezTo>
                  <a:cubicBezTo>
                    <a:pt x="1373352" y="2102297"/>
                    <a:pt x="1361690" y="2102297"/>
                    <a:pt x="1357025" y="2102297"/>
                  </a:cubicBezTo>
                  <a:cubicBezTo>
                    <a:pt x="1354694" y="2102297"/>
                    <a:pt x="1319710" y="2046322"/>
                    <a:pt x="1315045" y="2039324"/>
                  </a:cubicBezTo>
                  <a:cubicBezTo>
                    <a:pt x="1273064" y="1960029"/>
                    <a:pt x="1277728" y="1843416"/>
                    <a:pt x="1275396" y="1754788"/>
                  </a:cubicBezTo>
                  <a:cubicBezTo>
                    <a:pt x="1294054" y="1745459"/>
                    <a:pt x="1287057" y="1708143"/>
                    <a:pt x="1287057" y="1689484"/>
                  </a:cubicBezTo>
                  <a:cubicBezTo>
                    <a:pt x="1287057" y="1677823"/>
                    <a:pt x="1294054" y="1666161"/>
                    <a:pt x="1275396" y="1668496"/>
                  </a:cubicBezTo>
                  <a:cubicBezTo>
                    <a:pt x="1275396" y="1547216"/>
                    <a:pt x="1268400" y="1346642"/>
                    <a:pt x="1308048" y="1232360"/>
                  </a:cubicBezTo>
                  <a:close/>
                  <a:moveTo>
                    <a:pt x="1331371" y="1351305"/>
                  </a:moveTo>
                  <a:lnTo>
                    <a:pt x="1326706" y="1302328"/>
                  </a:lnTo>
                  <a:cubicBezTo>
                    <a:pt x="1326706" y="1320987"/>
                    <a:pt x="1308048" y="1353640"/>
                    <a:pt x="1331371" y="1351305"/>
                  </a:cubicBezTo>
                  <a:close/>
                  <a:moveTo>
                    <a:pt x="1303384" y="1649836"/>
                  </a:moveTo>
                  <a:cubicBezTo>
                    <a:pt x="1329038" y="1624182"/>
                    <a:pt x="1312712" y="1570539"/>
                    <a:pt x="1326706" y="1537887"/>
                  </a:cubicBezTo>
                  <a:lnTo>
                    <a:pt x="1326706" y="1376962"/>
                  </a:lnTo>
                  <a:cubicBezTo>
                    <a:pt x="1326706" y="1376962"/>
                    <a:pt x="1319710" y="1367633"/>
                    <a:pt x="1315045" y="1367633"/>
                  </a:cubicBezTo>
                  <a:cubicBezTo>
                    <a:pt x="1315045" y="1460923"/>
                    <a:pt x="1305715" y="1554214"/>
                    <a:pt x="1303384" y="1649836"/>
                  </a:cubicBezTo>
                  <a:close/>
                  <a:moveTo>
                    <a:pt x="1252073" y="1547216"/>
                  </a:moveTo>
                  <a:cubicBezTo>
                    <a:pt x="1235747" y="1544884"/>
                    <a:pt x="1242744" y="1551882"/>
                    <a:pt x="1240412" y="1561209"/>
                  </a:cubicBezTo>
                  <a:cubicBezTo>
                    <a:pt x="1233415" y="1593861"/>
                    <a:pt x="1224086" y="1624182"/>
                    <a:pt x="1217089" y="1656834"/>
                  </a:cubicBezTo>
                  <a:cubicBezTo>
                    <a:pt x="1207760" y="1698813"/>
                    <a:pt x="1196098" y="1745459"/>
                    <a:pt x="1189102" y="1789772"/>
                  </a:cubicBezTo>
                  <a:cubicBezTo>
                    <a:pt x="1189102" y="1794436"/>
                    <a:pt x="1189102" y="1820093"/>
                    <a:pt x="1189102" y="1831754"/>
                  </a:cubicBezTo>
                  <a:cubicBezTo>
                    <a:pt x="1184437" y="1862072"/>
                    <a:pt x="1158783" y="1943702"/>
                    <a:pt x="1163447" y="1967024"/>
                  </a:cubicBezTo>
                  <a:cubicBezTo>
                    <a:pt x="1165779" y="1978686"/>
                    <a:pt x="1233415" y="2083638"/>
                    <a:pt x="1238080" y="2088304"/>
                  </a:cubicBezTo>
                  <a:cubicBezTo>
                    <a:pt x="1252073" y="2095299"/>
                    <a:pt x="1277728" y="2050985"/>
                    <a:pt x="1280061" y="2039324"/>
                  </a:cubicBezTo>
                  <a:cubicBezTo>
                    <a:pt x="1282393" y="2018336"/>
                    <a:pt x="1266066" y="1988015"/>
                    <a:pt x="1263735" y="1964693"/>
                  </a:cubicBezTo>
                  <a:cubicBezTo>
                    <a:pt x="1247409" y="1827088"/>
                    <a:pt x="1252073" y="1687152"/>
                    <a:pt x="1252073" y="1549548"/>
                  </a:cubicBezTo>
                  <a:close/>
                  <a:moveTo>
                    <a:pt x="1366355" y="1078431"/>
                  </a:moveTo>
                  <a:cubicBezTo>
                    <a:pt x="1361690" y="1073768"/>
                    <a:pt x="1329038" y="1062106"/>
                    <a:pt x="1324373" y="1059772"/>
                  </a:cubicBezTo>
                  <a:cubicBezTo>
                    <a:pt x="1282393" y="1055108"/>
                    <a:pt x="1296387" y="1139069"/>
                    <a:pt x="1336034" y="1139069"/>
                  </a:cubicBezTo>
                  <a:cubicBezTo>
                    <a:pt x="1359357" y="1139069"/>
                    <a:pt x="1385013" y="1094756"/>
                    <a:pt x="1366355" y="1078431"/>
                  </a:cubicBezTo>
                  <a:close/>
                  <a:moveTo>
                    <a:pt x="1713862" y="672616"/>
                  </a:moveTo>
                  <a:cubicBezTo>
                    <a:pt x="1716195" y="665621"/>
                    <a:pt x="1727856" y="637632"/>
                    <a:pt x="1723192" y="632969"/>
                  </a:cubicBezTo>
                  <a:cubicBezTo>
                    <a:pt x="1704534" y="614309"/>
                    <a:pt x="1685874" y="681946"/>
                    <a:pt x="1695204" y="695939"/>
                  </a:cubicBezTo>
                  <a:cubicBezTo>
                    <a:pt x="1709197" y="700605"/>
                    <a:pt x="1711530" y="681946"/>
                    <a:pt x="1713862" y="672616"/>
                  </a:cubicBezTo>
                  <a:close/>
                  <a:moveTo>
                    <a:pt x="1331371" y="1190381"/>
                  </a:moveTo>
                  <a:cubicBezTo>
                    <a:pt x="1326706" y="1197376"/>
                    <a:pt x="1336034" y="1206706"/>
                    <a:pt x="1336034" y="1202042"/>
                  </a:cubicBezTo>
                  <a:cubicBezTo>
                    <a:pt x="1340699" y="1195044"/>
                    <a:pt x="1331371" y="1185715"/>
                    <a:pt x="1331371" y="1190381"/>
                  </a:cubicBezTo>
                  <a:close/>
                  <a:moveTo>
                    <a:pt x="1993734" y="1316321"/>
                  </a:moveTo>
                  <a:cubicBezTo>
                    <a:pt x="1993734" y="1316321"/>
                    <a:pt x="1998399" y="1316321"/>
                    <a:pt x="1998399" y="1311658"/>
                  </a:cubicBezTo>
                  <a:lnTo>
                    <a:pt x="1993734" y="1316321"/>
                  </a:lnTo>
                  <a:close/>
                </a:path>
              </a:pathLst>
            </a:custGeom>
            <a:solidFill>
              <a:schemeClr val="accent2"/>
            </a:solidFill>
            <a:ln w="23318" cap="flat">
              <a:noFill/>
              <a:prstDash val="solid"/>
              <a:miter/>
            </a:ln>
          </p:spPr>
          <p:txBody>
            <a:bodyPr rtlCol="0" anchor="ctr"/>
            <a:lstStyle/>
            <a:p>
              <a:endParaRPr lang="en-US"/>
            </a:p>
          </p:txBody>
        </p:sp>
        <p:sp>
          <p:nvSpPr>
            <p:cNvPr id="9" name="Freeform 10">
              <a:extLst>
                <a:ext uri="{FF2B5EF4-FFF2-40B4-BE49-F238E27FC236}">
                  <a16:creationId xmlns:a16="http://schemas.microsoft.com/office/drawing/2014/main" id="{82E7FA41-6357-F3E3-D95D-6206E65AD1A1}"/>
                </a:ext>
              </a:extLst>
            </p:cNvPr>
            <p:cNvSpPr/>
            <p:nvPr/>
          </p:nvSpPr>
          <p:spPr>
            <a:xfrm>
              <a:off x="-41481055" y="23416725"/>
              <a:ext cx="3447090" cy="4433788"/>
            </a:xfrm>
            <a:custGeom>
              <a:avLst/>
              <a:gdLst>
                <a:gd name="connsiteX0" fmla="*/ 270544 w 3447090"/>
                <a:gd name="connsiteY0" fmla="*/ 4417461 h 4433788"/>
                <a:gd name="connsiteX1" fmla="*/ 1924120 w 3447090"/>
                <a:gd name="connsiteY1" fmla="*/ 4417461 h 4433788"/>
                <a:gd name="connsiteX2" fmla="*/ 1924120 w 3447090"/>
                <a:gd name="connsiteY2" fmla="*/ 4433789 h 4433788"/>
                <a:gd name="connsiteX3" fmla="*/ 270544 w 3447090"/>
                <a:gd name="connsiteY3" fmla="*/ 4433789 h 4433788"/>
                <a:gd name="connsiteX4" fmla="*/ 270544 w 3447090"/>
                <a:gd name="connsiteY4" fmla="*/ 4417461 h 4433788"/>
                <a:gd name="connsiteX5" fmla="*/ 3195206 w 3447090"/>
                <a:gd name="connsiteY5" fmla="*/ 4177239 h 4433788"/>
                <a:gd name="connsiteX6" fmla="*/ 3246516 w 3447090"/>
                <a:gd name="connsiteY6" fmla="*/ 4200562 h 4433788"/>
                <a:gd name="connsiteX7" fmla="*/ 3246516 w 3447090"/>
                <a:gd name="connsiteY7" fmla="*/ 4184234 h 4433788"/>
                <a:gd name="connsiteX8" fmla="*/ 3195206 w 3447090"/>
                <a:gd name="connsiteY8" fmla="*/ 4177239 h 4433788"/>
                <a:gd name="connsiteX9" fmla="*/ 181917 w 3447090"/>
                <a:gd name="connsiteY9" fmla="*/ 501584 h 4433788"/>
                <a:gd name="connsiteX10" fmla="*/ 790639 w 3447090"/>
                <a:gd name="connsiteY10" fmla="*/ 65451 h 4433788"/>
                <a:gd name="connsiteX11" fmla="*/ 935240 w 3447090"/>
                <a:gd name="connsiteY11" fmla="*/ 21137 h 4433788"/>
                <a:gd name="connsiteX12" fmla="*/ 949233 w 3447090"/>
                <a:gd name="connsiteY12" fmla="*/ 2481 h 4433788"/>
                <a:gd name="connsiteX13" fmla="*/ 361501 w 3447090"/>
                <a:gd name="connsiteY13" fmla="*/ 308007 h 4433788"/>
                <a:gd name="connsiteX14" fmla="*/ 125943 w 3447090"/>
                <a:gd name="connsiteY14" fmla="*/ 543566 h 4433788"/>
                <a:gd name="connsiteX15" fmla="*/ 116613 w 3447090"/>
                <a:gd name="connsiteY15" fmla="*/ 571552 h 4433788"/>
                <a:gd name="connsiteX16" fmla="*/ 181917 w 3447090"/>
                <a:gd name="connsiteY16" fmla="*/ 501584 h 4433788"/>
                <a:gd name="connsiteX17" fmla="*/ 2353258 w 3447090"/>
                <a:gd name="connsiteY17" fmla="*/ 4088612 h 4433788"/>
                <a:gd name="connsiteX18" fmla="*/ 2313609 w 3447090"/>
                <a:gd name="connsiteY18" fmla="*/ 4135257 h 4433788"/>
                <a:gd name="connsiteX19" fmla="*/ 2588817 w 3447090"/>
                <a:gd name="connsiteY19" fmla="*/ 4158580 h 4433788"/>
                <a:gd name="connsiteX20" fmla="*/ 2938657 w 3447090"/>
                <a:gd name="connsiteY20" fmla="*/ 4186566 h 4433788"/>
                <a:gd name="connsiteX21" fmla="*/ 2980637 w 3447090"/>
                <a:gd name="connsiteY21" fmla="*/ 4209889 h 4433788"/>
                <a:gd name="connsiteX22" fmla="*/ 2637795 w 3447090"/>
                <a:gd name="connsiteY22" fmla="*/ 4111934 h 4433788"/>
                <a:gd name="connsiteX23" fmla="*/ 2586485 w 3447090"/>
                <a:gd name="connsiteY23" fmla="*/ 4132925 h 4433788"/>
                <a:gd name="connsiteX24" fmla="*/ 2544504 w 3447090"/>
                <a:gd name="connsiteY24" fmla="*/ 4100273 h 4433788"/>
                <a:gd name="connsiteX25" fmla="*/ 2348593 w 3447090"/>
                <a:gd name="connsiteY25" fmla="*/ 4086280 h 4433788"/>
                <a:gd name="connsiteX26" fmla="*/ 443131 w 3447090"/>
                <a:gd name="connsiteY26" fmla="*/ 1705036 h 4433788"/>
                <a:gd name="connsiteX27" fmla="*/ 485111 w 3447090"/>
                <a:gd name="connsiteY27" fmla="*/ 2031553 h 4433788"/>
                <a:gd name="connsiteX28" fmla="*/ 548083 w 3447090"/>
                <a:gd name="connsiteY28" fmla="*/ 2374395 h 4433788"/>
                <a:gd name="connsiteX29" fmla="*/ 576070 w 3447090"/>
                <a:gd name="connsiteY29" fmla="*/ 2418709 h 4433788"/>
                <a:gd name="connsiteX30" fmla="*/ 461789 w 3447090"/>
                <a:gd name="connsiteY30" fmla="*/ 1677047 h 4433788"/>
                <a:gd name="connsiteX31" fmla="*/ 443131 w 3447090"/>
                <a:gd name="connsiteY31" fmla="*/ 1702701 h 4433788"/>
                <a:gd name="connsiteX32" fmla="*/ 2936325 w 3447090"/>
                <a:gd name="connsiteY32" fmla="*/ 189062 h 4433788"/>
                <a:gd name="connsiteX33" fmla="*/ 3148561 w 3447090"/>
                <a:gd name="connsiteY33" fmla="*/ 774461 h 4433788"/>
                <a:gd name="connsiteX34" fmla="*/ 3167218 w 3447090"/>
                <a:gd name="connsiteY34" fmla="*/ 788454 h 4433788"/>
                <a:gd name="connsiteX35" fmla="*/ 3106580 w 3447090"/>
                <a:gd name="connsiteY35" fmla="*/ 548229 h 4433788"/>
                <a:gd name="connsiteX36" fmla="*/ 2917667 w 3447090"/>
                <a:gd name="connsiteY36" fmla="*/ 128421 h 4433788"/>
                <a:gd name="connsiteX37" fmla="*/ 2852362 w 3447090"/>
                <a:gd name="connsiteY37" fmla="*/ 58453 h 4433788"/>
                <a:gd name="connsiteX38" fmla="*/ 2861692 w 3447090"/>
                <a:gd name="connsiteY38" fmla="*/ 81776 h 4433788"/>
                <a:gd name="connsiteX39" fmla="*/ 2938657 w 3447090"/>
                <a:gd name="connsiteY39" fmla="*/ 189062 h 4433788"/>
                <a:gd name="connsiteX40" fmla="*/ 2187666 w 3447090"/>
                <a:gd name="connsiteY40" fmla="*/ 2763883 h 4433788"/>
                <a:gd name="connsiteX41" fmla="*/ 2369584 w 3447090"/>
                <a:gd name="connsiteY41" fmla="*/ 2560977 h 4433788"/>
                <a:gd name="connsiteX42" fmla="*/ 2521182 w 3447090"/>
                <a:gd name="connsiteY42" fmla="*/ 2437366 h 4433788"/>
                <a:gd name="connsiteX43" fmla="*/ 2535175 w 3447090"/>
                <a:gd name="connsiteY43" fmla="*/ 2409379 h 4433788"/>
                <a:gd name="connsiteX44" fmla="*/ 2511852 w 3447090"/>
                <a:gd name="connsiteY44" fmla="*/ 2418709 h 4433788"/>
                <a:gd name="connsiteX45" fmla="*/ 2180670 w 3447090"/>
                <a:gd name="connsiteY45" fmla="*/ 2747558 h 4433788"/>
                <a:gd name="connsiteX46" fmla="*/ 2173673 w 3447090"/>
                <a:gd name="connsiteY46" fmla="*/ 2777879 h 4433788"/>
                <a:gd name="connsiteX47" fmla="*/ 2187666 w 3447090"/>
                <a:gd name="connsiteY47" fmla="*/ 2766217 h 4433788"/>
                <a:gd name="connsiteX48" fmla="*/ 862939 w 3447090"/>
                <a:gd name="connsiteY48" fmla="*/ 3729442 h 4433788"/>
                <a:gd name="connsiteX49" fmla="*/ 951565 w 3447090"/>
                <a:gd name="connsiteY49" fmla="*/ 4067621 h 4433788"/>
                <a:gd name="connsiteX50" fmla="*/ 972556 w 3447090"/>
                <a:gd name="connsiteY50" fmla="*/ 4065289 h 4433788"/>
                <a:gd name="connsiteX51" fmla="*/ 932907 w 3447090"/>
                <a:gd name="connsiteY51" fmla="*/ 3995321 h 4433788"/>
                <a:gd name="connsiteX52" fmla="*/ 881597 w 3447090"/>
                <a:gd name="connsiteY52" fmla="*/ 3787749 h 4433788"/>
                <a:gd name="connsiteX53" fmla="*/ 862939 w 3447090"/>
                <a:gd name="connsiteY53" fmla="*/ 3727110 h 4433788"/>
                <a:gd name="connsiteX54" fmla="*/ 3027282 w 3447090"/>
                <a:gd name="connsiteY54" fmla="*/ 4200562 h 4433788"/>
                <a:gd name="connsiteX55" fmla="*/ 3085589 w 3447090"/>
                <a:gd name="connsiteY55" fmla="*/ 4207557 h 4433788"/>
                <a:gd name="connsiteX56" fmla="*/ 3141564 w 3447090"/>
                <a:gd name="connsiteY56" fmla="*/ 4207557 h 4433788"/>
                <a:gd name="connsiteX57" fmla="*/ 3085589 w 3447090"/>
                <a:gd name="connsiteY57" fmla="*/ 4186566 h 4433788"/>
                <a:gd name="connsiteX58" fmla="*/ 3027282 w 3447090"/>
                <a:gd name="connsiteY58" fmla="*/ 4202894 h 4433788"/>
                <a:gd name="connsiteX59" fmla="*/ 3199871 w 3447090"/>
                <a:gd name="connsiteY59" fmla="*/ 636856 h 4433788"/>
                <a:gd name="connsiteX60" fmla="*/ 3106580 w 3447090"/>
                <a:gd name="connsiteY60" fmla="*/ 1637400 h 4433788"/>
                <a:gd name="connsiteX61" fmla="*/ 2999296 w 3447090"/>
                <a:gd name="connsiteY61" fmla="*/ 1863628 h 4433788"/>
                <a:gd name="connsiteX62" fmla="*/ 2982970 w 3447090"/>
                <a:gd name="connsiteY62" fmla="*/ 1912605 h 4433788"/>
                <a:gd name="connsiteX63" fmla="*/ 3001628 w 3447090"/>
                <a:gd name="connsiteY63" fmla="*/ 1898612 h 4433788"/>
                <a:gd name="connsiteX64" fmla="*/ 3220862 w 3447090"/>
                <a:gd name="connsiteY64" fmla="*/ 1327207 h 4433788"/>
                <a:gd name="connsiteX65" fmla="*/ 3178880 w 3447090"/>
                <a:gd name="connsiteY65" fmla="*/ 517911 h 4433788"/>
                <a:gd name="connsiteX66" fmla="*/ 3160222 w 3447090"/>
                <a:gd name="connsiteY66" fmla="*/ 513245 h 4433788"/>
                <a:gd name="connsiteX67" fmla="*/ 3197539 w 3447090"/>
                <a:gd name="connsiteY67" fmla="*/ 636856 h 4433788"/>
                <a:gd name="connsiteX68" fmla="*/ 1877475 w 3447090"/>
                <a:gd name="connsiteY68" fmla="*/ 4279857 h 4433788"/>
                <a:gd name="connsiteX69" fmla="*/ 1865814 w 3447090"/>
                <a:gd name="connsiteY69" fmla="*/ 4256534 h 4433788"/>
                <a:gd name="connsiteX70" fmla="*/ 1814504 w 3447090"/>
                <a:gd name="connsiteY70" fmla="*/ 4263532 h 4433788"/>
                <a:gd name="connsiteX71" fmla="*/ 1427348 w 3447090"/>
                <a:gd name="connsiteY71" fmla="*/ 4223885 h 4433788"/>
                <a:gd name="connsiteX72" fmla="*/ 1411022 w 3447090"/>
                <a:gd name="connsiteY72" fmla="*/ 4223885 h 4433788"/>
                <a:gd name="connsiteX73" fmla="*/ 1427348 w 3447090"/>
                <a:gd name="connsiteY73" fmla="*/ 4244873 h 4433788"/>
                <a:gd name="connsiteX74" fmla="*/ 1877475 w 3447090"/>
                <a:gd name="connsiteY74" fmla="*/ 4282191 h 4433788"/>
                <a:gd name="connsiteX75" fmla="*/ 832620 w 3447090"/>
                <a:gd name="connsiteY75" fmla="*/ 4158580 h 4433788"/>
                <a:gd name="connsiteX76" fmla="*/ 445464 w 3447090"/>
                <a:gd name="connsiteY76" fmla="*/ 4219218 h 4433788"/>
                <a:gd name="connsiteX77" fmla="*/ 289202 w 3447090"/>
                <a:gd name="connsiteY77" fmla="*/ 4261200 h 4433788"/>
                <a:gd name="connsiteX78" fmla="*/ 284537 w 3447090"/>
                <a:gd name="connsiteY78" fmla="*/ 4277525 h 4433788"/>
                <a:gd name="connsiteX79" fmla="*/ 583067 w 3447090"/>
                <a:gd name="connsiteY79" fmla="*/ 4209889 h 4433788"/>
                <a:gd name="connsiteX80" fmla="*/ 1005208 w 3447090"/>
                <a:gd name="connsiteY80" fmla="*/ 4186566 h 4433788"/>
                <a:gd name="connsiteX81" fmla="*/ 1042524 w 3447090"/>
                <a:gd name="connsiteY81" fmla="*/ 4214555 h 4433788"/>
                <a:gd name="connsiteX82" fmla="*/ 832620 w 3447090"/>
                <a:gd name="connsiteY82" fmla="*/ 4156248 h 4433788"/>
                <a:gd name="connsiteX83" fmla="*/ 3447091 w 3447090"/>
                <a:gd name="connsiteY83" fmla="*/ 4279857 h 4433788"/>
                <a:gd name="connsiteX84" fmla="*/ 3437762 w 3447090"/>
                <a:gd name="connsiteY84" fmla="*/ 4291518 h 4433788"/>
                <a:gd name="connsiteX85" fmla="*/ 2409232 w 3447090"/>
                <a:gd name="connsiteY85" fmla="*/ 4291518 h 4433788"/>
                <a:gd name="connsiteX86" fmla="*/ 2364919 w 3447090"/>
                <a:gd name="connsiteY86" fmla="*/ 4298516 h 4433788"/>
                <a:gd name="connsiteX87" fmla="*/ 1933450 w 3447090"/>
                <a:gd name="connsiteY87" fmla="*/ 4303179 h 4433788"/>
                <a:gd name="connsiteX88" fmla="*/ 1924120 w 3447090"/>
                <a:gd name="connsiteY88" fmla="*/ 4314841 h 4433788"/>
                <a:gd name="connsiteX89" fmla="*/ 2528178 w 3447090"/>
                <a:gd name="connsiteY89" fmla="*/ 4314841 h 4433788"/>
                <a:gd name="connsiteX90" fmla="*/ 2507187 w 3447090"/>
                <a:gd name="connsiteY90" fmla="*/ 4326502 h 4433788"/>
                <a:gd name="connsiteX91" fmla="*/ 2346262 w 3447090"/>
                <a:gd name="connsiteY91" fmla="*/ 4338163 h 4433788"/>
                <a:gd name="connsiteX92" fmla="*/ 2138689 w 3447090"/>
                <a:gd name="connsiteY92" fmla="*/ 4342830 h 4433788"/>
                <a:gd name="connsiteX93" fmla="*/ 2117698 w 3447090"/>
                <a:gd name="connsiteY93" fmla="*/ 4347493 h 4433788"/>
                <a:gd name="connsiteX94" fmla="*/ 3020286 w 3447090"/>
                <a:gd name="connsiteY94" fmla="*/ 4417461 h 4433788"/>
                <a:gd name="connsiteX95" fmla="*/ 2994632 w 3447090"/>
                <a:gd name="connsiteY95" fmla="*/ 4429122 h 4433788"/>
                <a:gd name="connsiteX96" fmla="*/ 2159680 w 3447090"/>
                <a:gd name="connsiteY96" fmla="*/ 4429122 h 4433788"/>
                <a:gd name="connsiteX97" fmla="*/ 2159680 w 3447090"/>
                <a:gd name="connsiteY97" fmla="*/ 4412798 h 4433788"/>
                <a:gd name="connsiteX98" fmla="*/ 2819712 w 3447090"/>
                <a:gd name="connsiteY98" fmla="*/ 4412798 h 4433788"/>
                <a:gd name="connsiteX99" fmla="*/ 2679776 w 3447090"/>
                <a:gd name="connsiteY99" fmla="*/ 4396470 h 4433788"/>
                <a:gd name="connsiteX100" fmla="*/ 492109 w 3447090"/>
                <a:gd name="connsiteY100" fmla="*/ 4310177 h 4433788"/>
                <a:gd name="connsiteX101" fmla="*/ 0 w 3447090"/>
                <a:gd name="connsiteY101" fmla="*/ 4305514 h 4433788"/>
                <a:gd name="connsiteX102" fmla="*/ 0 w 3447090"/>
                <a:gd name="connsiteY102" fmla="*/ 4289186 h 4433788"/>
                <a:gd name="connsiteX103" fmla="*/ 1007540 w 3447090"/>
                <a:gd name="connsiteY103" fmla="*/ 4300848 h 4433788"/>
                <a:gd name="connsiteX104" fmla="*/ 1040192 w 3447090"/>
                <a:gd name="connsiteY104" fmla="*/ 4219218 h 4433788"/>
                <a:gd name="connsiteX105" fmla="*/ 1112492 w 3447090"/>
                <a:gd name="connsiteY105" fmla="*/ 4132925 h 4433788"/>
                <a:gd name="connsiteX106" fmla="*/ 1119488 w 3447090"/>
                <a:gd name="connsiteY106" fmla="*/ 4102605 h 4433788"/>
                <a:gd name="connsiteX107" fmla="*/ 1210447 w 3447090"/>
                <a:gd name="connsiteY107" fmla="*/ 4137589 h 4433788"/>
                <a:gd name="connsiteX108" fmla="*/ 1261757 w 3447090"/>
                <a:gd name="connsiteY108" fmla="*/ 4149250 h 4433788"/>
                <a:gd name="connsiteX109" fmla="*/ 1299073 w 3447090"/>
                <a:gd name="connsiteY109" fmla="*/ 4177239 h 4433788"/>
                <a:gd name="connsiteX110" fmla="*/ 1364376 w 3447090"/>
                <a:gd name="connsiteY110" fmla="*/ 4219218 h 4433788"/>
                <a:gd name="connsiteX111" fmla="*/ 1313066 w 3447090"/>
                <a:gd name="connsiteY111" fmla="*/ 4230880 h 4433788"/>
                <a:gd name="connsiteX112" fmla="*/ 1336389 w 3447090"/>
                <a:gd name="connsiteY112" fmla="*/ 4305514 h 4433788"/>
                <a:gd name="connsiteX113" fmla="*/ 1921789 w 3447090"/>
                <a:gd name="connsiteY113" fmla="*/ 4293853 h 4433788"/>
                <a:gd name="connsiteX114" fmla="*/ 1905463 w 3447090"/>
                <a:gd name="connsiteY114" fmla="*/ 4275193 h 4433788"/>
                <a:gd name="connsiteX115" fmla="*/ 1926453 w 3447090"/>
                <a:gd name="connsiteY115" fmla="*/ 4233211 h 4433788"/>
                <a:gd name="connsiteX116" fmla="*/ 1973099 w 3447090"/>
                <a:gd name="connsiteY116" fmla="*/ 4037303 h 4433788"/>
                <a:gd name="connsiteX117" fmla="*/ 1919456 w 3447090"/>
                <a:gd name="connsiteY117" fmla="*/ 4023307 h 4433788"/>
                <a:gd name="connsiteX118" fmla="*/ 1812172 w 3447090"/>
                <a:gd name="connsiteY118" fmla="*/ 3675802 h 4433788"/>
                <a:gd name="connsiteX119" fmla="*/ 1758530 w 3447090"/>
                <a:gd name="connsiteY119" fmla="*/ 3267655 h 4433788"/>
                <a:gd name="connsiteX120" fmla="*/ 1275750 w 3447090"/>
                <a:gd name="connsiteY120" fmla="*/ 3377270 h 4433788"/>
                <a:gd name="connsiteX121" fmla="*/ 1271086 w 3447090"/>
                <a:gd name="connsiteY121" fmla="*/ 3479891 h 4433788"/>
                <a:gd name="connsiteX122" fmla="*/ 1030862 w 3447090"/>
                <a:gd name="connsiteY122" fmla="*/ 3869378 h 4433788"/>
                <a:gd name="connsiteX123" fmla="*/ 1009871 w 3447090"/>
                <a:gd name="connsiteY123" fmla="*/ 3853053 h 4433788"/>
                <a:gd name="connsiteX124" fmla="*/ 883930 w 3447090"/>
                <a:gd name="connsiteY124" fmla="*/ 3211680 h 4433788"/>
                <a:gd name="connsiteX125" fmla="*/ 853611 w 3447090"/>
                <a:gd name="connsiteY125" fmla="*/ 2983117 h 4433788"/>
                <a:gd name="connsiteX126" fmla="*/ 699680 w 3447090"/>
                <a:gd name="connsiteY126" fmla="*/ 2379059 h 4433788"/>
                <a:gd name="connsiteX127" fmla="*/ 727668 w 3447090"/>
                <a:gd name="connsiteY127" fmla="*/ 2194812 h 4433788"/>
                <a:gd name="connsiteX128" fmla="*/ 681022 w 3447090"/>
                <a:gd name="connsiteY128" fmla="*/ 2108516 h 4433788"/>
                <a:gd name="connsiteX129" fmla="*/ 650703 w 3447090"/>
                <a:gd name="connsiteY129" fmla="*/ 2096855 h 4433788"/>
                <a:gd name="connsiteX130" fmla="*/ 622716 w 3447090"/>
                <a:gd name="connsiteY130" fmla="*/ 2050210 h 4433788"/>
                <a:gd name="connsiteX131" fmla="*/ 622716 w 3447090"/>
                <a:gd name="connsiteY131" fmla="*/ 1861297 h 4433788"/>
                <a:gd name="connsiteX132" fmla="*/ 634377 w 3447090"/>
                <a:gd name="connsiteY132" fmla="*/ 1856633 h 4433788"/>
                <a:gd name="connsiteX133" fmla="*/ 650703 w 3447090"/>
                <a:gd name="connsiteY133" fmla="*/ 2059539 h 4433788"/>
                <a:gd name="connsiteX134" fmla="*/ 664696 w 3447090"/>
                <a:gd name="connsiteY134" fmla="*/ 2031553 h 4433788"/>
                <a:gd name="connsiteX135" fmla="*/ 823290 w 3447090"/>
                <a:gd name="connsiteY135" fmla="*/ 1952256 h 4433788"/>
                <a:gd name="connsiteX136" fmla="*/ 883930 w 3447090"/>
                <a:gd name="connsiteY136" fmla="*/ 1980242 h 4433788"/>
                <a:gd name="connsiteX137" fmla="*/ 876933 w 3447090"/>
                <a:gd name="connsiteY137" fmla="*/ 1886951 h 4433788"/>
                <a:gd name="connsiteX138" fmla="*/ 795304 w 3447090"/>
                <a:gd name="connsiteY138" fmla="*/ 1630402 h 4433788"/>
                <a:gd name="connsiteX139" fmla="*/ 655368 w 3447090"/>
                <a:gd name="connsiteY139" fmla="*/ 1541777 h 4433788"/>
                <a:gd name="connsiteX140" fmla="*/ 774313 w 3447090"/>
                <a:gd name="connsiteY140" fmla="*/ 1567432 h 4433788"/>
                <a:gd name="connsiteX141" fmla="*/ 827955 w 3447090"/>
                <a:gd name="connsiteY141" fmla="*/ 1597749 h 4433788"/>
                <a:gd name="connsiteX142" fmla="*/ 811629 w 3447090"/>
                <a:gd name="connsiteY142" fmla="*/ 1488134 h 4433788"/>
                <a:gd name="connsiteX143" fmla="*/ 827955 w 3447090"/>
                <a:gd name="connsiteY143" fmla="*/ 1504459 h 4433788"/>
                <a:gd name="connsiteX144" fmla="*/ 874600 w 3447090"/>
                <a:gd name="connsiteY144" fmla="*/ 1390180 h 4433788"/>
                <a:gd name="connsiteX145" fmla="*/ 890926 w 3447090"/>
                <a:gd name="connsiteY145" fmla="*/ 1336537 h 4433788"/>
                <a:gd name="connsiteX146" fmla="*/ 862939 w 3447090"/>
                <a:gd name="connsiteY146" fmla="*/ 1096312 h 4433788"/>
                <a:gd name="connsiteX147" fmla="*/ 862939 w 3447090"/>
                <a:gd name="connsiteY147" fmla="*/ 886408 h 4433788"/>
                <a:gd name="connsiteX148" fmla="*/ 874600 w 3447090"/>
                <a:gd name="connsiteY148" fmla="*/ 874747 h 4433788"/>
                <a:gd name="connsiteX149" fmla="*/ 890926 w 3447090"/>
                <a:gd name="connsiteY149" fmla="*/ 1170946 h 4433788"/>
                <a:gd name="connsiteX150" fmla="*/ 914249 w 3447090"/>
                <a:gd name="connsiteY150" fmla="*/ 1336537 h 4433788"/>
                <a:gd name="connsiteX151" fmla="*/ 907252 w 3447090"/>
                <a:gd name="connsiteY151" fmla="*/ 1376184 h 4433788"/>
                <a:gd name="connsiteX152" fmla="*/ 923579 w 3447090"/>
                <a:gd name="connsiteY152" fmla="*/ 1394843 h 4433788"/>
                <a:gd name="connsiteX153" fmla="*/ 867604 w 3447090"/>
                <a:gd name="connsiteY153" fmla="*/ 1705036 h 4433788"/>
                <a:gd name="connsiteX154" fmla="*/ 902588 w 3447090"/>
                <a:gd name="connsiteY154" fmla="*/ 1996569 h 4433788"/>
                <a:gd name="connsiteX155" fmla="*/ 839616 w 3447090"/>
                <a:gd name="connsiteY155" fmla="*/ 2075864 h 4433788"/>
                <a:gd name="connsiteX156" fmla="*/ 904919 w 3447090"/>
                <a:gd name="connsiteY156" fmla="*/ 2348741 h 4433788"/>
                <a:gd name="connsiteX157" fmla="*/ 1007540 w 3447090"/>
                <a:gd name="connsiteY157" fmla="*/ 2246121 h 4433788"/>
                <a:gd name="connsiteX158" fmla="*/ 1061182 w 3447090"/>
                <a:gd name="connsiteY158" fmla="*/ 2148167 h 4433788"/>
                <a:gd name="connsiteX159" fmla="*/ 1028531 w 3447090"/>
                <a:gd name="connsiteY159" fmla="*/ 2199475 h 4433788"/>
                <a:gd name="connsiteX160" fmla="*/ 1021533 w 3447090"/>
                <a:gd name="connsiteY160" fmla="*/ 2176153 h 4433788"/>
                <a:gd name="connsiteX161" fmla="*/ 1089169 w 3447090"/>
                <a:gd name="connsiteY161" fmla="*/ 1982573 h 4433788"/>
                <a:gd name="connsiteX162" fmla="*/ 1121821 w 3447090"/>
                <a:gd name="connsiteY162" fmla="*/ 1998901 h 4433788"/>
                <a:gd name="connsiteX163" fmla="*/ 1112492 w 3447090"/>
                <a:gd name="connsiteY163" fmla="*/ 1959251 h 4433788"/>
                <a:gd name="connsiteX164" fmla="*/ 1128818 w 3447090"/>
                <a:gd name="connsiteY164" fmla="*/ 1959251 h 4433788"/>
                <a:gd name="connsiteX165" fmla="*/ 1313066 w 3447090"/>
                <a:gd name="connsiteY165" fmla="*/ 2005896 h 4433788"/>
                <a:gd name="connsiteX166" fmla="*/ 1226773 w 3447090"/>
                <a:gd name="connsiteY166" fmla="*/ 1819315 h 4433788"/>
                <a:gd name="connsiteX167" fmla="*/ 1266421 w 3447090"/>
                <a:gd name="connsiteY167" fmla="*/ 1618740 h 4433788"/>
                <a:gd name="connsiteX168" fmla="*/ 1278082 w 3447090"/>
                <a:gd name="connsiteY168" fmla="*/ 1604747 h 4433788"/>
                <a:gd name="connsiteX169" fmla="*/ 1261757 w 3447090"/>
                <a:gd name="connsiteY169" fmla="*/ 1677047 h 4433788"/>
                <a:gd name="connsiteX170" fmla="*/ 1273419 w 3447090"/>
                <a:gd name="connsiteY170" fmla="*/ 1667717 h 4433788"/>
                <a:gd name="connsiteX171" fmla="*/ 1273419 w 3447090"/>
                <a:gd name="connsiteY171" fmla="*/ 1709699 h 4433788"/>
                <a:gd name="connsiteX172" fmla="*/ 1247763 w 3447090"/>
                <a:gd name="connsiteY172" fmla="*/ 1844972 h 4433788"/>
                <a:gd name="connsiteX173" fmla="*/ 1322396 w 3447090"/>
                <a:gd name="connsiteY173" fmla="*/ 1966249 h 4433788"/>
                <a:gd name="connsiteX174" fmla="*/ 1364376 w 3447090"/>
                <a:gd name="connsiteY174" fmla="*/ 1917272 h 4433788"/>
                <a:gd name="connsiteX175" fmla="*/ 1348050 w 3447090"/>
                <a:gd name="connsiteY175" fmla="*/ 1842637 h 4433788"/>
                <a:gd name="connsiteX176" fmla="*/ 1336389 w 3447090"/>
                <a:gd name="connsiteY176" fmla="*/ 1427496 h 4433788"/>
                <a:gd name="connsiteX177" fmla="*/ 1324727 w 3447090"/>
                <a:gd name="connsiteY177" fmla="*/ 1441489 h 4433788"/>
                <a:gd name="connsiteX178" fmla="*/ 1301405 w 3447090"/>
                <a:gd name="connsiteY178" fmla="*/ 1537111 h 4433788"/>
                <a:gd name="connsiteX179" fmla="*/ 1285080 w 3447090"/>
                <a:gd name="connsiteY179" fmla="*/ 1583756 h 4433788"/>
                <a:gd name="connsiteX180" fmla="*/ 1280415 w 3447090"/>
                <a:gd name="connsiteY180" fmla="*/ 1541777 h 4433788"/>
                <a:gd name="connsiteX181" fmla="*/ 1362045 w 3447090"/>
                <a:gd name="connsiteY181" fmla="*/ 1152287 h 4433788"/>
                <a:gd name="connsiteX182" fmla="*/ 1394695 w 3447090"/>
                <a:gd name="connsiteY182" fmla="*/ 1035674 h 4433788"/>
                <a:gd name="connsiteX183" fmla="*/ 1366709 w 3447090"/>
                <a:gd name="connsiteY183" fmla="*/ 963374 h 4433788"/>
                <a:gd name="connsiteX184" fmla="*/ 1303738 w 3447090"/>
                <a:gd name="connsiteY184" fmla="*/ 1000690 h 4433788"/>
                <a:gd name="connsiteX185" fmla="*/ 1275750 w 3447090"/>
                <a:gd name="connsiteY185" fmla="*/ 940051 h 4433788"/>
                <a:gd name="connsiteX186" fmla="*/ 1240766 w 3447090"/>
                <a:gd name="connsiteY186" fmla="*/ 1163948 h 4433788"/>
                <a:gd name="connsiteX187" fmla="*/ 1147476 w 3447090"/>
                <a:gd name="connsiteY187" fmla="*/ 1768006 h 4433788"/>
                <a:gd name="connsiteX188" fmla="*/ 1091501 w 3447090"/>
                <a:gd name="connsiteY188" fmla="*/ 1973247 h 4433788"/>
                <a:gd name="connsiteX189" fmla="*/ 1082173 w 3447090"/>
                <a:gd name="connsiteY189" fmla="*/ 1954587 h 4433788"/>
                <a:gd name="connsiteX190" fmla="*/ 1112492 w 3447090"/>
                <a:gd name="connsiteY190" fmla="*/ 1812320 h 4433788"/>
                <a:gd name="connsiteX191" fmla="*/ 1252428 w 3447090"/>
                <a:gd name="connsiteY191" fmla="*/ 884076 h 4433788"/>
                <a:gd name="connsiteX192" fmla="*/ 1222109 w 3447090"/>
                <a:gd name="connsiteY192" fmla="*/ 893406 h 4433788"/>
                <a:gd name="connsiteX193" fmla="*/ 1040192 w 3447090"/>
                <a:gd name="connsiteY193" fmla="*/ 1007687 h 4433788"/>
                <a:gd name="connsiteX194" fmla="*/ 1056517 w 3447090"/>
                <a:gd name="connsiteY194" fmla="*/ 1257239 h 4433788"/>
                <a:gd name="connsiteX195" fmla="*/ 1131150 w 3447090"/>
                <a:gd name="connsiteY195" fmla="*/ 1642063 h 4433788"/>
                <a:gd name="connsiteX196" fmla="*/ 1119488 w 3447090"/>
                <a:gd name="connsiteY196" fmla="*/ 1663054 h 4433788"/>
                <a:gd name="connsiteX197" fmla="*/ 1084504 w 3447090"/>
                <a:gd name="connsiteY197" fmla="*/ 1548772 h 4433788"/>
                <a:gd name="connsiteX198" fmla="*/ 1026198 w 3447090"/>
                <a:gd name="connsiteY198" fmla="*/ 1049667 h 4433788"/>
                <a:gd name="connsiteX199" fmla="*/ 1082173 w 3447090"/>
                <a:gd name="connsiteY199" fmla="*/ 954044 h 4433788"/>
                <a:gd name="connsiteX200" fmla="*/ 1030862 w 3447090"/>
                <a:gd name="connsiteY200" fmla="*/ 856090 h 4433788"/>
                <a:gd name="connsiteX201" fmla="*/ 1196453 w 3447090"/>
                <a:gd name="connsiteY201" fmla="*/ 669509 h 4433788"/>
                <a:gd name="connsiteX202" fmla="*/ 876933 w 3447090"/>
                <a:gd name="connsiteY202" fmla="*/ 725484 h 4433788"/>
                <a:gd name="connsiteX203" fmla="*/ 797636 w 3447090"/>
                <a:gd name="connsiteY203" fmla="*/ 807113 h 4433788"/>
                <a:gd name="connsiteX204" fmla="*/ 725336 w 3447090"/>
                <a:gd name="connsiteY204" fmla="*/ 1045003 h 4433788"/>
                <a:gd name="connsiteX205" fmla="*/ 601725 w 3447090"/>
                <a:gd name="connsiteY205" fmla="*/ 1387845 h 4433788"/>
                <a:gd name="connsiteX206" fmla="*/ 587732 w 3447090"/>
                <a:gd name="connsiteY206" fmla="*/ 1492797 h 4433788"/>
                <a:gd name="connsiteX207" fmla="*/ 571405 w 3447090"/>
                <a:gd name="connsiteY207" fmla="*/ 1476473 h 4433788"/>
                <a:gd name="connsiteX208" fmla="*/ 387157 w 3447090"/>
                <a:gd name="connsiteY208" fmla="*/ 1495132 h 4433788"/>
                <a:gd name="connsiteX209" fmla="*/ 132940 w 3447090"/>
                <a:gd name="connsiteY209" fmla="*/ 1322544 h 4433788"/>
                <a:gd name="connsiteX210" fmla="*/ 447796 w 3447090"/>
                <a:gd name="connsiteY210" fmla="*/ 1418166 h 4433788"/>
                <a:gd name="connsiteX211" fmla="*/ 545751 w 3447090"/>
                <a:gd name="connsiteY211" fmla="*/ 1432159 h 4433788"/>
                <a:gd name="connsiteX212" fmla="*/ 573739 w 3447090"/>
                <a:gd name="connsiteY212" fmla="*/ 1427496 h 4433788"/>
                <a:gd name="connsiteX213" fmla="*/ 604058 w 3447090"/>
                <a:gd name="connsiteY213" fmla="*/ 1306216 h 4433788"/>
                <a:gd name="connsiteX214" fmla="*/ 734664 w 3447090"/>
                <a:gd name="connsiteY214" fmla="*/ 933053 h 4433788"/>
                <a:gd name="connsiteX215" fmla="*/ 762652 w 3447090"/>
                <a:gd name="connsiteY215" fmla="*/ 846760 h 4433788"/>
                <a:gd name="connsiteX216" fmla="*/ 837284 w 3447090"/>
                <a:gd name="connsiteY216" fmla="*/ 723149 h 4433788"/>
                <a:gd name="connsiteX217" fmla="*/ 979552 w 3447090"/>
                <a:gd name="connsiteY217" fmla="*/ 690500 h 4433788"/>
                <a:gd name="connsiteX218" fmla="*/ 1030862 w 3447090"/>
                <a:gd name="connsiteY218" fmla="*/ 678838 h 4433788"/>
                <a:gd name="connsiteX219" fmla="*/ 1226773 w 3447090"/>
                <a:gd name="connsiteY219" fmla="*/ 648518 h 4433788"/>
                <a:gd name="connsiteX220" fmla="*/ 1322396 w 3447090"/>
                <a:gd name="connsiteY220" fmla="*/ 601872 h 4433788"/>
                <a:gd name="connsiteX221" fmla="*/ 1322396 w 3447090"/>
                <a:gd name="connsiteY221" fmla="*/ 510913 h 4433788"/>
                <a:gd name="connsiteX222" fmla="*/ 1327061 w 3447090"/>
                <a:gd name="connsiteY222" fmla="*/ 475929 h 4433788"/>
                <a:gd name="connsiteX223" fmla="*/ 1350383 w 3447090"/>
                <a:gd name="connsiteY223" fmla="*/ 347655 h 4433788"/>
                <a:gd name="connsiteX224" fmla="*/ 1408690 w 3447090"/>
                <a:gd name="connsiteY224" fmla="*/ 112096 h 4433788"/>
                <a:gd name="connsiteX225" fmla="*/ 1464663 w 3447090"/>
                <a:gd name="connsiteY225" fmla="*/ 98103 h 4433788"/>
                <a:gd name="connsiteX226" fmla="*/ 1471661 w 3447090"/>
                <a:gd name="connsiteY226" fmla="*/ 67783 h 4433788"/>
                <a:gd name="connsiteX227" fmla="*/ 1576613 w 3447090"/>
                <a:gd name="connsiteY227" fmla="*/ 146 h 4433788"/>
                <a:gd name="connsiteX228" fmla="*/ 1623259 w 3447090"/>
                <a:gd name="connsiteY228" fmla="*/ 23469 h 4433788"/>
                <a:gd name="connsiteX229" fmla="*/ 1739872 w 3447090"/>
                <a:gd name="connsiteY229" fmla="*/ 44460 h 4433788"/>
                <a:gd name="connsiteX230" fmla="*/ 1849488 w 3447090"/>
                <a:gd name="connsiteY230" fmla="*/ 489922 h 4433788"/>
                <a:gd name="connsiteX231" fmla="*/ 1826165 w 3447090"/>
                <a:gd name="connsiteY231" fmla="*/ 517911 h 4433788"/>
                <a:gd name="connsiteX232" fmla="*/ 1814504 w 3447090"/>
                <a:gd name="connsiteY232" fmla="*/ 569220 h 4433788"/>
                <a:gd name="connsiteX233" fmla="*/ 1777188 w 3447090"/>
                <a:gd name="connsiteY233" fmla="*/ 620532 h 4433788"/>
                <a:gd name="connsiteX234" fmla="*/ 1751533 w 3447090"/>
                <a:gd name="connsiteY234" fmla="*/ 772129 h 4433788"/>
                <a:gd name="connsiteX235" fmla="*/ 1847156 w 3447090"/>
                <a:gd name="connsiteY235" fmla="*/ 867751 h 4433788"/>
                <a:gd name="connsiteX236" fmla="*/ 2106037 w 3447090"/>
                <a:gd name="connsiteY236" fmla="*/ 1147624 h 4433788"/>
                <a:gd name="connsiteX237" fmla="*/ 2089712 w 3447090"/>
                <a:gd name="connsiteY237" fmla="*/ 1215260 h 4433788"/>
                <a:gd name="connsiteX238" fmla="*/ 2073386 w 3447090"/>
                <a:gd name="connsiteY238" fmla="*/ 1215260 h 4433788"/>
                <a:gd name="connsiteX239" fmla="*/ 2073386 w 3447090"/>
                <a:gd name="connsiteY239" fmla="*/ 1203599 h 4433788"/>
                <a:gd name="connsiteX240" fmla="*/ 2078051 w 3447090"/>
                <a:gd name="connsiteY240" fmla="*/ 1198932 h 4433788"/>
                <a:gd name="connsiteX241" fmla="*/ 2082714 w 3447090"/>
                <a:gd name="connsiteY241" fmla="*/ 1070658 h 4433788"/>
                <a:gd name="connsiteX242" fmla="*/ 1903131 w 3447090"/>
                <a:gd name="connsiteY242" fmla="*/ 928390 h 4433788"/>
                <a:gd name="connsiteX243" fmla="*/ 1756197 w 3447090"/>
                <a:gd name="connsiteY243" fmla="*/ 814108 h 4433788"/>
                <a:gd name="connsiteX244" fmla="*/ 1809840 w 3447090"/>
                <a:gd name="connsiteY244" fmla="*/ 968037 h 4433788"/>
                <a:gd name="connsiteX245" fmla="*/ 1830830 w 3447090"/>
                <a:gd name="connsiteY245" fmla="*/ 1107973 h 4433788"/>
                <a:gd name="connsiteX246" fmla="*/ 1763195 w 3447090"/>
                <a:gd name="connsiteY246" fmla="*/ 1182608 h 4433788"/>
                <a:gd name="connsiteX247" fmla="*/ 1781853 w 3447090"/>
                <a:gd name="connsiteY247" fmla="*/ 1252576 h 4433788"/>
                <a:gd name="connsiteX248" fmla="*/ 1865814 w 3447090"/>
                <a:gd name="connsiteY248" fmla="*/ 1166280 h 4433788"/>
                <a:gd name="connsiteX249" fmla="*/ 1842491 w 3447090"/>
                <a:gd name="connsiteY249" fmla="*/ 1198932 h 4433788"/>
                <a:gd name="connsiteX250" fmla="*/ 1791181 w 3447090"/>
                <a:gd name="connsiteY250" fmla="*/ 1301553 h 4433788"/>
                <a:gd name="connsiteX251" fmla="*/ 1854152 w 3447090"/>
                <a:gd name="connsiteY251" fmla="*/ 1551104 h 4433788"/>
                <a:gd name="connsiteX252" fmla="*/ 1837826 w 3447090"/>
                <a:gd name="connsiteY252" fmla="*/ 1551104 h 4433788"/>
                <a:gd name="connsiteX253" fmla="*/ 1814504 w 3447090"/>
                <a:gd name="connsiteY253" fmla="*/ 1464811 h 4433788"/>
                <a:gd name="connsiteX254" fmla="*/ 1774856 w 3447090"/>
                <a:gd name="connsiteY254" fmla="*/ 1327207 h 4433788"/>
                <a:gd name="connsiteX255" fmla="*/ 1772523 w 3447090"/>
                <a:gd name="connsiteY255" fmla="*/ 1299221 h 4433788"/>
                <a:gd name="connsiteX256" fmla="*/ 1721213 w 3447090"/>
                <a:gd name="connsiteY256" fmla="*/ 1133631 h 4433788"/>
                <a:gd name="connsiteX257" fmla="*/ 1700223 w 3447090"/>
                <a:gd name="connsiteY257" fmla="*/ 1180276 h 4433788"/>
                <a:gd name="connsiteX258" fmla="*/ 1529968 w 3447090"/>
                <a:gd name="connsiteY258" fmla="*/ 1261905 h 4433788"/>
                <a:gd name="connsiteX259" fmla="*/ 1529968 w 3447090"/>
                <a:gd name="connsiteY259" fmla="*/ 1229253 h 4433788"/>
                <a:gd name="connsiteX260" fmla="*/ 1525303 w 3447090"/>
                <a:gd name="connsiteY260" fmla="*/ 1203599 h 4433788"/>
                <a:gd name="connsiteX261" fmla="*/ 1492651 w 3447090"/>
                <a:gd name="connsiteY261" fmla="*/ 1268900 h 4433788"/>
                <a:gd name="connsiteX262" fmla="*/ 1550958 w 3447090"/>
                <a:gd name="connsiteY262" fmla="*/ 1418166 h 4433788"/>
                <a:gd name="connsiteX263" fmla="*/ 1618594 w 3447090"/>
                <a:gd name="connsiteY263" fmla="*/ 1698038 h 4433788"/>
                <a:gd name="connsiteX264" fmla="*/ 1604599 w 3447090"/>
                <a:gd name="connsiteY264" fmla="*/ 1691040 h 4433788"/>
                <a:gd name="connsiteX265" fmla="*/ 1571949 w 3447090"/>
                <a:gd name="connsiteY265" fmla="*/ 1581425 h 4433788"/>
                <a:gd name="connsiteX266" fmla="*/ 1536965 w 3447090"/>
                <a:gd name="connsiteY266" fmla="*/ 1460148 h 4433788"/>
                <a:gd name="connsiteX267" fmla="*/ 1534631 w 3447090"/>
                <a:gd name="connsiteY267" fmla="*/ 1432159 h 4433788"/>
                <a:gd name="connsiteX268" fmla="*/ 1473993 w 3447090"/>
                <a:gd name="connsiteY268" fmla="*/ 1261905 h 4433788"/>
                <a:gd name="connsiteX269" fmla="*/ 1506645 w 3447090"/>
                <a:gd name="connsiteY269" fmla="*/ 1182608 h 4433788"/>
                <a:gd name="connsiteX270" fmla="*/ 1485654 w 3447090"/>
                <a:gd name="connsiteY270" fmla="*/ 1114971 h 4433788"/>
                <a:gd name="connsiteX271" fmla="*/ 1520638 w 3447090"/>
                <a:gd name="connsiteY271" fmla="*/ 1096312 h 4433788"/>
                <a:gd name="connsiteX272" fmla="*/ 1504312 w 3447090"/>
                <a:gd name="connsiteY272" fmla="*/ 1024012 h 4433788"/>
                <a:gd name="connsiteX273" fmla="*/ 1464663 w 3447090"/>
                <a:gd name="connsiteY273" fmla="*/ 1045003 h 4433788"/>
                <a:gd name="connsiteX274" fmla="*/ 1478658 w 3447090"/>
                <a:gd name="connsiteY274" fmla="*/ 1210594 h 4433788"/>
                <a:gd name="connsiteX275" fmla="*/ 1466997 w 3447090"/>
                <a:gd name="connsiteY275" fmla="*/ 1231585 h 4433788"/>
                <a:gd name="connsiteX276" fmla="*/ 1457667 w 3447090"/>
                <a:gd name="connsiteY276" fmla="*/ 1226921 h 4433788"/>
                <a:gd name="connsiteX277" fmla="*/ 1446006 w 3447090"/>
                <a:gd name="connsiteY277" fmla="*/ 1086985 h 4433788"/>
                <a:gd name="connsiteX278" fmla="*/ 1434344 w 3447090"/>
                <a:gd name="connsiteY278" fmla="*/ 1065994 h 4433788"/>
                <a:gd name="connsiteX279" fmla="*/ 1434344 w 3447090"/>
                <a:gd name="connsiteY279" fmla="*/ 1154619 h 4433788"/>
                <a:gd name="connsiteX280" fmla="*/ 1418018 w 3447090"/>
                <a:gd name="connsiteY280" fmla="*/ 1175610 h 4433788"/>
                <a:gd name="connsiteX281" fmla="*/ 1418018 w 3447090"/>
                <a:gd name="connsiteY281" fmla="*/ 1096312 h 4433788"/>
                <a:gd name="connsiteX282" fmla="*/ 1392364 w 3447090"/>
                <a:gd name="connsiteY282" fmla="*/ 1119635 h 4433788"/>
                <a:gd name="connsiteX283" fmla="*/ 1359711 w 3447090"/>
                <a:gd name="connsiteY283" fmla="*/ 1555770 h 4433788"/>
                <a:gd name="connsiteX284" fmla="*/ 1359711 w 3447090"/>
                <a:gd name="connsiteY284" fmla="*/ 1642063 h 4433788"/>
                <a:gd name="connsiteX285" fmla="*/ 1399360 w 3447090"/>
                <a:gd name="connsiteY285" fmla="*/ 1926601 h 4433788"/>
                <a:gd name="connsiteX286" fmla="*/ 1441341 w 3447090"/>
                <a:gd name="connsiteY286" fmla="*/ 1989571 h 4433788"/>
                <a:gd name="connsiteX287" fmla="*/ 1457667 w 3447090"/>
                <a:gd name="connsiteY287" fmla="*/ 1989571 h 4433788"/>
                <a:gd name="connsiteX288" fmla="*/ 1508977 w 3447090"/>
                <a:gd name="connsiteY288" fmla="*/ 1842637 h 4433788"/>
                <a:gd name="connsiteX289" fmla="*/ 1441341 w 3447090"/>
                <a:gd name="connsiteY289" fmla="*/ 1299221 h 4433788"/>
                <a:gd name="connsiteX290" fmla="*/ 1446006 w 3447090"/>
                <a:gd name="connsiteY290" fmla="*/ 1215260 h 4433788"/>
                <a:gd name="connsiteX291" fmla="*/ 1457667 w 3447090"/>
                <a:gd name="connsiteY291" fmla="*/ 1226921 h 4433788"/>
                <a:gd name="connsiteX292" fmla="*/ 1497316 w 3447090"/>
                <a:gd name="connsiteY292" fmla="*/ 1595418 h 4433788"/>
                <a:gd name="connsiteX293" fmla="*/ 1532300 w 3447090"/>
                <a:gd name="connsiteY293" fmla="*/ 1833311 h 4433788"/>
                <a:gd name="connsiteX294" fmla="*/ 1487986 w 3447090"/>
                <a:gd name="connsiteY294" fmla="*/ 2019892 h 4433788"/>
                <a:gd name="connsiteX295" fmla="*/ 1550958 w 3447090"/>
                <a:gd name="connsiteY295" fmla="*/ 2229796 h 4433788"/>
                <a:gd name="connsiteX296" fmla="*/ 1597603 w 3447090"/>
                <a:gd name="connsiteY296" fmla="*/ 2241457 h 4433788"/>
                <a:gd name="connsiteX297" fmla="*/ 1737539 w 3447090"/>
                <a:gd name="connsiteY297" fmla="*/ 2043215 h 4433788"/>
                <a:gd name="connsiteX298" fmla="*/ 1746869 w 3447090"/>
                <a:gd name="connsiteY298" fmla="*/ 1996569 h 4433788"/>
                <a:gd name="connsiteX299" fmla="*/ 1735207 w 3447090"/>
                <a:gd name="connsiteY299" fmla="*/ 1919603 h 4433788"/>
                <a:gd name="connsiteX300" fmla="*/ 1625590 w 3447090"/>
                <a:gd name="connsiteY300" fmla="*/ 1821649 h 4433788"/>
                <a:gd name="connsiteX301" fmla="*/ 1616261 w 3447090"/>
                <a:gd name="connsiteY301" fmla="*/ 1723692 h 4433788"/>
                <a:gd name="connsiteX302" fmla="*/ 1611597 w 3447090"/>
                <a:gd name="connsiteY302" fmla="*/ 1721361 h 4433788"/>
                <a:gd name="connsiteX303" fmla="*/ 1630255 w 3447090"/>
                <a:gd name="connsiteY303" fmla="*/ 1712031 h 4433788"/>
                <a:gd name="connsiteX304" fmla="*/ 1641917 w 3447090"/>
                <a:gd name="connsiteY304" fmla="*/ 1802990 h 4433788"/>
                <a:gd name="connsiteX305" fmla="*/ 1800510 w 3447090"/>
                <a:gd name="connsiteY305" fmla="*/ 1919603 h 4433788"/>
                <a:gd name="connsiteX306" fmla="*/ 1870479 w 3447090"/>
                <a:gd name="connsiteY306" fmla="*/ 1898612 h 4433788"/>
                <a:gd name="connsiteX307" fmla="*/ 1891469 w 3447090"/>
                <a:gd name="connsiteY307" fmla="*/ 1858965 h 4433788"/>
                <a:gd name="connsiteX308" fmla="*/ 1966101 w 3447090"/>
                <a:gd name="connsiteY308" fmla="*/ 1723692 h 4433788"/>
                <a:gd name="connsiteX309" fmla="*/ 1966101 w 3447090"/>
                <a:gd name="connsiteY309" fmla="*/ 1674715 h 4433788"/>
                <a:gd name="connsiteX310" fmla="*/ 1977762 w 3447090"/>
                <a:gd name="connsiteY310" fmla="*/ 1623407 h 4433788"/>
                <a:gd name="connsiteX311" fmla="*/ 1989424 w 3447090"/>
                <a:gd name="connsiteY311" fmla="*/ 1565100 h 4433788"/>
                <a:gd name="connsiteX312" fmla="*/ 1989424 w 3447090"/>
                <a:gd name="connsiteY312" fmla="*/ 1537111 h 4433788"/>
                <a:gd name="connsiteX313" fmla="*/ 2068721 w 3447090"/>
                <a:gd name="connsiteY313" fmla="*/ 1280562 h 4433788"/>
                <a:gd name="connsiteX314" fmla="*/ 2087379 w 3447090"/>
                <a:gd name="connsiteY314" fmla="*/ 1261905 h 4433788"/>
                <a:gd name="connsiteX315" fmla="*/ 2015079 w 3447090"/>
                <a:gd name="connsiteY315" fmla="*/ 1537111 h 4433788"/>
                <a:gd name="connsiteX316" fmla="*/ 2012746 w 3447090"/>
                <a:gd name="connsiteY316" fmla="*/ 1625738 h 4433788"/>
                <a:gd name="connsiteX317" fmla="*/ 1980095 w 3447090"/>
                <a:gd name="connsiteY317" fmla="*/ 1679379 h 4433788"/>
                <a:gd name="connsiteX318" fmla="*/ 1991757 w 3447090"/>
                <a:gd name="connsiteY318" fmla="*/ 1733022 h 4433788"/>
                <a:gd name="connsiteX319" fmla="*/ 1933450 w 3447090"/>
                <a:gd name="connsiteY319" fmla="*/ 1833311 h 4433788"/>
                <a:gd name="connsiteX320" fmla="*/ 1847156 w 3447090"/>
                <a:gd name="connsiteY320" fmla="*/ 1935928 h 4433788"/>
                <a:gd name="connsiteX321" fmla="*/ 1767858 w 3447090"/>
                <a:gd name="connsiteY321" fmla="*/ 1924267 h 4433788"/>
                <a:gd name="connsiteX322" fmla="*/ 1781853 w 3447090"/>
                <a:gd name="connsiteY322" fmla="*/ 2003564 h 4433788"/>
                <a:gd name="connsiteX323" fmla="*/ 1842491 w 3447090"/>
                <a:gd name="connsiteY323" fmla="*/ 1952256 h 4433788"/>
                <a:gd name="connsiteX324" fmla="*/ 1737539 w 3447090"/>
                <a:gd name="connsiteY324" fmla="*/ 2089860 h 4433788"/>
                <a:gd name="connsiteX325" fmla="*/ 1343387 w 3447090"/>
                <a:gd name="connsiteY325" fmla="*/ 2675259 h 4433788"/>
                <a:gd name="connsiteX326" fmla="*/ 1282747 w 3447090"/>
                <a:gd name="connsiteY326" fmla="*/ 2565640 h 4433788"/>
                <a:gd name="connsiteX327" fmla="*/ 1355048 w 3447090"/>
                <a:gd name="connsiteY327" fmla="*/ 2442032 h 4433788"/>
                <a:gd name="connsiteX328" fmla="*/ 1399360 w 3447090"/>
                <a:gd name="connsiteY328" fmla="*/ 2400050 h 4433788"/>
                <a:gd name="connsiteX329" fmla="*/ 1397029 w 3447090"/>
                <a:gd name="connsiteY329" fmla="*/ 2379059 h 4433788"/>
                <a:gd name="connsiteX330" fmla="*/ 1446006 w 3447090"/>
                <a:gd name="connsiteY330" fmla="*/ 2323087 h 4433788"/>
                <a:gd name="connsiteX331" fmla="*/ 1522970 w 3447090"/>
                <a:gd name="connsiteY331" fmla="*/ 2267112 h 4433788"/>
                <a:gd name="connsiteX332" fmla="*/ 1499647 w 3447090"/>
                <a:gd name="connsiteY332" fmla="*/ 2243789 h 4433788"/>
                <a:gd name="connsiteX333" fmla="*/ 1418018 w 3447090"/>
                <a:gd name="connsiteY333" fmla="*/ 2325418 h 4433788"/>
                <a:gd name="connsiteX334" fmla="*/ 1261757 w 3447090"/>
                <a:gd name="connsiteY334" fmla="*/ 2560977 h 4433788"/>
                <a:gd name="connsiteX335" fmla="*/ 1245431 w 3447090"/>
                <a:gd name="connsiteY335" fmla="*/ 2885163 h 4433788"/>
                <a:gd name="connsiteX336" fmla="*/ 1168467 w 3447090"/>
                <a:gd name="connsiteY336" fmla="*/ 3113723 h 4433788"/>
                <a:gd name="connsiteX337" fmla="*/ 1147476 w 3447090"/>
                <a:gd name="connsiteY337" fmla="*/ 3302639 h 4433788"/>
                <a:gd name="connsiteX338" fmla="*/ 1201118 w 3447090"/>
                <a:gd name="connsiteY338" fmla="*/ 3314300 h 4433788"/>
                <a:gd name="connsiteX339" fmla="*/ 1499647 w 3447090"/>
                <a:gd name="connsiteY339" fmla="*/ 3251327 h 4433788"/>
                <a:gd name="connsiteX340" fmla="*/ 1681565 w 3447090"/>
                <a:gd name="connsiteY340" fmla="*/ 3155705 h 4433788"/>
                <a:gd name="connsiteX341" fmla="*/ 1718881 w 3447090"/>
                <a:gd name="connsiteY341" fmla="*/ 3025099 h 4433788"/>
                <a:gd name="connsiteX342" fmla="*/ 1963769 w 3447090"/>
                <a:gd name="connsiteY342" fmla="*/ 2588963 h 4433788"/>
                <a:gd name="connsiteX343" fmla="*/ 1980095 w 3447090"/>
                <a:gd name="connsiteY343" fmla="*/ 2826856 h 4433788"/>
                <a:gd name="connsiteX344" fmla="*/ 1991757 w 3447090"/>
                <a:gd name="connsiteY344" fmla="*/ 2899156 h 4433788"/>
                <a:gd name="connsiteX345" fmla="*/ 1998753 w 3447090"/>
                <a:gd name="connsiteY345" fmla="*/ 3027430 h 4433788"/>
                <a:gd name="connsiteX346" fmla="*/ 2038402 w 3447090"/>
                <a:gd name="connsiteY346" fmla="*/ 3130051 h 4433788"/>
                <a:gd name="connsiteX347" fmla="*/ 2134024 w 3447090"/>
                <a:gd name="connsiteY347" fmla="*/ 3615160 h 4433788"/>
                <a:gd name="connsiteX348" fmla="*/ 2185335 w 3447090"/>
                <a:gd name="connsiteY348" fmla="*/ 4016312 h 4433788"/>
                <a:gd name="connsiteX349" fmla="*/ 2134024 w 3447090"/>
                <a:gd name="connsiteY349" fmla="*/ 4027973 h 4433788"/>
                <a:gd name="connsiteX350" fmla="*/ 2320606 w 3447090"/>
                <a:gd name="connsiteY350" fmla="*/ 4158580 h 4433788"/>
                <a:gd name="connsiteX351" fmla="*/ 2602811 w 3447090"/>
                <a:gd name="connsiteY351" fmla="*/ 4265864 h 4433788"/>
                <a:gd name="connsiteX352" fmla="*/ 2609808 w 3447090"/>
                <a:gd name="connsiteY352" fmla="*/ 4289186 h 4433788"/>
                <a:gd name="connsiteX353" fmla="*/ 3444759 w 3447090"/>
                <a:gd name="connsiteY353" fmla="*/ 4289186 h 4433788"/>
                <a:gd name="connsiteX354" fmla="*/ 1425016 w 3447090"/>
                <a:gd name="connsiteY354" fmla="*/ 1063662 h 4433788"/>
                <a:gd name="connsiteX355" fmla="*/ 1429679 w 3447090"/>
                <a:gd name="connsiteY355" fmla="*/ 1075324 h 4433788"/>
                <a:gd name="connsiteX356" fmla="*/ 1425016 w 3447090"/>
                <a:gd name="connsiteY356" fmla="*/ 1063662 h 4433788"/>
                <a:gd name="connsiteX357" fmla="*/ 1515974 w 3447090"/>
                <a:gd name="connsiteY357" fmla="*/ 895738 h 4433788"/>
                <a:gd name="connsiteX358" fmla="*/ 1597603 w 3447090"/>
                <a:gd name="connsiteY358" fmla="*/ 741808 h 4433788"/>
                <a:gd name="connsiteX359" fmla="*/ 1436677 w 3447090"/>
                <a:gd name="connsiteY359" fmla="*/ 741808 h 4433788"/>
                <a:gd name="connsiteX360" fmla="*/ 1378371 w 3447090"/>
                <a:gd name="connsiteY360" fmla="*/ 692831 h 4433788"/>
                <a:gd name="connsiteX361" fmla="*/ 1504312 w 3447090"/>
                <a:gd name="connsiteY361" fmla="*/ 895738 h 4433788"/>
                <a:gd name="connsiteX362" fmla="*/ 1513642 w 3447090"/>
                <a:gd name="connsiteY362" fmla="*/ 895738 h 4433788"/>
                <a:gd name="connsiteX363" fmla="*/ 1683897 w 3447090"/>
                <a:gd name="connsiteY363" fmla="*/ 1140626 h 4433788"/>
                <a:gd name="connsiteX364" fmla="*/ 1686229 w 3447090"/>
                <a:gd name="connsiteY364" fmla="*/ 1121969 h 4433788"/>
                <a:gd name="connsiteX365" fmla="*/ 1672236 w 3447090"/>
                <a:gd name="connsiteY365" fmla="*/ 1063662 h 4433788"/>
                <a:gd name="connsiteX366" fmla="*/ 1613929 w 3447090"/>
                <a:gd name="connsiteY366" fmla="*/ 1093980 h 4433788"/>
                <a:gd name="connsiteX367" fmla="*/ 1546293 w 3447090"/>
                <a:gd name="connsiteY367" fmla="*/ 1110308 h 4433788"/>
                <a:gd name="connsiteX368" fmla="*/ 1511309 w 3447090"/>
                <a:gd name="connsiteY368" fmla="*/ 1119635 h 4433788"/>
                <a:gd name="connsiteX369" fmla="*/ 1557954 w 3447090"/>
                <a:gd name="connsiteY369" fmla="*/ 1231585 h 4433788"/>
                <a:gd name="connsiteX370" fmla="*/ 1637252 w 3447090"/>
                <a:gd name="connsiteY370" fmla="*/ 1203599 h 4433788"/>
                <a:gd name="connsiteX371" fmla="*/ 1693227 w 3447090"/>
                <a:gd name="connsiteY371" fmla="*/ 1154619 h 4433788"/>
                <a:gd name="connsiteX372" fmla="*/ 1681565 w 3447090"/>
                <a:gd name="connsiteY372" fmla="*/ 1142957 h 4433788"/>
                <a:gd name="connsiteX373" fmla="*/ 1744536 w 3447090"/>
                <a:gd name="connsiteY373" fmla="*/ 804779 h 4433788"/>
                <a:gd name="connsiteX374" fmla="*/ 1674568 w 3447090"/>
                <a:gd name="connsiteY374" fmla="*/ 1005356 h 4433788"/>
                <a:gd name="connsiteX375" fmla="*/ 1707220 w 3447090"/>
                <a:gd name="connsiteY375" fmla="*/ 1110308 h 4433788"/>
                <a:gd name="connsiteX376" fmla="*/ 1772523 w 3447090"/>
                <a:gd name="connsiteY376" fmla="*/ 1149955 h 4433788"/>
                <a:gd name="connsiteX377" fmla="*/ 1833163 w 3447090"/>
                <a:gd name="connsiteY377" fmla="*/ 1072989 h 4433788"/>
                <a:gd name="connsiteX378" fmla="*/ 1805175 w 3447090"/>
                <a:gd name="connsiteY378" fmla="*/ 958710 h 4433788"/>
                <a:gd name="connsiteX379" fmla="*/ 1744536 w 3447090"/>
                <a:gd name="connsiteY379" fmla="*/ 807113 h 4433788"/>
                <a:gd name="connsiteX380" fmla="*/ 1770191 w 3447090"/>
                <a:gd name="connsiteY380" fmla="*/ 461936 h 4433788"/>
                <a:gd name="connsiteX381" fmla="*/ 1753865 w 3447090"/>
                <a:gd name="connsiteY381" fmla="*/ 475929 h 4433788"/>
                <a:gd name="connsiteX382" fmla="*/ 1753865 w 3447090"/>
                <a:gd name="connsiteY382" fmla="*/ 653181 h 4433788"/>
                <a:gd name="connsiteX383" fmla="*/ 1730542 w 3447090"/>
                <a:gd name="connsiteY383" fmla="*/ 753470 h 4433788"/>
                <a:gd name="connsiteX384" fmla="*/ 1718881 w 3447090"/>
                <a:gd name="connsiteY384" fmla="*/ 744140 h 4433788"/>
                <a:gd name="connsiteX385" fmla="*/ 1735207 w 3447090"/>
                <a:gd name="connsiteY385" fmla="*/ 657847 h 4433788"/>
                <a:gd name="connsiteX386" fmla="*/ 1735207 w 3447090"/>
                <a:gd name="connsiteY386" fmla="*/ 506250 h 4433788"/>
                <a:gd name="connsiteX387" fmla="*/ 1718881 w 3447090"/>
                <a:gd name="connsiteY387" fmla="*/ 506250 h 4433788"/>
                <a:gd name="connsiteX388" fmla="*/ 1683897 w 3447090"/>
                <a:gd name="connsiteY388" fmla="*/ 737145 h 4433788"/>
                <a:gd name="connsiteX389" fmla="*/ 1672236 w 3447090"/>
                <a:gd name="connsiteY389" fmla="*/ 723149 h 4433788"/>
                <a:gd name="connsiteX390" fmla="*/ 1690894 w 3447090"/>
                <a:gd name="connsiteY390" fmla="*/ 601872 h 4433788"/>
                <a:gd name="connsiteX391" fmla="*/ 1679232 w 3447090"/>
                <a:gd name="connsiteY391" fmla="*/ 601872 h 4433788"/>
                <a:gd name="connsiteX392" fmla="*/ 1597603 w 3447090"/>
                <a:gd name="connsiteY392" fmla="*/ 802447 h 4433788"/>
                <a:gd name="connsiteX393" fmla="*/ 1541629 w 3447090"/>
                <a:gd name="connsiteY393" fmla="*/ 1075324 h 4433788"/>
                <a:gd name="connsiteX394" fmla="*/ 1644248 w 3447090"/>
                <a:gd name="connsiteY394" fmla="*/ 1058996 h 4433788"/>
                <a:gd name="connsiteX395" fmla="*/ 1646581 w 3447090"/>
                <a:gd name="connsiteY395" fmla="*/ 1019349 h 4433788"/>
                <a:gd name="connsiteX396" fmla="*/ 1777188 w 3447090"/>
                <a:gd name="connsiteY396" fmla="*/ 627527 h 4433788"/>
                <a:gd name="connsiteX397" fmla="*/ 1772523 w 3447090"/>
                <a:gd name="connsiteY397" fmla="*/ 464268 h 4433788"/>
                <a:gd name="connsiteX398" fmla="*/ 1816837 w 3447090"/>
                <a:gd name="connsiteY398" fmla="*/ 506250 h 4433788"/>
                <a:gd name="connsiteX399" fmla="*/ 1788849 w 3447090"/>
                <a:gd name="connsiteY399" fmla="*/ 569220 h 4433788"/>
                <a:gd name="connsiteX400" fmla="*/ 1807507 w 3447090"/>
                <a:gd name="connsiteY400" fmla="*/ 545897 h 4433788"/>
                <a:gd name="connsiteX401" fmla="*/ 1816837 w 3447090"/>
                <a:gd name="connsiteY401" fmla="*/ 506250 h 4433788"/>
                <a:gd name="connsiteX402" fmla="*/ 1520638 w 3447090"/>
                <a:gd name="connsiteY402" fmla="*/ 191394 h 4433788"/>
                <a:gd name="connsiteX403" fmla="*/ 1529968 w 3447090"/>
                <a:gd name="connsiteY403" fmla="*/ 144749 h 4433788"/>
                <a:gd name="connsiteX404" fmla="*/ 1553291 w 3447090"/>
                <a:gd name="connsiteY404" fmla="*/ 196057 h 4433788"/>
                <a:gd name="connsiteX405" fmla="*/ 1569615 w 3447090"/>
                <a:gd name="connsiteY405" fmla="*/ 58453 h 4433788"/>
                <a:gd name="connsiteX406" fmla="*/ 1632587 w 3447090"/>
                <a:gd name="connsiteY406" fmla="*/ 51458 h 4433788"/>
                <a:gd name="connsiteX407" fmla="*/ 1812172 w 3447090"/>
                <a:gd name="connsiteY407" fmla="*/ 112096 h 4433788"/>
                <a:gd name="connsiteX408" fmla="*/ 1861149 w 3447090"/>
                <a:gd name="connsiteY408" fmla="*/ 184396 h 4433788"/>
                <a:gd name="connsiteX409" fmla="*/ 1753865 w 3447090"/>
                <a:gd name="connsiteY409" fmla="*/ 109765 h 4433788"/>
                <a:gd name="connsiteX410" fmla="*/ 1842491 w 3447090"/>
                <a:gd name="connsiteY410" fmla="*/ 196057 h 4433788"/>
                <a:gd name="connsiteX411" fmla="*/ 1858817 w 3447090"/>
                <a:gd name="connsiteY411" fmla="*/ 408293 h 4433788"/>
                <a:gd name="connsiteX412" fmla="*/ 1816837 w 3447090"/>
                <a:gd name="connsiteY412" fmla="*/ 471266 h 4433788"/>
                <a:gd name="connsiteX413" fmla="*/ 1823833 w 3447090"/>
                <a:gd name="connsiteY413" fmla="*/ 485259 h 4433788"/>
                <a:gd name="connsiteX414" fmla="*/ 1900798 w 3447090"/>
                <a:gd name="connsiteY414" fmla="*/ 282353 h 4433788"/>
                <a:gd name="connsiteX415" fmla="*/ 1879808 w 3447090"/>
                <a:gd name="connsiteY415" fmla="*/ 235708 h 4433788"/>
                <a:gd name="connsiteX416" fmla="*/ 1891469 w 3447090"/>
                <a:gd name="connsiteY416" fmla="*/ 219380 h 4433788"/>
                <a:gd name="connsiteX417" fmla="*/ 1807507 w 3447090"/>
                <a:gd name="connsiteY417" fmla="*/ 88774 h 4433788"/>
                <a:gd name="connsiteX418" fmla="*/ 1548626 w 3447090"/>
                <a:gd name="connsiteY418" fmla="*/ 53790 h 4433788"/>
                <a:gd name="connsiteX419" fmla="*/ 1518307 w 3447090"/>
                <a:gd name="connsiteY419" fmla="*/ 105098 h 4433788"/>
                <a:gd name="connsiteX420" fmla="*/ 1529968 w 3447090"/>
                <a:gd name="connsiteY420" fmla="*/ 51458 h 4433788"/>
                <a:gd name="connsiteX421" fmla="*/ 1574280 w 3447090"/>
                <a:gd name="connsiteY421" fmla="*/ 14142 h 4433788"/>
                <a:gd name="connsiteX422" fmla="*/ 1520638 w 3447090"/>
                <a:gd name="connsiteY422" fmla="*/ 191394 h 4433788"/>
                <a:gd name="connsiteX423" fmla="*/ 1585942 w 3447090"/>
                <a:gd name="connsiteY423" fmla="*/ 158742 h 4433788"/>
                <a:gd name="connsiteX424" fmla="*/ 1578945 w 3447090"/>
                <a:gd name="connsiteY424" fmla="*/ 170403 h 4433788"/>
                <a:gd name="connsiteX425" fmla="*/ 1709552 w 3447090"/>
                <a:gd name="connsiteY425" fmla="*/ 322000 h 4433788"/>
                <a:gd name="connsiteX426" fmla="*/ 1723546 w 3447090"/>
                <a:gd name="connsiteY426" fmla="*/ 333662 h 4433788"/>
                <a:gd name="connsiteX427" fmla="*/ 1585942 w 3447090"/>
                <a:gd name="connsiteY427" fmla="*/ 158742 h 4433788"/>
                <a:gd name="connsiteX428" fmla="*/ 1385367 w 3447090"/>
                <a:gd name="connsiteY428" fmla="*/ 203055 h 4433788"/>
                <a:gd name="connsiteX429" fmla="*/ 1413355 w 3447090"/>
                <a:gd name="connsiteY429" fmla="*/ 154078 h 4433788"/>
                <a:gd name="connsiteX430" fmla="*/ 1476325 w 3447090"/>
                <a:gd name="connsiteY430" fmla="*/ 100435 h 4433788"/>
                <a:gd name="connsiteX431" fmla="*/ 1385367 w 3447090"/>
                <a:gd name="connsiteY431" fmla="*/ 191394 h 4433788"/>
                <a:gd name="connsiteX432" fmla="*/ 1385367 w 3447090"/>
                <a:gd name="connsiteY432" fmla="*/ 203055 h 4433788"/>
                <a:gd name="connsiteX433" fmla="*/ 1392364 w 3447090"/>
                <a:gd name="connsiteY433" fmla="*/ 254364 h 4433788"/>
                <a:gd name="connsiteX434" fmla="*/ 1392364 w 3447090"/>
                <a:gd name="connsiteY434" fmla="*/ 226378 h 4433788"/>
                <a:gd name="connsiteX435" fmla="*/ 1380702 w 3447090"/>
                <a:gd name="connsiteY435" fmla="*/ 226378 h 4433788"/>
                <a:gd name="connsiteX436" fmla="*/ 1392364 w 3447090"/>
                <a:gd name="connsiteY436" fmla="*/ 254364 h 4433788"/>
                <a:gd name="connsiteX437" fmla="*/ 1359711 w 3447090"/>
                <a:gd name="connsiteY437" fmla="*/ 604204 h 4433788"/>
                <a:gd name="connsiteX438" fmla="*/ 1585942 w 3447090"/>
                <a:gd name="connsiteY438" fmla="*/ 720817 h 4433788"/>
                <a:gd name="connsiteX439" fmla="*/ 1667571 w 3447090"/>
                <a:gd name="connsiteY439" fmla="*/ 585548 h 4433788"/>
                <a:gd name="connsiteX440" fmla="*/ 1690894 w 3447090"/>
                <a:gd name="connsiteY440" fmla="*/ 571552 h 4433788"/>
                <a:gd name="connsiteX441" fmla="*/ 1709552 w 3447090"/>
                <a:gd name="connsiteY441" fmla="*/ 499252 h 4433788"/>
                <a:gd name="connsiteX442" fmla="*/ 1737539 w 3447090"/>
                <a:gd name="connsiteY442" fmla="*/ 480596 h 4433788"/>
                <a:gd name="connsiteX443" fmla="*/ 1760862 w 3447090"/>
                <a:gd name="connsiteY443" fmla="*/ 429284 h 4433788"/>
                <a:gd name="connsiteX444" fmla="*/ 1697890 w 3447090"/>
                <a:gd name="connsiteY444" fmla="*/ 342991 h 4433788"/>
                <a:gd name="connsiteX445" fmla="*/ 1595271 w 3447090"/>
                <a:gd name="connsiteY445" fmla="*/ 221712 h 4433788"/>
                <a:gd name="connsiteX446" fmla="*/ 1548626 w 3447090"/>
                <a:gd name="connsiteY446" fmla="*/ 242703 h 4433788"/>
                <a:gd name="connsiteX447" fmla="*/ 1522970 w 3447090"/>
                <a:gd name="connsiteY447" fmla="*/ 210050 h 4433788"/>
                <a:gd name="connsiteX448" fmla="*/ 1499647 w 3447090"/>
                <a:gd name="connsiteY448" fmla="*/ 214717 h 4433788"/>
                <a:gd name="connsiteX449" fmla="*/ 1471661 w 3447090"/>
                <a:gd name="connsiteY449" fmla="*/ 198389 h 4433788"/>
                <a:gd name="connsiteX450" fmla="*/ 1457667 w 3447090"/>
                <a:gd name="connsiteY450" fmla="*/ 233373 h 4433788"/>
                <a:gd name="connsiteX451" fmla="*/ 1422683 w 3447090"/>
                <a:gd name="connsiteY451" fmla="*/ 294014 h 4433788"/>
                <a:gd name="connsiteX452" fmla="*/ 1411022 w 3447090"/>
                <a:gd name="connsiteY452" fmla="*/ 324332 h 4433788"/>
                <a:gd name="connsiteX453" fmla="*/ 1525303 w 3447090"/>
                <a:gd name="connsiteY453" fmla="*/ 315002 h 4433788"/>
                <a:gd name="connsiteX454" fmla="*/ 1432013 w 3447090"/>
                <a:gd name="connsiteY454" fmla="*/ 328998 h 4433788"/>
                <a:gd name="connsiteX455" fmla="*/ 1406357 w 3447090"/>
                <a:gd name="connsiteY455" fmla="*/ 333662 h 4433788"/>
                <a:gd name="connsiteX456" fmla="*/ 1362045 w 3447090"/>
                <a:gd name="connsiteY456" fmla="*/ 604204 h 4433788"/>
                <a:gd name="connsiteX457" fmla="*/ 1345718 w 3447090"/>
                <a:gd name="connsiteY457" fmla="*/ 615865 h 4433788"/>
                <a:gd name="connsiteX458" fmla="*/ 1299073 w 3447090"/>
                <a:gd name="connsiteY458" fmla="*/ 618197 h 4433788"/>
                <a:gd name="connsiteX459" fmla="*/ 1147476 w 3447090"/>
                <a:gd name="connsiteY459" fmla="*/ 753470 h 4433788"/>
                <a:gd name="connsiteX460" fmla="*/ 1065846 w 3447090"/>
                <a:gd name="connsiteY460" fmla="*/ 858422 h 4433788"/>
                <a:gd name="connsiteX461" fmla="*/ 1110160 w 3447090"/>
                <a:gd name="connsiteY461" fmla="*/ 935388 h 4433788"/>
                <a:gd name="connsiteX462" fmla="*/ 1124153 w 3447090"/>
                <a:gd name="connsiteY462" fmla="*/ 933053 h 4433788"/>
                <a:gd name="connsiteX463" fmla="*/ 1212779 w 3447090"/>
                <a:gd name="connsiteY463" fmla="*/ 877081 h 4433788"/>
                <a:gd name="connsiteX464" fmla="*/ 1264089 w 3447090"/>
                <a:gd name="connsiteY464" fmla="*/ 856090 h 4433788"/>
                <a:gd name="connsiteX465" fmla="*/ 1280415 w 3447090"/>
                <a:gd name="connsiteY465" fmla="*/ 793117 h 4433788"/>
                <a:gd name="connsiteX466" fmla="*/ 1345718 w 3447090"/>
                <a:gd name="connsiteY466" fmla="*/ 615865 h 4433788"/>
                <a:gd name="connsiteX467" fmla="*/ 1376038 w 3447090"/>
                <a:gd name="connsiteY467" fmla="*/ 914397 h 4433788"/>
                <a:gd name="connsiteX468" fmla="*/ 1425016 w 3447090"/>
                <a:gd name="connsiteY468" fmla="*/ 893406 h 4433788"/>
                <a:gd name="connsiteX469" fmla="*/ 1401693 w 3447090"/>
                <a:gd name="connsiteY469" fmla="*/ 867751 h 4433788"/>
                <a:gd name="connsiteX470" fmla="*/ 1350383 w 3447090"/>
                <a:gd name="connsiteY470" fmla="*/ 746472 h 4433788"/>
                <a:gd name="connsiteX471" fmla="*/ 1357380 w 3447090"/>
                <a:gd name="connsiteY471" fmla="*/ 650849 h 4433788"/>
                <a:gd name="connsiteX472" fmla="*/ 1345718 w 3447090"/>
                <a:gd name="connsiteY472" fmla="*/ 657847 h 4433788"/>
                <a:gd name="connsiteX473" fmla="*/ 1301405 w 3447090"/>
                <a:gd name="connsiteY473" fmla="*/ 807113 h 4433788"/>
                <a:gd name="connsiteX474" fmla="*/ 1313066 w 3447090"/>
                <a:gd name="connsiteY474" fmla="*/ 954044 h 4433788"/>
                <a:gd name="connsiteX475" fmla="*/ 1378371 w 3447090"/>
                <a:gd name="connsiteY475" fmla="*/ 912065 h 4433788"/>
                <a:gd name="connsiteX476" fmla="*/ 1427348 w 3447090"/>
                <a:gd name="connsiteY476" fmla="*/ 1012351 h 4433788"/>
                <a:gd name="connsiteX477" fmla="*/ 1457667 w 3447090"/>
                <a:gd name="connsiteY477" fmla="*/ 951713 h 4433788"/>
                <a:gd name="connsiteX478" fmla="*/ 1415686 w 3447090"/>
                <a:gd name="connsiteY478" fmla="*/ 933053 h 4433788"/>
                <a:gd name="connsiteX479" fmla="*/ 1427348 w 3447090"/>
                <a:gd name="connsiteY479" fmla="*/ 1012351 h 4433788"/>
                <a:gd name="connsiteX480" fmla="*/ 1420351 w 3447090"/>
                <a:gd name="connsiteY480" fmla="*/ 2194812 h 4433788"/>
                <a:gd name="connsiteX481" fmla="*/ 1494984 w 3447090"/>
                <a:gd name="connsiteY481" fmla="*/ 2143500 h 4433788"/>
                <a:gd name="connsiteX482" fmla="*/ 1420351 w 3447090"/>
                <a:gd name="connsiteY482" fmla="*/ 2194812 h 4433788"/>
                <a:gd name="connsiteX483" fmla="*/ 1334057 w 3447090"/>
                <a:gd name="connsiteY483" fmla="*/ 2001233 h 4433788"/>
                <a:gd name="connsiteX484" fmla="*/ 1432013 w 3447090"/>
                <a:gd name="connsiteY484" fmla="*/ 2001233 h 4433788"/>
                <a:gd name="connsiteX485" fmla="*/ 1394695 w 3447090"/>
                <a:gd name="connsiteY485" fmla="*/ 1931265 h 4433788"/>
                <a:gd name="connsiteX486" fmla="*/ 1334057 w 3447090"/>
                <a:gd name="connsiteY486" fmla="*/ 2001233 h 4433788"/>
                <a:gd name="connsiteX487" fmla="*/ 869935 w 3447090"/>
                <a:gd name="connsiteY487" fmla="*/ 1621072 h 4433788"/>
                <a:gd name="connsiteX488" fmla="*/ 893258 w 3447090"/>
                <a:gd name="connsiteY488" fmla="*/ 1425164 h 4433788"/>
                <a:gd name="connsiteX489" fmla="*/ 858274 w 3447090"/>
                <a:gd name="connsiteY489" fmla="*/ 1600084 h 4433788"/>
                <a:gd name="connsiteX490" fmla="*/ 869935 w 3447090"/>
                <a:gd name="connsiteY490" fmla="*/ 1621072 h 4433788"/>
                <a:gd name="connsiteX491" fmla="*/ 848946 w 3447090"/>
                <a:gd name="connsiteY491" fmla="*/ 2022224 h 4433788"/>
                <a:gd name="connsiteX492" fmla="*/ 839616 w 3447090"/>
                <a:gd name="connsiteY492" fmla="*/ 1987240 h 4433788"/>
                <a:gd name="connsiteX493" fmla="*/ 748659 w 3447090"/>
                <a:gd name="connsiteY493" fmla="*/ 2005896 h 4433788"/>
                <a:gd name="connsiteX494" fmla="*/ 716006 w 3447090"/>
                <a:gd name="connsiteY494" fmla="*/ 2124844 h 4433788"/>
                <a:gd name="connsiteX495" fmla="*/ 725336 w 3447090"/>
                <a:gd name="connsiteY495" fmla="*/ 2152830 h 4433788"/>
                <a:gd name="connsiteX496" fmla="*/ 848946 w 3447090"/>
                <a:gd name="connsiteY496" fmla="*/ 2024555 h 4433788"/>
                <a:gd name="connsiteX497" fmla="*/ 776645 w 3447090"/>
                <a:gd name="connsiteY497" fmla="*/ 2206473 h 4433788"/>
                <a:gd name="connsiteX498" fmla="*/ 825623 w 3447090"/>
                <a:gd name="connsiteY498" fmla="*/ 2138837 h 4433788"/>
                <a:gd name="connsiteX499" fmla="*/ 823290 w 3447090"/>
                <a:gd name="connsiteY499" fmla="*/ 2092192 h 4433788"/>
                <a:gd name="connsiteX500" fmla="*/ 760320 w 3447090"/>
                <a:gd name="connsiteY500" fmla="*/ 2129507 h 4433788"/>
                <a:gd name="connsiteX501" fmla="*/ 776645 w 3447090"/>
                <a:gd name="connsiteY501" fmla="*/ 2206473 h 4433788"/>
                <a:gd name="connsiteX502" fmla="*/ 932907 w 3447090"/>
                <a:gd name="connsiteY502" fmla="*/ 3176696 h 4433788"/>
                <a:gd name="connsiteX503" fmla="*/ 916581 w 3447090"/>
                <a:gd name="connsiteY503" fmla="*/ 3099730 h 4433788"/>
                <a:gd name="connsiteX504" fmla="*/ 916581 w 3447090"/>
                <a:gd name="connsiteY504" fmla="*/ 3027430 h 4433788"/>
                <a:gd name="connsiteX505" fmla="*/ 741661 w 3447090"/>
                <a:gd name="connsiteY505" fmla="*/ 2491009 h 4433788"/>
                <a:gd name="connsiteX506" fmla="*/ 727668 w 3447090"/>
                <a:gd name="connsiteY506" fmla="*/ 2472350 h 4433788"/>
                <a:gd name="connsiteX507" fmla="*/ 881597 w 3447090"/>
                <a:gd name="connsiteY507" fmla="*/ 3008771 h 4433788"/>
                <a:gd name="connsiteX508" fmla="*/ 872268 w 3447090"/>
                <a:gd name="connsiteY508" fmla="*/ 3088069 h 4433788"/>
                <a:gd name="connsiteX509" fmla="*/ 935240 w 3447090"/>
                <a:gd name="connsiteY509" fmla="*/ 3179028 h 4433788"/>
                <a:gd name="connsiteX510" fmla="*/ 928242 w 3447090"/>
                <a:gd name="connsiteY510" fmla="*/ 3260657 h 4433788"/>
                <a:gd name="connsiteX511" fmla="*/ 949233 w 3447090"/>
                <a:gd name="connsiteY511" fmla="*/ 3309634 h 4433788"/>
                <a:gd name="connsiteX512" fmla="*/ 960894 w 3447090"/>
                <a:gd name="connsiteY512" fmla="*/ 3325962 h 4433788"/>
                <a:gd name="connsiteX513" fmla="*/ 956230 w 3447090"/>
                <a:gd name="connsiteY513" fmla="*/ 3302639 h 4433788"/>
                <a:gd name="connsiteX514" fmla="*/ 956230 w 3447090"/>
                <a:gd name="connsiteY514" fmla="*/ 3279316 h 4433788"/>
                <a:gd name="connsiteX515" fmla="*/ 951565 w 3447090"/>
                <a:gd name="connsiteY515" fmla="*/ 3262989 h 4433788"/>
                <a:gd name="connsiteX516" fmla="*/ 951565 w 3447090"/>
                <a:gd name="connsiteY516" fmla="*/ 3251327 h 4433788"/>
                <a:gd name="connsiteX517" fmla="*/ 951565 w 3447090"/>
                <a:gd name="connsiteY517" fmla="*/ 3246664 h 4433788"/>
                <a:gd name="connsiteX518" fmla="*/ 902588 w 3447090"/>
                <a:gd name="connsiteY518" fmla="*/ 3176696 h 4433788"/>
                <a:gd name="connsiteX519" fmla="*/ 930575 w 3447090"/>
                <a:gd name="connsiteY519" fmla="*/ 3258325 h 4433788"/>
                <a:gd name="connsiteX520" fmla="*/ 1030862 w 3447090"/>
                <a:gd name="connsiteY520" fmla="*/ 3804076 h 4433788"/>
                <a:gd name="connsiteX521" fmla="*/ 942236 w 3447090"/>
                <a:gd name="connsiteY521" fmla="*/ 3325962 h 4433788"/>
                <a:gd name="connsiteX522" fmla="*/ 914249 w 3447090"/>
                <a:gd name="connsiteY522" fmla="*/ 3286311 h 4433788"/>
                <a:gd name="connsiteX523" fmla="*/ 1028531 w 3447090"/>
                <a:gd name="connsiteY523" fmla="*/ 3804076 h 4433788"/>
                <a:gd name="connsiteX524" fmla="*/ 1322396 w 3447090"/>
                <a:gd name="connsiteY524" fmla="*/ 4303179 h 4433788"/>
                <a:gd name="connsiteX525" fmla="*/ 1257093 w 3447090"/>
                <a:gd name="connsiteY525" fmla="*/ 4289186 h 4433788"/>
                <a:gd name="connsiteX526" fmla="*/ 1210447 w 3447090"/>
                <a:gd name="connsiteY526" fmla="*/ 4284523 h 4433788"/>
                <a:gd name="connsiteX527" fmla="*/ 1177795 w 3447090"/>
                <a:gd name="connsiteY527" fmla="*/ 4272862 h 4433788"/>
                <a:gd name="connsiteX528" fmla="*/ 1294408 w 3447090"/>
                <a:gd name="connsiteY528" fmla="*/ 4272862 h 4433788"/>
                <a:gd name="connsiteX529" fmla="*/ 1303738 w 3447090"/>
                <a:gd name="connsiteY529" fmla="*/ 4261200 h 4433788"/>
                <a:gd name="connsiteX530" fmla="*/ 1105495 w 3447090"/>
                <a:gd name="connsiteY530" fmla="*/ 4226216 h 4433788"/>
                <a:gd name="connsiteX531" fmla="*/ 1035527 w 3447090"/>
                <a:gd name="connsiteY531" fmla="*/ 4249539 h 4433788"/>
                <a:gd name="connsiteX532" fmla="*/ 1028531 w 3447090"/>
                <a:gd name="connsiteY532" fmla="*/ 4293853 h 4433788"/>
                <a:gd name="connsiteX533" fmla="*/ 1322396 w 3447090"/>
                <a:gd name="connsiteY533" fmla="*/ 4298516 h 4433788"/>
                <a:gd name="connsiteX534" fmla="*/ 1758530 w 3447090"/>
                <a:gd name="connsiteY534" fmla="*/ 4326502 h 4433788"/>
                <a:gd name="connsiteX535" fmla="*/ 1835495 w 3447090"/>
                <a:gd name="connsiteY535" fmla="*/ 4338163 h 4433788"/>
                <a:gd name="connsiteX536" fmla="*/ 1975431 w 3447090"/>
                <a:gd name="connsiteY536" fmla="*/ 4338163 h 4433788"/>
                <a:gd name="connsiteX537" fmla="*/ 1961437 w 3447090"/>
                <a:gd name="connsiteY537" fmla="*/ 4326502 h 4433788"/>
                <a:gd name="connsiteX538" fmla="*/ 1758530 w 3447090"/>
                <a:gd name="connsiteY538" fmla="*/ 4326502 h 4433788"/>
                <a:gd name="connsiteX539" fmla="*/ 2050063 w 3447090"/>
                <a:gd name="connsiteY539" fmla="*/ 3416918 h 4433788"/>
                <a:gd name="connsiteX540" fmla="*/ 2131693 w 3447090"/>
                <a:gd name="connsiteY540" fmla="*/ 3988323 h 4433788"/>
                <a:gd name="connsiteX541" fmla="*/ 2166677 w 3447090"/>
                <a:gd name="connsiteY541" fmla="*/ 3997653 h 4433788"/>
                <a:gd name="connsiteX542" fmla="*/ 2120031 w 3447090"/>
                <a:gd name="connsiteY542" fmla="*/ 3629156 h 4433788"/>
                <a:gd name="connsiteX543" fmla="*/ 1991757 w 3447090"/>
                <a:gd name="connsiteY543" fmla="*/ 3055416 h 4433788"/>
                <a:gd name="connsiteX544" fmla="*/ 1959104 w 3447090"/>
                <a:gd name="connsiteY544" fmla="*/ 2745227 h 4433788"/>
                <a:gd name="connsiteX545" fmla="*/ 1947443 w 3447090"/>
                <a:gd name="connsiteY545" fmla="*/ 2754556 h 4433788"/>
                <a:gd name="connsiteX546" fmla="*/ 1963769 w 3447090"/>
                <a:gd name="connsiteY546" fmla="*/ 3167366 h 4433788"/>
                <a:gd name="connsiteX547" fmla="*/ 2047730 w 3447090"/>
                <a:gd name="connsiteY547" fmla="*/ 3416918 h 4433788"/>
                <a:gd name="connsiteX548" fmla="*/ 2173673 w 3447090"/>
                <a:gd name="connsiteY548" fmla="*/ 4095610 h 4433788"/>
                <a:gd name="connsiteX549" fmla="*/ 2087379 w 3447090"/>
                <a:gd name="connsiteY549" fmla="*/ 4146918 h 4433788"/>
                <a:gd name="connsiteX550" fmla="*/ 2173673 w 3447090"/>
                <a:gd name="connsiteY550" fmla="*/ 4095610 h 4433788"/>
                <a:gd name="connsiteX551" fmla="*/ 2574824 w 3447090"/>
                <a:gd name="connsiteY551" fmla="*/ 4251871 h 4433788"/>
                <a:gd name="connsiteX552" fmla="*/ 2500191 w 3447090"/>
                <a:gd name="connsiteY552" fmla="*/ 4198227 h 4433788"/>
                <a:gd name="connsiteX553" fmla="*/ 2315941 w 3447090"/>
                <a:gd name="connsiteY553" fmla="*/ 4165578 h 4433788"/>
                <a:gd name="connsiteX554" fmla="*/ 2178338 w 3447090"/>
                <a:gd name="connsiteY554" fmla="*/ 4144587 h 4433788"/>
                <a:gd name="connsiteX555" fmla="*/ 2201661 w 3447090"/>
                <a:gd name="connsiteY555" fmla="*/ 4165578 h 4433788"/>
                <a:gd name="connsiteX556" fmla="*/ 2451214 w 3447090"/>
                <a:gd name="connsiteY556" fmla="*/ 4226216 h 4433788"/>
                <a:gd name="connsiteX557" fmla="*/ 2574824 w 3447090"/>
                <a:gd name="connsiteY557" fmla="*/ 4254202 h 4433788"/>
                <a:gd name="connsiteX558" fmla="*/ 646038 w 3447090"/>
                <a:gd name="connsiteY558" fmla="*/ 1844972 h 4433788"/>
                <a:gd name="connsiteX559" fmla="*/ 590063 w 3447090"/>
                <a:gd name="connsiteY559" fmla="*/ 1560434 h 4433788"/>
                <a:gd name="connsiteX560" fmla="*/ 566741 w 3447090"/>
                <a:gd name="connsiteY560" fmla="*/ 1567432 h 4433788"/>
                <a:gd name="connsiteX561" fmla="*/ 608723 w 3447090"/>
                <a:gd name="connsiteY561" fmla="*/ 1777336 h 4433788"/>
                <a:gd name="connsiteX562" fmla="*/ 646038 w 3447090"/>
                <a:gd name="connsiteY562" fmla="*/ 1844972 h 4433788"/>
                <a:gd name="connsiteX563" fmla="*/ 1907794 w 3447090"/>
                <a:gd name="connsiteY563" fmla="*/ 1632733 h 4433788"/>
                <a:gd name="connsiteX564" fmla="*/ 1931117 w 3447090"/>
                <a:gd name="connsiteY564" fmla="*/ 1621072 h 4433788"/>
                <a:gd name="connsiteX565" fmla="*/ 1910127 w 3447090"/>
                <a:gd name="connsiteY565" fmla="*/ 1609411 h 4433788"/>
                <a:gd name="connsiteX566" fmla="*/ 1893801 w 3447090"/>
                <a:gd name="connsiteY566" fmla="*/ 1602416 h 4433788"/>
                <a:gd name="connsiteX567" fmla="*/ 1863482 w 3447090"/>
                <a:gd name="connsiteY567" fmla="*/ 1551104 h 4433788"/>
                <a:gd name="connsiteX568" fmla="*/ 1875143 w 3447090"/>
                <a:gd name="connsiteY568" fmla="*/ 1728359 h 4433788"/>
                <a:gd name="connsiteX569" fmla="*/ 1891469 w 3447090"/>
                <a:gd name="connsiteY569" fmla="*/ 1723692 h 4433788"/>
                <a:gd name="connsiteX570" fmla="*/ 1896133 w 3447090"/>
                <a:gd name="connsiteY570" fmla="*/ 1630402 h 4433788"/>
                <a:gd name="connsiteX571" fmla="*/ 1907794 w 3447090"/>
                <a:gd name="connsiteY571" fmla="*/ 1630402 h 4433788"/>
                <a:gd name="connsiteX572" fmla="*/ 1695558 w 3447090"/>
                <a:gd name="connsiteY572" fmla="*/ 403630 h 4433788"/>
                <a:gd name="connsiteX573" fmla="*/ 1662906 w 3447090"/>
                <a:gd name="connsiteY573" fmla="*/ 373309 h 4433788"/>
                <a:gd name="connsiteX574" fmla="*/ 1623259 w 3447090"/>
                <a:gd name="connsiteY574" fmla="*/ 340660 h 4433788"/>
                <a:gd name="connsiteX575" fmla="*/ 1695558 w 3447090"/>
                <a:gd name="connsiteY575" fmla="*/ 403630 h 4433788"/>
                <a:gd name="connsiteX576" fmla="*/ 1436677 w 3447090"/>
                <a:gd name="connsiteY576" fmla="*/ 585548 h 4433788"/>
                <a:gd name="connsiteX577" fmla="*/ 1473993 w 3447090"/>
                <a:gd name="connsiteY577" fmla="*/ 587879 h 4433788"/>
                <a:gd name="connsiteX578" fmla="*/ 1534631 w 3447090"/>
                <a:gd name="connsiteY578" fmla="*/ 646186 h 4433788"/>
                <a:gd name="connsiteX579" fmla="*/ 1436677 w 3447090"/>
                <a:gd name="connsiteY579" fmla="*/ 585548 h 4433788"/>
                <a:gd name="connsiteX580" fmla="*/ 1492651 w 3447090"/>
                <a:gd name="connsiteY580" fmla="*/ 513245 h 4433788"/>
                <a:gd name="connsiteX581" fmla="*/ 1497316 w 3447090"/>
                <a:gd name="connsiteY581" fmla="*/ 482927 h 4433788"/>
                <a:gd name="connsiteX582" fmla="*/ 1513642 w 3447090"/>
                <a:gd name="connsiteY582" fmla="*/ 443277 h 4433788"/>
                <a:gd name="connsiteX583" fmla="*/ 1473993 w 3447090"/>
                <a:gd name="connsiteY583" fmla="*/ 510913 h 4433788"/>
                <a:gd name="connsiteX584" fmla="*/ 1492651 w 3447090"/>
                <a:gd name="connsiteY584" fmla="*/ 510913 h 4433788"/>
                <a:gd name="connsiteX585" fmla="*/ 1623259 w 3447090"/>
                <a:gd name="connsiteY585" fmla="*/ 419954 h 4433788"/>
                <a:gd name="connsiteX586" fmla="*/ 1597603 w 3447090"/>
                <a:gd name="connsiteY586" fmla="*/ 478261 h 4433788"/>
                <a:gd name="connsiteX587" fmla="*/ 1623259 w 3447090"/>
                <a:gd name="connsiteY587" fmla="*/ 419954 h 4433788"/>
                <a:gd name="connsiteX588" fmla="*/ 1434344 w 3447090"/>
                <a:gd name="connsiteY588" fmla="*/ 431616 h 4433788"/>
                <a:gd name="connsiteX589" fmla="*/ 1446006 w 3447090"/>
                <a:gd name="connsiteY589" fmla="*/ 380307 h 4433788"/>
                <a:gd name="connsiteX590" fmla="*/ 1434344 w 3447090"/>
                <a:gd name="connsiteY590" fmla="*/ 431616 h 4433788"/>
                <a:gd name="connsiteX591" fmla="*/ 1420351 w 3447090"/>
                <a:gd name="connsiteY591" fmla="*/ 1168615 h 4433788"/>
                <a:gd name="connsiteX592" fmla="*/ 1420351 w 3447090"/>
                <a:gd name="connsiteY592" fmla="*/ 1175610 h 4433788"/>
                <a:gd name="connsiteX593" fmla="*/ 1420351 w 3447090"/>
                <a:gd name="connsiteY593" fmla="*/ 1168615 h 4433788"/>
                <a:gd name="connsiteX594" fmla="*/ 1425016 w 3447090"/>
                <a:gd name="connsiteY594" fmla="*/ 1224587 h 4433788"/>
                <a:gd name="connsiteX595" fmla="*/ 1420351 w 3447090"/>
                <a:gd name="connsiteY595" fmla="*/ 1175610 h 4433788"/>
                <a:gd name="connsiteX596" fmla="*/ 1425016 w 3447090"/>
                <a:gd name="connsiteY596" fmla="*/ 1224587 h 4433788"/>
                <a:gd name="connsiteX597" fmla="*/ 1564952 w 3447090"/>
                <a:gd name="connsiteY597" fmla="*/ 954044 h 4433788"/>
                <a:gd name="connsiteX598" fmla="*/ 1630255 w 3447090"/>
                <a:gd name="connsiteY598" fmla="*/ 818774 h 4433788"/>
                <a:gd name="connsiteX599" fmla="*/ 1546293 w 3447090"/>
                <a:gd name="connsiteY599" fmla="*/ 1003021 h 4433788"/>
                <a:gd name="connsiteX600" fmla="*/ 1564952 w 3447090"/>
                <a:gd name="connsiteY600" fmla="*/ 956376 h 4433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Lst>
              <a:rect l="l" t="t" r="r" b="b"/>
              <a:pathLst>
                <a:path w="3447090" h="4433788">
                  <a:moveTo>
                    <a:pt x="270544" y="4417461"/>
                  </a:moveTo>
                  <a:lnTo>
                    <a:pt x="1924120" y="4417461"/>
                  </a:lnTo>
                  <a:lnTo>
                    <a:pt x="1924120" y="4433789"/>
                  </a:lnTo>
                  <a:lnTo>
                    <a:pt x="270544" y="4433789"/>
                  </a:lnTo>
                  <a:lnTo>
                    <a:pt x="270544" y="4417461"/>
                  </a:lnTo>
                  <a:close/>
                  <a:moveTo>
                    <a:pt x="3195206" y="4177239"/>
                  </a:moveTo>
                  <a:cubicBezTo>
                    <a:pt x="3178880" y="4200562"/>
                    <a:pt x="3244184" y="4202894"/>
                    <a:pt x="3246516" y="4200562"/>
                  </a:cubicBezTo>
                  <a:cubicBezTo>
                    <a:pt x="3246516" y="4200562"/>
                    <a:pt x="3246516" y="4186566"/>
                    <a:pt x="3246516" y="4184234"/>
                  </a:cubicBezTo>
                  <a:cubicBezTo>
                    <a:pt x="3244184" y="4179571"/>
                    <a:pt x="3197539" y="4174905"/>
                    <a:pt x="3195206" y="4177239"/>
                  </a:cubicBezTo>
                  <a:close/>
                  <a:moveTo>
                    <a:pt x="181917" y="501584"/>
                  </a:moveTo>
                  <a:cubicBezTo>
                    <a:pt x="345175" y="324332"/>
                    <a:pt x="564409" y="151744"/>
                    <a:pt x="790639" y="65451"/>
                  </a:cubicBezTo>
                  <a:cubicBezTo>
                    <a:pt x="834951" y="49126"/>
                    <a:pt x="895591" y="37465"/>
                    <a:pt x="935240" y="21137"/>
                  </a:cubicBezTo>
                  <a:cubicBezTo>
                    <a:pt x="944568" y="16474"/>
                    <a:pt x="951565" y="14142"/>
                    <a:pt x="949233" y="2481"/>
                  </a:cubicBezTo>
                  <a:cubicBezTo>
                    <a:pt x="732332" y="44460"/>
                    <a:pt x="529425" y="168071"/>
                    <a:pt x="361501" y="308007"/>
                  </a:cubicBezTo>
                  <a:cubicBezTo>
                    <a:pt x="293867" y="363982"/>
                    <a:pt x="172588" y="471266"/>
                    <a:pt x="125943" y="543566"/>
                  </a:cubicBezTo>
                  <a:cubicBezTo>
                    <a:pt x="118946" y="552895"/>
                    <a:pt x="114282" y="559891"/>
                    <a:pt x="116613" y="571552"/>
                  </a:cubicBezTo>
                  <a:cubicBezTo>
                    <a:pt x="125943" y="580881"/>
                    <a:pt x="174920" y="508582"/>
                    <a:pt x="181917" y="501584"/>
                  </a:cubicBezTo>
                  <a:close/>
                  <a:moveTo>
                    <a:pt x="2353258" y="4088612"/>
                  </a:moveTo>
                  <a:cubicBezTo>
                    <a:pt x="2334600" y="4097941"/>
                    <a:pt x="2299616" y="4111934"/>
                    <a:pt x="2313609" y="4135257"/>
                  </a:cubicBezTo>
                  <a:cubicBezTo>
                    <a:pt x="2406900" y="4060626"/>
                    <a:pt x="2507187" y="4083948"/>
                    <a:pt x="2588817" y="4158580"/>
                  </a:cubicBezTo>
                  <a:cubicBezTo>
                    <a:pt x="2696102" y="4095610"/>
                    <a:pt x="2850031" y="4086280"/>
                    <a:pt x="2938657" y="4186566"/>
                  </a:cubicBezTo>
                  <a:cubicBezTo>
                    <a:pt x="2957314" y="4207557"/>
                    <a:pt x="2943321" y="4223885"/>
                    <a:pt x="2980637" y="4209889"/>
                  </a:cubicBezTo>
                  <a:cubicBezTo>
                    <a:pt x="2899008" y="4086280"/>
                    <a:pt x="2775398" y="4067621"/>
                    <a:pt x="2637795" y="4111934"/>
                  </a:cubicBezTo>
                  <a:cubicBezTo>
                    <a:pt x="2626134" y="4116598"/>
                    <a:pt x="2593481" y="4135257"/>
                    <a:pt x="2586485" y="4132925"/>
                  </a:cubicBezTo>
                  <a:cubicBezTo>
                    <a:pt x="2579488" y="4132925"/>
                    <a:pt x="2553833" y="4107271"/>
                    <a:pt x="2544504" y="4100273"/>
                  </a:cubicBezTo>
                  <a:cubicBezTo>
                    <a:pt x="2476868" y="4060626"/>
                    <a:pt x="2420893" y="4053628"/>
                    <a:pt x="2348593" y="4086280"/>
                  </a:cubicBezTo>
                  <a:close/>
                  <a:moveTo>
                    <a:pt x="443131" y="1705036"/>
                  </a:moveTo>
                  <a:cubicBezTo>
                    <a:pt x="443131" y="1800658"/>
                    <a:pt x="468787" y="1933596"/>
                    <a:pt x="485111" y="2031553"/>
                  </a:cubicBezTo>
                  <a:cubicBezTo>
                    <a:pt x="501437" y="2138837"/>
                    <a:pt x="520095" y="2271775"/>
                    <a:pt x="548083" y="2374395"/>
                  </a:cubicBezTo>
                  <a:cubicBezTo>
                    <a:pt x="548083" y="2379059"/>
                    <a:pt x="562077" y="2432702"/>
                    <a:pt x="576070" y="2418709"/>
                  </a:cubicBezTo>
                  <a:cubicBezTo>
                    <a:pt x="524760" y="2173821"/>
                    <a:pt x="482780" y="1926601"/>
                    <a:pt x="461789" y="1677047"/>
                  </a:cubicBezTo>
                  <a:cubicBezTo>
                    <a:pt x="445464" y="1677047"/>
                    <a:pt x="443131" y="1688708"/>
                    <a:pt x="443131" y="1702701"/>
                  </a:cubicBezTo>
                  <a:close/>
                  <a:moveTo>
                    <a:pt x="2936325" y="189062"/>
                  </a:moveTo>
                  <a:cubicBezTo>
                    <a:pt x="3045942" y="366314"/>
                    <a:pt x="3094919" y="573886"/>
                    <a:pt x="3148561" y="774461"/>
                  </a:cubicBezTo>
                  <a:lnTo>
                    <a:pt x="3167218" y="788454"/>
                  </a:lnTo>
                  <a:cubicBezTo>
                    <a:pt x="3174216" y="779124"/>
                    <a:pt x="3113577" y="578550"/>
                    <a:pt x="3106580" y="548229"/>
                  </a:cubicBezTo>
                  <a:cubicBezTo>
                    <a:pt x="3059935" y="398966"/>
                    <a:pt x="3008625" y="256696"/>
                    <a:pt x="2917667" y="128421"/>
                  </a:cubicBezTo>
                  <a:cubicBezTo>
                    <a:pt x="2913002" y="121426"/>
                    <a:pt x="2861692" y="46792"/>
                    <a:pt x="2852362" y="58453"/>
                  </a:cubicBezTo>
                  <a:cubicBezTo>
                    <a:pt x="2850031" y="70114"/>
                    <a:pt x="2857027" y="74781"/>
                    <a:pt x="2861692" y="81776"/>
                  </a:cubicBezTo>
                  <a:cubicBezTo>
                    <a:pt x="2882683" y="116760"/>
                    <a:pt x="2915334" y="151744"/>
                    <a:pt x="2938657" y="189062"/>
                  </a:cubicBezTo>
                  <a:close/>
                  <a:moveTo>
                    <a:pt x="2187666" y="2763883"/>
                  </a:moveTo>
                  <a:cubicBezTo>
                    <a:pt x="2236645" y="2689252"/>
                    <a:pt x="2301948" y="2619284"/>
                    <a:pt x="2369584" y="2560977"/>
                  </a:cubicBezTo>
                  <a:cubicBezTo>
                    <a:pt x="2413897" y="2518995"/>
                    <a:pt x="2481533" y="2479348"/>
                    <a:pt x="2521182" y="2437366"/>
                  </a:cubicBezTo>
                  <a:cubicBezTo>
                    <a:pt x="2525845" y="2432702"/>
                    <a:pt x="2542171" y="2416377"/>
                    <a:pt x="2535175" y="2409379"/>
                  </a:cubicBezTo>
                  <a:cubicBezTo>
                    <a:pt x="2528178" y="2402382"/>
                    <a:pt x="2516517" y="2414043"/>
                    <a:pt x="2511852" y="2418709"/>
                  </a:cubicBezTo>
                  <a:cubicBezTo>
                    <a:pt x="2437219" y="2465354"/>
                    <a:pt x="2215654" y="2670592"/>
                    <a:pt x="2180670" y="2747558"/>
                  </a:cubicBezTo>
                  <a:cubicBezTo>
                    <a:pt x="2176005" y="2759220"/>
                    <a:pt x="2171342" y="2766217"/>
                    <a:pt x="2173673" y="2777879"/>
                  </a:cubicBezTo>
                  <a:cubicBezTo>
                    <a:pt x="2189999" y="2780211"/>
                    <a:pt x="2183003" y="2773213"/>
                    <a:pt x="2187666" y="2766217"/>
                  </a:cubicBezTo>
                  <a:close/>
                  <a:moveTo>
                    <a:pt x="862939" y="3729442"/>
                  </a:moveTo>
                  <a:cubicBezTo>
                    <a:pt x="862939" y="3825064"/>
                    <a:pt x="883930" y="3995321"/>
                    <a:pt x="951565" y="4067621"/>
                  </a:cubicBezTo>
                  <a:cubicBezTo>
                    <a:pt x="965559" y="4081614"/>
                    <a:pt x="979552" y="4083948"/>
                    <a:pt x="972556" y="4065289"/>
                  </a:cubicBezTo>
                  <a:cubicBezTo>
                    <a:pt x="963226" y="4044298"/>
                    <a:pt x="942236" y="4020975"/>
                    <a:pt x="932907" y="3995321"/>
                  </a:cubicBezTo>
                  <a:cubicBezTo>
                    <a:pt x="902588" y="3930016"/>
                    <a:pt x="890926" y="3860048"/>
                    <a:pt x="881597" y="3787749"/>
                  </a:cubicBezTo>
                  <a:cubicBezTo>
                    <a:pt x="879265" y="3766758"/>
                    <a:pt x="890926" y="3729442"/>
                    <a:pt x="862939" y="3727110"/>
                  </a:cubicBezTo>
                  <a:close/>
                  <a:moveTo>
                    <a:pt x="3027282" y="4200562"/>
                  </a:moveTo>
                  <a:cubicBezTo>
                    <a:pt x="3048273" y="4200562"/>
                    <a:pt x="3066931" y="4202894"/>
                    <a:pt x="3085589" y="4207557"/>
                  </a:cubicBezTo>
                  <a:cubicBezTo>
                    <a:pt x="3092587" y="4207557"/>
                    <a:pt x="3164887" y="4237878"/>
                    <a:pt x="3141564" y="4207557"/>
                  </a:cubicBezTo>
                  <a:cubicBezTo>
                    <a:pt x="3141564" y="4205225"/>
                    <a:pt x="3094919" y="4186566"/>
                    <a:pt x="3085589" y="4186566"/>
                  </a:cubicBezTo>
                  <a:cubicBezTo>
                    <a:pt x="3064600" y="4181902"/>
                    <a:pt x="3017954" y="4172573"/>
                    <a:pt x="3027282" y="4202894"/>
                  </a:cubicBezTo>
                  <a:close/>
                  <a:moveTo>
                    <a:pt x="3199871" y="636856"/>
                  </a:moveTo>
                  <a:cubicBezTo>
                    <a:pt x="3283832" y="977367"/>
                    <a:pt x="3234855" y="1317877"/>
                    <a:pt x="3106580" y="1637400"/>
                  </a:cubicBezTo>
                  <a:cubicBezTo>
                    <a:pt x="3076261" y="1714363"/>
                    <a:pt x="3031947" y="1786665"/>
                    <a:pt x="2999296" y="1863628"/>
                  </a:cubicBezTo>
                  <a:cubicBezTo>
                    <a:pt x="2996963" y="1870626"/>
                    <a:pt x="2978305" y="1907942"/>
                    <a:pt x="2982970" y="1912605"/>
                  </a:cubicBezTo>
                  <a:cubicBezTo>
                    <a:pt x="2989967" y="1919603"/>
                    <a:pt x="2999296" y="1903279"/>
                    <a:pt x="3001628" y="1898612"/>
                  </a:cubicBezTo>
                  <a:cubicBezTo>
                    <a:pt x="3094919" y="1761008"/>
                    <a:pt x="3185878" y="1488134"/>
                    <a:pt x="3220862" y="1327207"/>
                  </a:cubicBezTo>
                  <a:cubicBezTo>
                    <a:pt x="3272170" y="1089317"/>
                    <a:pt x="3279168" y="746472"/>
                    <a:pt x="3178880" y="517911"/>
                  </a:cubicBezTo>
                  <a:cubicBezTo>
                    <a:pt x="3171883" y="499252"/>
                    <a:pt x="3155557" y="487591"/>
                    <a:pt x="3160222" y="513245"/>
                  </a:cubicBezTo>
                  <a:cubicBezTo>
                    <a:pt x="3164887" y="548229"/>
                    <a:pt x="3188209" y="597209"/>
                    <a:pt x="3197539" y="636856"/>
                  </a:cubicBezTo>
                  <a:close/>
                  <a:moveTo>
                    <a:pt x="1877475" y="4279857"/>
                  </a:moveTo>
                  <a:cubicBezTo>
                    <a:pt x="1924120" y="4275193"/>
                    <a:pt x="1905463" y="4256534"/>
                    <a:pt x="1865814" y="4256534"/>
                  </a:cubicBezTo>
                  <a:cubicBezTo>
                    <a:pt x="1847156" y="4256534"/>
                    <a:pt x="1830830" y="4263532"/>
                    <a:pt x="1814504" y="4263532"/>
                  </a:cubicBezTo>
                  <a:cubicBezTo>
                    <a:pt x="1688562" y="4265864"/>
                    <a:pt x="1541629" y="4272862"/>
                    <a:pt x="1427348" y="4223885"/>
                  </a:cubicBezTo>
                  <a:cubicBezTo>
                    <a:pt x="1422683" y="4223885"/>
                    <a:pt x="1415686" y="4223885"/>
                    <a:pt x="1411022" y="4223885"/>
                  </a:cubicBezTo>
                  <a:cubicBezTo>
                    <a:pt x="1411022" y="4237878"/>
                    <a:pt x="1418018" y="4237878"/>
                    <a:pt x="1427348" y="4244873"/>
                  </a:cubicBezTo>
                  <a:cubicBezTo>
                    <a:pt x="1506645" y="4289186"/>
                    <a:pt x="1781853" y="4289186"/>
                    <a:pt x="1877475" y="4282191"/>
                  </a:cubicBezTo>
                  <a:close/>
                  <a:moveTo>
                    <a:pt x="832620" y="4158580"/>
                  </a:moveTo>
                  <a:cubicBezTo>
                    <a:pt x="704345" y="4167909"/>
                    <a:pt x="571405" y="4191232"/>
                    <a:pt x="445464" y="4219218"/>
                  </a:cubicBezTo>
                  <a:cubicBezTo>
                    <a:pt x="410480" y="4226216"/>
                    <a:pt x="314856" y="4247207"/>
                    <a:pt x="289202" y="4261200"/>
                  </a:cubicBezTo>
                  <a:cubicBezTo>
                    <a:pt x="282205" y="4265864"/>
                    <a:pt x="286869" y="4270530"/>
                    <a:pt x="284537" y="4277525"/>
                  </a:cubicBezTo>
                  <a:cubicBezTo>
                    <a:pt x="382492" y="4251871"/>
                    <a:pt x="482780" y="4228548"/>
                    <a:pt x="583067" y="4209889"/>
                  </a:cubicBezTo>
                  <a:cubicBezTo>
                    <a:pt x="664696" y="4195896"/>
                    <a:pt x="942236" y="4149250"/>
                    <a:pt x="1005208" y="4186566"/>
                  </a:cubicBezTo>
                  <a:cubicBezTo>
                    <a:pt x="1019201" y="4195896"/>
                    <a:pt x="1026198" y="4214555"/>
                    <a:pt x="1042524" y="4214555"/>
                  </a:cubicBezTo>
                  <a:cubicBezTo>
                    <a:pt x="1023866" y="4130594"/>
                    <a:pt x="897923" y="4151582"/>
                    <a:pt x="832620" y="4156248"/>
                  </a:cubicBezTo>
                  <a:close/>
                  <a:moveTo>
                    <a:pt x="3447091" y="4279857"/>
                  </a:moveTo>
                  <a:lnTo>
                    <a:pt x="3437762" y="4291518"/>
                  </a:lnTo>
                  <a:cubicBezTo>
                    <a:pt x="3094919" y="4293853"/>
                    <a:pt x="2752075" y="4286855"/>
                    <a:pt x="2409232" y="4291518"/>
                  </a:cubicBezTo>
                  <a:cubicBezTo>
                    <a:pt x="2392907" y="4291518"/>
                    <a:pt x="2378913" y="4298516"/>
                    <a:pt x="2364919" y="4298516"/>
                  </a:cubicBezTo>
                  <a:cubicBezTo>
                    <a:pt x="2224983" y="4298516"/>
                    <a:pt x="2071053" y="4286855"/>
                    <a:pt x="1933450" y="4303179"/>
                  </a:cubicBezTo>
                  <a:cubicBezTo>
                    <a:pt x="1921789" y="4303179"/>
                    <a:pt x="1924120" y="4303179"/>
                    <a:pt x="1924120" y="4314841"/>
                  </a:cubicBezTo>
                  <a:lnTo>
                    <a:pt x="2528178" y="4314841"/>
                  </a:lnTo>
                  <a:cubicBezTo>
                    <a:pt x="2528178" y="4324170"/>
                    <a:pt x="2516517" y="4326502"/>
                    <a:pt x="2507187" y="4326502"/>
                  </a:cubicBezTo>
                  <a:cubicBezTo>
                    <a:pt x="2455877" y="4331168"/>
                    <a:pt x="2399903" y="4335832"/>
                    <a:pt x="2346262" y="4338163"/>
                  </a:cubicBezTo>
                  <a:cubicBezTo>
                    <a:pt x="2278625" y="4342830"/>
                    <a:pt x="2208657" y="4340498"/>
                    <a:pt x="2138689" y="4342830"/>
                  </a:cubicBezTo>
                  <a:cubicBezTo>
                    <a:pt x="2131693" y="4342830"/>
                    <a:pt x="2117698" y="4338163"/>
                    <a:pt x="2117698" y="4347493"/>
                  </a:cubicBezTo>
                  <a:cubicBezTo>
                    <a:pt x="2418561" y="4366152"/>
                    <a:pt x="2721756" y="4368484"/>
                    <a:pt x="3020286" y="4417461"/>
                  </a:cubicBezTo>
                  <a:cubicBezTo>
                    <a:pt x="3020286" y="4422127"/>
                    <a:pt x="2996963" y="4429122"/>
                    <a:pt x="2994632" y="4429122"/>
                  </a:cubicBezTo>
                  <a:lnTo>
                    <a:pt x="2159680" y="4429122"/>
                  </a:lnTo>
                  <a:lnTo>
                    <a:pt x="2159680" y="4412798"/>
                  </a:lnTo>
                  <a:lnTo>
                    <a:pt x="2819712" y="4412798"/>
                  </a:lnTo>
                  <a:lnTo>
                    <a:pt x="2679776" y="4396470"/>
                  </a:lnTo>
                  <a:cubicBezTo>
                    <a:pt x="1949776" y="4349825"/>
                    <a:pt x="1222109" y="4319507"/>
                    <a:pt x="492109" y="4310177"/>
                  </a:cubicBezTo>
                  <a:cubicBezTo>
                    <a:pt x="328851" y="4310177"/>
                    <a:pt x="163259" y="4314841"/>
                    <a:pt x="0" y="4305514"/>
                  </a:cubicBezTo>
                  <a:lnTo>
                    <a:pt x="0" y="4289186"/>
                  </a:lnTo>
                  <a:cubicBezTo>
                    <a:pt x="2333" y="4289186"/>
                    <a:pt x="1007540" y="4300848"/>
                    <a:pt x="1007540" y="4300848"/>
                  </a:cubicBezTo>
                  <a:cubicBezTo>
                    <a:pt x="1012204" y="4270530"/>
                    <a:pt x="1019201" y="4244873"/>
                    <a:pt x="1040192" y="4219218"/>
                  </a:cubicBezTo>
                  <a:cubicBezTo>
                    <a:pt x="1056517" y="4195896"/>
                    <a:pt x="1096166" y="4163243"/>
                    <a:pt x="1112492" y="4132925"/>
                  </a:cubicBezTo>
                  <a:cubicBezTo>
                    <a:pt x="1119488" y="4123596"/>
                    <a:pt x="1121821" y="4116598"/>
                    <a:pt x="1119488" y="4102605"/>
                  </a:cubicBezTo>
                  <a:cubicBezTo>
                    <a:pt x="1133483" y="4114266"/>
                    <a:pt x="1191789" y="4130594"/>
                    <a:pt x="1210447" y="4137589"/>
                  </a:cubicBezTo>
                  <a:cubicBezTo>
                    <a:pt x="1229105" y="4142255"/>
                    <a:pt x="1240766" y="4149250"/>
                    <a:pt x="1261757" y="4149250"/>
                  </a:cubicBezTo>
                  <a:cubicBezTo>
                    <a:pt x="1261757" y="4163243"/>
                    <a:pt x="1289743" y="4172573"/>
                    <a:pt x="1299073" y="4177239"/>
                  </a:cubicBezTo>
                  <a:cubicBezTo>
                    <a:pt x="1320064" y="4186566"/>
                    <a:pt x="1366709" y="4191232"/>
                    <a:pt x="1364376" y="4219218"/>
                  </a:cubicBezTo>
                  <a:cubicBezTo>
                    <a:pt x="1345718" y="4219218"/>
                    <a:pt x="1329392" y="4226216"/>
                    <a:pt x="1313066" y="4230880"/>
                  </a:cubicBezTo>
                  <a:cubicBezTo>
                    <a:pt x="1324727" y="4254202"/>
                    <a:pt x="1341054" y="4277525"/>
                    <a:pt x="1336389" y="4305514"/>
                  </a:cubicBezTo>
                  <a:lnTo>
                    <a:pt x="1921789" y="4293853"/>
                  </a:lnTo>
                  <a:cubicBezTo>
                    <a:pt x="1921789" y="4282191"/>
                    <a:pt x="1903131" y="4289186"/>
                    <a:pt x="1905463" y="4275193"/>
                  </a:cubicBezTo>
                  <a:cubicBezTo>
                    <a:pt x="1905463" y="4272862"/>
                    <a:pt x="1921789" y="4242541"/>
                    <a:pt x="1926453" y="4233211"/>
                  </a:cubicBezTo>
                  <a:cubicBezTo>
                    <a:pt x="1949776" y="4170241"/>
                    <a:pt x="1973099" y="4102605"/>
                    <a:pt x="1973099" y="4037303"/>
                  </a:cubicBezTo>
                  <a:cubicBezTo>
                    <a:pt x="1954440" y="4037303"/>
                    <a:pt x="1928785" y="4044298"/>
                    <a:pt x="1919456" y="4023307"/>
                  </a:cubicBezTo>
                  <a:cubicBezTo>
                    <a:pt x="1882140" y="3909028"/>
                    <a:pt x="1844824" y="3792415"/>
                    <a:pt x="1812172" y="3675802"/>
                  </a:cubicBezTo>
                  <a:cubicBezTo>
                    <a:pt x="1774856" y="3535866"/>
                    <a:pt x="1744536" y="3414586"/>
                    <a:pt x="1758530" y="3267655"/>
                  </a:cubicBezTo>
                  <a:cubicBezTo>
                    <a:pt x="1602268" y="3323627"/>
                    <a:pt x="1443674" y="3372607"/>
                    <a:pt x="1275750" y="3377270"/>
                  </a:cubicBezTo>
                  <a:cubicBezTo>
                    <a:pt x="1275750" y="3412254"/>
                    <a:pt x="1280415" y="3447238"/>
                    <a:pt x="1271086" y="3479891"/>
                  </a:cubicBezTo>
                  <a:cubicBezTo>
                    <a:pt x="1124153" y="3540529"/>
                    <a:pt x="1037859" y="3717781"/>
                    <a:pt x="1030862" y="3869378"/>
                  </a:cubicBezTo>
                  <a:lnTo>
                    <a:pt x="1009871" y="3853053"/>
                  </a:lnTo>
                  <a:cubicBezTo>
                    <a:pt x="958563" y="3640818"/>
                    <a:pt x="928242" y="3423916"/>
                    <a:pt x="883930" y="3211680"/>
                  </a:cubicBezTo>
                  <a:cubicBezTo>
                    <a:pt x="867604" y="3134714"/>
                    <a:pt x="830288" y="3069412"/>
                    <a:pt x="853611" y="2983117"/>
                  </a:cubicBezTo>
                  <a:cubicBezTo>
                    <a:pt x="818627" y="2798867"/>
                    <a:pt x="690352" y="2563309"/>
                    <a:pt x="699680" y="2379059"/>
                  </a:cubicBezTo>
                  <a:cubicBezTo>
                    <a:pt x="702013" y="2320752"/>
                    <a:pt x="725336" y="2255450"/>
                    <a:pt x="727668" y="2194812"/>
                  </a:cubicBezTo>
                  <a:cubicBezTo>
                    <a:pt x="683354" y="2190146"/>
                    <a:pt x="695015" y="2129507"/>
                    <a:pt x="681022" y="2108516"/>
                  </a:cubicBezTo>
                  <a:cubicBezTo>
                    <a:pt x="678691" y="2103853"/>
                    <a:pt x="662364" y="2106185"/>
                    <a:pt x="650703" y="2096855"/>
                  </a:cubicBezTo>
                  <a:cubicBezTo>
                    <a:pt x="646038" y="2092192"/>
                    <a:pt x="622716" y="2052541"/>
                    <a:pt x="622716" y="2050210"/>
                  </a:cubicBezTo>
                  <a:lnTo>
                    <a:pt x="622716" y="1861297"/>
                  </a:lnTo>
                  <a:cubicBezTo>
                    <a:pt x="622716" y="1861297"/>
                    <a:pt x="632045" y="1849635"/>
                    <a:pt x="634377" y="1856633"/>
                  </a:cubicBezTo>
                  <a:cubicBezTo>
                    <a:pt x="653035" y="1921935"/>
                    <a:pt x="639042" y="1994235"/>
                    <a:pt x="650703" y="2059539"/>
                  </a:cubicBezTo>
                  <a:cubicBezTo>
                    <a:pt x="660031" y="2057208"/>
                    <a:pt x="660031" y="2040880"/>
                    <a:pt x="664696" y="2031553"/>
                  </a:cubicBezTo>
                  <a:cubicBezTo>
                    <a:pt x="697348" y="1980242"/>
                    <a:pt x="760320" y="1938263"/>
                    <a:pt x="823290" y="1952256"/>
                  </a:cubicBezTo>
                  <a:cubicBezTo>
                    <a:pt x="834951" y="1952256"/>
                    <a:pt x="879265" y="1984908"/>
                    <a:pt x="883930" y="1980242"/>
                  </a:cubicBezTo>
                  <a:cubicBezTo>
                    <a:pt x="883930" y="1949924"/>
                    <a:pt x="881597" y="1917272"/>
                    <a:pt x="876933" y="1886951"/>
                  </a:cubicBezTo>
                  <a:cubicBezTo>
                    <a:pt x="865272" y="1800658"/>
                    <a:pt x="851277" y="1698038"/>
                    <a:pt x="795304" y="1630402"/>
                  </a:cubicBezTo>
                  <a:cubicBezTo>
                    <a:pt x="760320" y="1586088"/>
                    <a:pt x="711341" y="1551104"/>
                    <a:pt x="655368" y="1541777"/>
                  </a:cubicBezTo>
                  <a:cubicBezTo>
                    <a:pt x="655368" y="1518455"/>
                    <a:pt x="762652" y="1560434"/>
                    <a:pt x="774313" y="1567432"/>
                  </a:cubicBezTo>
                  <a:cubicBezTo>
                    <a:pt x="792971" y="1576761"/>
                    <a:pt x="802300" y="1600084"/>
                    <a:pt x="827955" y="1597749"/>
                  </a:cubicBezTo>
                  <a:cubicBezTo>
                    <a:pt x="832620" y="1560434"/>
                    <a:pt x="811629" y="1525450"/>
                    <a:pt x="811629" y="1488134"/>
                  </a:cubicBezTo>
                  <a:lnTo>
                    <a:pt x="827955" y="1504459"/>
                  </a:lnTo>
                  <a:cubicBezTo>
                    <a:pt x="834951" y="1467143"/>
                    <a:pt x="865272" y="1425164"/>
                    <a:pt x="874600" y="1390180"/>
                  </a:cubicBezTo>
                  <a:cubicBezTo>
                    <a:pt x="897923" y="1390180"/>
                    <a:pt x="893258" y="1348198"/>
                    <a:pt x="890926" y="1336537"/>
                  </a:cubicBezTo>
                  <a:cubicBezTo>
                    <a:pt x="888595" y="1259571"/>
                    <a:pt x="865272" y="1175610"/>
                    <a:pt x="862939" y="1096312"/>
                  </a:cubicBezTo>
                  <a:cubicBezTo>
                    <a:pt x="860607" y="1026344"/>
                    <a:pt x="865272" y="956376"/>
                    <a:pt x="862939" y="886408"/>
                  </a:cubicBezTo>
                  <a:cubicBezTo>
                    <a:pt x="865272" y="879413"/>
                    <a:pt x="855942" y="872415"/>
                    <a:pt x="874600" y="874747"/>
                  </a:cubicBezTo>
                  <a:cubicBezTo>
                    <a:pt x="879265" y="972703"/>
                    <a:pt x="883930" y="1072989"/>
                    <a:pt x="890926" y="1170946"/>
                  </a:cubicBezTo>
                  <a:cubicBezTo>
                    <a:pt x="895591" y="1224587"/>
                    <a:pt x="911917" y="1287560"/>
                    <a:pt x="914249" y="1336537"/>
                  </a:cubicBezTo>
                  <a:cubicBezTo>
                    <a:pt x="914249" y="1348198"/>
                    <a:pt x="907252" y="1362191"/>
                    <a:pt x="907252" y="1376184"/>
                  </a:cubicBezTo>
                  <a:cubicBezTo>
                    <a:pt x="907252" y="1387845"/>
                    <a:pt x="921246" y="1385514"/>
                    <a:pt x="923579" y="1394843"/>
                  </a:cubicBezTo>
                  <a:cubicBezTo>
                    <a:pt x="937572" y="1434491"/>
                    <a:pt x="869935" y="1637400"/>
                    <a:pt x="867604" y="1705036"/>
                  </a:cubicBezTo>
                  <a:cubicBezTo>
                    <a:pt x="865272" y="1775004"/>
                    <a:pt x="925910" y="1949924"/>
                    <a:pt x="902588" y="1996569"/>
                  </a:cubicBezTo>
                  <a:cubicBezTo>
                    <a:pt x="895591" y="2010562"/>
                    <a:pt x="839616" y="2066537"/>
                    <a:pt x="839616" y="2075864"/>
                  </a:cubicBezTo>
                  <a:cubicBezTo>
                    <a:pt x="902588" y="2145832"/>
                    <a:pt x="893258" y="2260114"/>
                    <a:pt x="904919" y="2348741"/>
                  </a:cubicBezTo>
                  <a:cubicBezTo>
                    <a:pt x="937572" y="2313757"/>
                    <a:pt x="977220" y="2281105"/>
                    <a:pt x="1007540" y="2246121"/>
                  </a:cubicBezTo>
                  <a:cubicBezTo>
                    <a:pt x="1019201" y="2232128"/>
                    <a:pt x="1075176" y="2164491"/>
                    <a:pt x="1061182" y="2148167"/>
                  </a:cubicBezTo>
                  <a:cubicBezTo>
                    <a:pt x="1049520" y="2134171"/>
                    <a:pt x="1040192" y="2194812"/>
                    <a:pt x="1028531" y="2199475"/>
                  </a:cubicBezTo>
                  <a:cubicBezTo>
                    <a:pt x="1014536" y="2206473"/>
                    <a:pt x="1021533" y="2180816"/>
                    <a:pt x="1021533" y="2176153"/>
                  </a:cubicBezTo>
                  <a:cubicBezTo>
                    <a:pt x="1030862" y="2110848"/>
                    <a:pt x="1068178" y="2040880"/>
                    <a:pt x="1089169" y="1982573"/>
                  </a:cubicBezTo>
                  <a:lnTo>
                    <a:pt x="1121821" y="1998901"/>
                  </a:lnTo>
                  <a:lnTo>
                    <a:pt x="1112492" y="1959251"/>
                  </a:lnTo>
                  <a:lnTo>
                    <a:pt x="1128818" y="1959251"/>
                  </a:lnTo>
                  <a:cubicBezTo>
                    <a:pt x="1184791" y="1991903"/>
                    <a:pt x="1250096" y="2001233"/>
                    <a:pt x="1313066" y="2005896"/>
                  </a:cubicBezTo>
                  <a:cubicBezTo>
                    <a:pt x="1296741" y="1942926"/>
                    <a:pt x="1222109" y="1886951"/>
                    <a:pt x="1226773" y="1819315"/>
                  </a:cubicBezTo>
                  <a:cubicBezTo>
                    <a:pt x="1231437" y="1756345"/>
                    <a:pt x="1259424" y="1681713"/>
                    <a:pt x="1266421" y="1618740"/>
                  </a:cubicBezTo>
                  <a:lnTo>
                    <a:pt x="1278082" y="1604747"/>
                  </a:lnTo>
                  <a:lnTo>
                    <a:pt x="1261757" y="1677047"/>
                  </a:lnTo>
                  <a:lnTo>
                    <a:pt x="1273419" y="1667717"/>
                  </a:lnTo>
                  <a:cubicBezTo>
                    <a:pt x="1273419" y="1672384"/>
                    <a:pt x="1273419" y="1698038"/>
                    <a:pt x="1273419" y="1709699"/>
                  </a:cubicBezTo>
                  <a:cubicBezTo>
                    <a:pt x="1268754" y="1740020"/>
                    <a:pt x="1243098" y="1821649"/>
                    <a:pt x="1247763" y="1844972"/>
                  </a:cubicBezTo>
                  <a:cubicBezTo>
                    <a:pt x="1250096" y="1856633"/>
                    <a:pt x="1317731" y="1961585"/>
                    <a:pt x="1322396" y="1966249"/>
                  </a:cubicBezTo>
                  <a:cubicBezTo>
                    <a:pt x="1336389" y="1973247"/>
                    <a:pt x="1362045" y="1928933"/>
                    <a:pt x="1364376" y="1917272"/>
                  </a:cubicBezTo>
                  <a:cubicBezTo>
                    <a:pt x="1366709" y="1896281"/>
                    <a:pt x="1350383" y="1865960"/>
                    <a:pt x="1348050" y="1842637"/>
                  </a:cubicBezTo>
                  <a:cubicBezTo>
                    <a:pt x="1331725" y="1705036"/>
                    <a:pt x="1336389" y="1565100"/>
                    <a:pt x="1336389" y="1427496"/>
                  </a:cubicBezTo>
                  <a:cubicBezTo>
                    <a:pt x="1320064" y="1425164"/>
                    <a:pt x="1327061" y="1432159"/>
                    <a:pt x="1324727" y="1441489"/>
                  </a:cubicBezTo>
                  <a:cubicBezTo>
                    <a:pt x="1317731" y="1474141"/>
                    <a:pt x="1308403" y="1504459"/>
                    <a:pt x="1301405" y="1537111"/>
                  </a:cubicBezTo>
                  <a:lnTo>
                    <a:pt x="1285080" y="1583756"/>
                  </a:lnTo>
                  <a:cubicBezTo>
                    <a:pt x="1273419" y="1581425"/>
                    <a:pt x="1280415" y="1551104"/>
                    <a:pt x="1280415" y="1541777"/>
                  </a:cubicBezTo>
                  <a:cubicBezTo>
                    <a:pt x="1299073" y="1418166"/>
                    <a:pt x="1334057" y="1275898"/>
                    <a:pt x="1362045" y="1152287"/>
                  </a:cubicBezTo>
                  <a:cubicBezTo>
                    <a:pt x="1369041" y="1126633"/>
                    <a:pt x="1394695" y="1052001"/>
                    <a:pt x="1394695" y="1035674"/>
                  </a:cubicBezTo>
                  <a:cubicBezTo>
                    <a:pt x="1394695" y="1014683"/>
                    <a:pt x="1362045" y="989028"/>
                    <a:pt x="1366709" y="963374"/>
                  </a:cubicBezTo>
                  <a:cubicBezTo>
                    <a:pt x="1362045" y="958710"/>
                    <a:pt x="1327061" y="1014683"/>
                    <a:pt x="1303738" y="1000690"/>
                  </a:cubicBezTo>
                  <a:cubicBezTo>
                    <a:pt x="1289743" y="991360"/>
                    <a:pt x="1292077" y="949381"/>
                    <a:pt x="1275750" y="940051"/>
                  </a:cubicBezTo>
                  <a:cubicBezTo>
                    <a:pt x="1264089" y="1014683"/>
                    <a:pt x="1250096" y="1089317"/>
                    <a:pt x="1240766" y="1163948"/>
                  </a:cubicBezTo>
                  <a:cubicBezTo>
                    <a:pt x="1194121" y="1362191"/>
                    <a:pt x="1184791" y="1567432"/>
                    <a:pt x="1147476" y="1768006"/>
                  </a:cubicBezTo>
                  <a:cubicBezTo>
                    <a:pt x="1133483" y="1847304"/>
                    <a:pt x="1117157" y="1900944"/>
                    <a:pt x="1091501" y="1973247"/>
                  </a:cubicBezTo>
                  <a:cubicBezTo>
                    <a:pt x="1072843" y="1975578"/>
                    <a:pt x="1079839" y="1966249"/>
                    <a:pt x="1082173" y="1954587"/>
                  </a:cubicBezTo>
                  <a:cubicBezTo>
                    <a:pt x="1086837" y="1910274"/>
                    <a:pt x="1105495" y="1858965"/>
                    <a:pt x="1112492" y="1812320"/>
                  </a:cubicBezTo>
                  <a:cubicBezTo>
                    <a:pt x="1168467" y="1504459"/>
                    <a:pt x="1189456" y="1189603"/>
                    <a:pt x="1252428" y="884076"/>
                  </a:cubicBezTo>
                  <a:cubicBezTo>
                    <a:pt x="1245431" y="877081"/>
                    <a:pt x="1229105" y="888742"/>
                    <a:pt x="1222109" y="893406"/>
                  </a:cubicBezTo>
                  <a:cubicBezTo>
                    <a:pt x="1161469" y="928390"/>
                    <a:pt x="1100830" y="970372"/>
                    <a:pt x="1040192" y="1007687"/>
                  </a:cubicBezTo>
                  <a:cubicBezTo>
                    <a:pt x="1047188" y="1089317"/>
                    <a:pt x="1047188" y="1173278"/>
                    <a:pt x="1056517" y="1257239"/>
                  </a:cubicBezTo>
                  <a:cubicBezTo>
                    <a:pt x="1070511" y="1376184"/>
                    <a:pt x="1124153" y="1532448"/>
                    <a:pt x="1131150" y="1642063"/>
                  </a:cubicBezTo>
                  <a:cubicBezTo>
                    <a:pt x="1131150" y="1646729"/>
                    <a:pt x="1131150" y="1674715"/>
                    <a:pt x="1119488" y="1663054"/>
                  </a:cubicBezTo>
                  <a:cubicBezTo>
                    <a:pt x="1114823" y="1658391"/>
                    <a:pt x="1091501" y="1565100"/>
                    <a:pt x="1084504" y="1548772"/>
                  </a:cubicBezTo>
                  <a:cubicBezTo>
                    <a:pt x="1058850" y="1378519"/>
                    <a:pt x="1019201" y="1222255"/>
                    <a:pt x="1026198" y="1049667"/>
                  </a:cubicBezTo>
                  <a:cubicBezTo>
                    <a:pt x="1028531" y="989028"/>
                    <a:pt x="1030862" y="991360"/>
                    <a:pt x="1082173" y="954044"/>
                  </a:cubicBezTo>
                  <a:lnTo>
                    <a:pt x="1030862" y="856090"/>
                  </a:lnTo>
                  <a:lnTo>
                    <a:pt x="1196453" y="669509"/>
                  </a:lnTo>
                  <a:cubicBezTo>
                    <a:pt x="1098499" y="702161"/>
                    <a:pt x="970224" y="695163"/>
                    <a:pt x="876933" y="725484"/>
                  </a:cubicBezTo>
                  <a:cubicBezTo>
                    <a:pt x="832620" y="739477"/>
                    <a:pt x="813962" y="762799"/>
                    <a:pt x="797636" y="807113"/>
                  </a:cubicBezTo>
                  <a:cubicBezTo>
                    <a:pt x="767316" y="879413"/>
                    <a:pt x="750990" y="968037"/>
                    <a:pt x="725336" y="1045003"/>
                  </a:cubicBezTo>
                  <a:cubicBezTo>
                    <a:pt x="699680" y="1117303"/>
                    <a:pt x="604058" y="1327207"/>
                    <a:pt x="601725" y="1387845"/>
                  </a:cubicBezTo>
                  <a:cubicBezTo>
                    <a:pt x="601725" y="1420498"/>
                    <a:pt x="622716" y="1464811"/>
                    <a:pt x="587732" y="1492797"/>
                  </a:cubicBezTo>
                  <a:lnTo>
                    <a:pt x="571405" y="1476473"/>
                  </a:lnTo>
                  <a:cubicBezTo>
                    <a:pt x="520095" y="1527781"/>
                    <a:pt x="450127" y="1511457"/>
                    <a:pt x="387157" y="1495132"/>
                  </a:cubicBezTo>
                  <a:cubicBezTo>
                    <a:pt x="282205" y="1467143"/>
                    <a:pt x="205239" y="1399507"/>
                    <a:pt x="132940" y="1322544"/>
                  </a:cubicBezTo>
                  <a:cubicBezTo>
                    <a:pt x="228562" y="1355196"/>
                    <a:pt x="349840" y="1397175"/>
                    <a:pt x="447796" y="1418166"/>
                  </a:cubicBezTo>
                  <a:cubicBezTo>
                    <a:pt x="478115" y="1425164"/>
                    <a:pt x="517764" y="1425164"/>
                    <a:pt x="545751" y="1432159"/>
                  </a:cubicBezTo>
                  <a:cubicBezTo>
                    <a:pt x="555079" y="1432159"/>
                    <a:pt x="555079" y="1462480"/>
                    <a:pt x="573739" y="1427496"/>
                  </a:cubicBezTo>
                  <a:cubicBezTo>
                    <a:pt x="587732" y="1399507"/>
                    <a:pt x="592396" y="1341200"/>
                    <a:pt x="604058" y="1306216"/>
                  </a:cubicBezTo>
                  <a:cubicBezTo>
                    <a:pt x="641373" y="1184939"/>
                    <a:pt x="695015" y="1058996"/>
                    <a:pt x="734664" y="933053"/>
                  </a:cubicBezTo>
                  <a:cubicBezTo>
                    <a:pt x="743994" y="905067"/>
                    <a:pt x="753322" y="874747"/>
                    <a:pt x="762652" y="846760"/>
                  </a:cubicBezTo>
                  <a:cubicBezTo>
                    <a:pt x="778978" y="797783"/>
                    <a:pt x="790639" y="753470"/>
                    <a:pt x="837284" y="723149"/>
                  </a:cubicBezTo>
                  <a:cubicBezTo>
                    <a:pt x="886262" y="692831"/>
                    <a:pt x="928242" y="699827"/>
                    <a:pt x="979552" y="690500"/>
                  </a:cubicBezTo>
                  <a:cubicBezTo>
                    <a:pt x="998210" y="688165"/>
                    <a:pt x="1014536" y="681170"/>
                    <a:pt x="1030862" y="678838"/>
                  </a:cubicBezTo>
                  <a:cubicBezTo>
                    <a:pt x="1093834" y="667177"/>
                    <a:pt x="1168467" y="662511"/>
                    <a:pt x="1226773" y="648518"/>
                  </a:cubicBezTo>
                  <a:cubicBezTo>
                    <a:pt x="1252428" y="643854"/>
                    <a:pt x="1287412" y="601872"/>
                    <a:pt x="1322396" y="601872"/>
                  </a:cubicBezTo>
                  <a:cubicBezTo>
                    <a:pt x="1324727" y="571552"/>
                    <a:pt x="1322396" y="541234"/>
                    <a:pt x="1322396" y="510913"/>
                  </a:cubicBezTo>
                  <a:cubicBezTo>
                    <a:pt x="1322396" y="503918"/>
                    <a:pt x="1327061" y="485259"/>
                    <a:pt x="1327061" y="475929"/>
                  </a:cubicBezTo>
                  <a:cubicBezTo>
                    <a:pt x="1343387" y="410628"/>
                    <a:pt x="1350383" y="422289"/>
                    <a:pt x="1350383" y="347655"/>
                  </a:cubicBezTo>
                  <a:cubicBezTo>
                    <a:pt x="1350383" y="266025"/>
                    <a:pt x="1331725" y="163405"/>
                    <a:pt x="1408690" y="112096"/>
                  </a:cubicBezTo>
                  <a:cubicBezTo>
                    <a:pt x="1432013" y="98103"/>
                    <a:pt x="1462332" y="98103"/>
                    <a:pt x="1464663" y="98103"/>
                  </a:cubicBezTo>
                  <a:cubicBezTo>
                    <a:pt x="1464663" y="98103"/>
                    <a:pt x="1464663" y="77112"/>
                    <a:pt x="1471661" y="67783"/>
                  </a:cubicBezTo>
                  <a:cubicBezTo>
                    <a:pt x="1490319" y="23469"/>
                    <a:pt x="1529968" y="-2185"/>
                    <a:pt x="1576613" y="146"/>
                  </a:cubicBezTo>
                  <a:cubicBezTo>
                    <a:pt x="1604599" y="146"/>
                    <a:pt x="1604599" y="18806"/>
                    <a:pt x="1623259" y="23469"/>
                  </a:cubicBezTo>
                  <a:cubicBezTo>
                    <a:pt x="1665239" y="32799"/>
                    <a:pt x="1693227" y="23469"/>
                    <a:pt x="1739872" y="44460"/>
                  </a:cubicBezTo>
                  <a:cubicBezTo>
                    <a:pt x="1919456" y="121426"/>
                    <a:pt x="1942778" y="333662"/>
                    <a:pt x="1849488" y="489922"/>
                  </a:cubicBezTo>
                  <a:cubicBezTo>
                    <a:pt x="1849488" y="492257"/>
                    <a:pt x="1837826" y="489922"/>
                    <a:pt x="1826165" y="517911"/>
                  </a:cubicBezTo>
                  <a:cubicBezTo>
                    <a:pt x="1819168" y="536568"/>
                    <a:pt x="1809840" y="548229"/>
                    <a:pt x="1814504" y="569220"/>
                  </a:cubicBezTo>
                  <a:cubicBezTo>
                    <a:pt x="1798179" y="569220"/>
                    <a:pt x="1781853" y="606536"/>
                    <a:pt x="1777188" y="620532"/>
                  </a:cubicBezTo>
                  <a:cubicBezTo>
                    <a:pt x="1772523" y="634525"/>
                    <a:pt x="1751533" y="762799"/>
                    <a:pt x="1751533" y="772129"/>
                  </a:cubicBezTo>
                  <a:cubicBezTo>
                    <a:pt x="1756197" y="795452"/>
                    <a:pt x="1823833" y="851424"/>
                    <a:pt x="1847156" y="867751"/>
                  </a:cubicBezTo>
                  <a:cubicBezTo>
                    <a:pt x="1980095" y="963374"/>
                    <a:pt x="2127028" y="928390"/>
                    <a:pt x="2106037" y="1147624"/>
                  </a:cubicBezTo>
                  <a:cubicBezTo>
                    <a:pt x="2106037" y="1170946"/>
                    <a:pt x="2094376" y="1194269"/>
                    <a:pt x="2089712" y="1215260"/>
                  </a:cubicBezTo>
                  <a:cubicBezTo>
                    <a:pt x="2085047" y="1215260"/>
                    <a:pt x="2075718" y="1215260"/>
                    <a:pt x="2073386" y="1215260"/>
                  </a:cubicBezTo>
                  <a:cubicBezTo>
                    <a:pt x="2073386" y="1210594"/>
                    <a:pt x="2073386" y="1205930"/>
                    <a:pt x="2073386" y="1203599"/>
                  </a:cubicBezTo>
                  <a:cubicBezTo>
                    <a:pt x="2073386" y="1203599"/>
                    <a:pt x="2078051" y="1203599"/>
                    <a:pt x="2078051" y="1198932"/>
                  </a:cubicBezTo>
                  <a:cubicBezTo>
                    <a:pt x="2085047" y="1166280"/>
                    <a:pt x="2087379" y="1103310"/>
                    <a:pt x="2082714" y="1070658"/>
                  </a:cubicBezTo>
                  <a:cubicBezTo>
                    <a:pt x="2073386" y="977367"/>
                    <a:pt x="1970766" y="963374"/>
                    <a:pt x="1903131" y="928390"/>
                  </a:cubicBezTo>
                  <a:cubicBezTo>
                    <a:pt x="1844824" y="898069"/>
                    <a:pt x="1798179" y="863085"/>
                    <a:pt x="1756197" y="814108"/>
                  </a:cubicBezTo>
                  <a:cubicBezTo>
                    <a:pt x="1772523" y="865420"/>
                    <a:pt x="1795846" y="916728"/>
                    <a:pt x="1809840" y="968037"/>
                  </a:cubicBezTo>
                  <a:cubicBezTo>
                    <a:pt x="1819168" y="998358"/>
                    <a:pt x="1844824" y="1084651"/>
                    <a:pt x="1830830" y="1107973"/>
                  </a:cubicBezTo>
                  <a:cubicBezTo>
                    <a:pt x="1823833" y="1121969"/>
                    <a:pt x="1763195" y="1177941"/>
                    <a:pt x="1763195" y="1182608"/>
                  </a:cubicBezTo>
                  <a:cubicBezTo>
                    <a:pt x="1758530" y="1194269"/>
                    <a:pt x="1774856" y="1252576"/>
                    <a:pt x="1781853" y="1252576"/>
                  </a:cubicBezTo>
                  <a:cubicBezTo>
                    <a:pt x="1802842" y="1217592"/>
                    <a:pt x="1823833" y="1177941"/>
                    <a:pt x="1865814" y="1166280"/>
                  </a:cubicBezTo>
                  <a:cubicBezTo>
                    <a:pt x="1870479" y="1187271"/>
                    <a:pt x="1854152" y="1184939"/>
                    <a:pt x="1842491" y="1198932"/>
                  </a:cubicBezTo>
                  <a:cubicBezTo>
                    <a:pt x="1819168" y="1229253"/>
                    <a:pt x="1802842" y="1264237"/>
                    <a:pt x="1791181" y="1301553"/>
                  </a:cubicBezTo>
                  <a:cubicBezTo>
                    <a:pt x="1798179" y="1331873"/>
                    <a:pt x="1863482" y="1541777"/>
                    <a:pt x="1854152" y="1551104"/>
                  </a:cubicBezTo>
                  <a:cubicBezTo>
                    <a:pt x="1854152" y="1551104"/>
                    <a:pt x="1842491" y="1551104"/>
                    <a:pt x="1837826" y="1551104"/>
                  </a:cubicBezTo>
                  <a:cubicBezTo>
                    <a:pt x="1837826" y="1520786"/>
                    <a:pt x="1823833" y="1492797"/>
                    <a:pt x="1814504" y="1464811"/>
                  </a:cubicBezTo>
                  <a:cubicBezTo>
                    <a:pt x="1800510" y="1418166"/>
                    <a:pt x="1786517" y="1371521"/>
                    <a:pt x="1774856" y="1327207"/>
                  </a:cubicBezTo>
                  <a:cubicBezTo>
                    <a:pt x="1774856" y="1320212"/>
                    <a:pt x="1774856" y="1308551"/>
                    <a:pt x="1772523" y="1299221"/>
                  </a:cubicBezTo>
                  <a:cubicBezTo>
                    <a:pt x="1765526" y="1275898"/>
                    <a:pt x="1730542" y="1135962"/>
                    <a:pt x="1721213" y="1133631"/>
                  </a:cubicBezTo>
                  <a:cubicBezTo>
                    <a:pt x="1702555" y="1135962"/>
                    <a:pt x="1707220" y="1163948"/>
                    <a:pt x="1700223" y="1180276"/>
                  </a:cubicBezTo>
                  <a:cubicBezTo>
                    <a:pt x="1681565" y="1224587"/>
                    <a:pt x="1574280" y="1292223"/>
                    <a:pt x="1529968" y="1261905"/>
                  </a:cubicBezTo>
                  <a:cubicBezTo>
                    <a:pt x="1506645" y="1245578"/>
                    <a:pt x="1529968" y="1243246"/>
                    <a:pt x="1529968" y="1229253"/>
                  </a:cubicBezTo>
                  <a:cubicBezTo>
                    <a:pt x="1529968" y="1229253"/>
                    <a:pt x="1525303" y="1203599"/>
                    <a:pt x="1525303" y="1203599"/>
                  </a:cubicBezTo>
                  <a:cubicBezTo>
                    <a:pt x="1506645" y="1189603"/>
                    <a:pt x="1487986" y="1247909"/>
                    <a:pt x="1492651" y="1268900"/>
                  </a:cubicBezTo>
                  <a:cubicBezTo>
                    <a:pt x="1499647" y="1303884"/>
                    <a:pt x="1536965" y="1373852"/>
                    <a:pt x="1550958" y="1418166"/>
                  </a:cubicBezTo>
                  <a:cubicBezTo>
                    <a:pt x="1560287" y="1450818"/>
                    <a:pt x="1627922" y="1686377"/>
                    <a:pt x="1618594" y="1698038"/>
                  </a:cubicBezTo>
                  <a:cubicBezTo>
                    <a:pt x="1611597" y="1698038"/>
                    <a:pt x="1609264" y="1698038"/>
                    <a:pt x="1604599" y="1691040"/>
                  </a:cubicBezTo>
                  <a:cubicBezTo>
                    <a:pt x="1592938" y="1672384"/>
                    <a:pt x="1578945" y="1607079"/>
                    <a:pt x="1571949" y="1581425"/>
                  </a:cubicBezTo>
                  <a:cubicBezTo>
                    <a:pt x="1560287" y="1541777"/>
                    <a:pt x="1548626" y="1499795"/>
                    <a:pt x="1536965" y="1460148"/>
                  </a:cubicBezTo>
                  <a:cubicBezTo>
                    <a:pt x="1536965" y="1453150"/>
                    <a:pt x="1536965" y="1439157"/>
                    <a:pt x="1534631" y="1432159"/>
                  </a:cubicBezTo>
                  <a:cubicBezTo>
                    <a:pt x="1529968" y="1385514"/>
                    <a:pt x="1476325" y="1301553"/>
                    <a:pt x="1473993" y="1261905"/>
                  </a:cubicBezTo>
                  <a:cubicBezTo>
                    <a:pt x="1473993" y="1226921"/>
                    <a:pt x="1506645" y="1187271"/>
                    <a:pt x="1506645" y="1182608"/>
                  </a:cubicBezTo>
                  <a:cubicBezTo>
                    <a:pt x="1506645" y="1173278"/>
                    <a:pt x="1476325" y="1138294"/>
                    <a:pt x="1485654" y="1114971"/>
                  </a:cubicBezTo>
                  <a:cubicBezTo>
                    <a:pt x="1490319" y="1100978"/>
                    <a:pt x="1518307" y="1107973"/>
                    <a:pt x="1520638" y="1096312"/>
                  </a:cubicBezTo>
                  <a:cubicBezTo>
                    <a:pt x="1520638" y="1089317"/>
                    <a:pt x="1494984" y="1040340"/>
                    <a:pt x="1504312" y="1024012"/>
                  </a:cubicBezTo>
                  <a:cubicBezTo>
                    <a:pt x="1499647" y="1019349"/>
                    <a:pt x="1466997" y="1035674"/>
                    <a:pt x="1464663" y="1045003"/>
                  </a:cubicBezTo>
                  <a:cubicBezTo>
                    <a:pt x="1453002" y="1077656"/>
                    <a:pt x="1483323" y="1173278"/>
                    <a:pt x="1478658" y="1210594"/>
                  </a:cubicBezTo>
                  <a:cubicBezTo>
                    <a:pt x="1478658" y="1217592"/>
                    <a:pt x="1471661" y="1226921"/>
                    <a:pt x="1466997" y="1231585"/>
                  </a:cubicBezTo>
                  <a:cubicBezTo>
                    <a:pt x="1466997" y="1229253"/>
                    <a:pt x="1460000" y="1226921"/>
                    <a:pt x="1457667" y="1226921"/>
                  </a:cubicBezTo>
                  <a:cubicBezTo>
                    <a:pt x="1453002" y="1180276"/>
                    <a:pt x="1453002" y="1131296"/>
                    <a:pt x="1446006" y="1086985"/>
                  </a:cubicBezTo>
                  <a:cubicBezTo>
                    <a:pt x="1446006" y="1077656"/>
                    <a:pt x="1446006" y="1068326"/>
                    <a:pt x="1434344" y="1065994"/>
                  </a:cubicBezTo>
                  <a:lnTo>
                    <a:pt x="1434344" y="1154619"/>
                  </a:lnTo>
                  <a:cubicBezTo>
                    <a:pt x="1434344" y="1168615"/>
                    <a:pt x="1418018" y="1182608"/>
                    <a:pt x="1418018" y="1175610"/>
                  </a:cubicBezTo>
                  <a:lnTo>
                    <a:pt x="1418018" y="1096312"/>
                  </a:lnTo>
                  <a:cubicBezTo>
                    <a:pt x="1404025" y="1096312"/>
                    <a:pt x="1397029" y="1107973"/>
                    <a:pt x="1392364" y="1119635"/>
                  </a:cubicBezTo>
                  <a:cubicBezTo>
                    <a:pt x="1352715" y="1233916"/>
                    <a:pt x="1359711" y="1432159"/>
                    <a:pt x="1359711" y="1555770"/>
                  </a:cubicBezTo>
                  <a:cubicBezTo>
                    <a:pt x="1359711" y="1583756"/>
                    <a:pt x="1359711" y="1614077"/>
                    <a:pt x="1359711" y="1642063"/>
                  </a:cubicBezTo>
                  <a:cubicBezTo>
                    <a:pt x="1359711" y="1730690"/>
                    <a:pt x="1357380" y="1849635"/>
                    <a:pt x="1399360" y="1926601"/>
                  </a:cubicBezTo>
                  <a:cubicBezTo>
                    <a:pt x="1404025" y="1935928"/>
                    <a:pt x="1439009" y="1989571"/>
                    <a:pt x="1441341" y="1989571"/>
                  </a:cubicBezTo>
                  <a:cubicBezTo>
                    <a:pt x="1443674" y="1989571"/>
                    <a:pt x="1455335" y="1991903"/>
                    <a:pt x="1457667" y="1989571"/>
                  </a:cubicBezTo>
                  <a:cubicBezTo>
                    <a:pt x="1464663" y="1984908"/>
                    <a:pt x="1497316" y="1858965"/>
                    <a:pt x="1508977" y="1842637"/>
                  </a:cubicBezTo>
                  <a:cubicBezTo>
                    <a:pt x="1494984" y="1663054"/>
                    <a:pt x="1453002" y="1476473"/>
                    <a:pt x="1441341" y="1299221"/>
                  </a:cubicBezTo>
                  <a:cubicBezTo>
                    <a:pt x="1441341" y="1271232"/>
                    <a:pt x="1441341" y="1243246"/>
                    <a:pt x="1446006" y="1215260"/>
                  </a:cubicBezTo>
                  <a:cubicBezTo>
                    <a:pt x="1453002" y="1215260"/>
                    <a:pt x="1453002" y="1222255"/>
                    <a:pt x="1457667" y="1226921"/>
                  </a:cubicBezTo>
                  <a:cubicBezTo>
                    <a:pt x="1469328" y="1348198"/>
                    <a:pt x="1483323" y="1471809"/>
                    <a:pt x="1497316" y="1595418"/>
                  </a:cubicBezTo>
                  <a:cubicBezTo>
                    <a:pt x="1504312" y="1660722"/>
                    <a:pt x="1532300" y="1772669"/>
                    <a:pt x="1532300" y="1833311"/>
                  </a:cubicBezTo>
                  <a:cubicBezTo>
                    <a:pt x="1532300" y="1891617"/>
                    <a:pt x="1483323" y="1942926"/>
                    <a:pt x="1487986" y="2019892"/>
                  </a:cubicBezTo>
                  <a:cubicBezTo>
                    <a:pt x="1487986" y="2064203"/>
                    <a:pt x="1522970" y="2199475"/>
                    <a:pt x="1550958" y="2229796"/>
                  </a:cubicBezTo>
                  <a:cubicBezTo>
                    <a:pt x="1560287" y="2241457"/>
                    <a:pt x="1585942" y="2260114"/>
                    <a:pt x="1597603" y="2241457"/>
                  </a:cubicBezTo>
                  <a:cubicBezTo>
                    <a:pt x="1639584" y="2176153"/>
                    <a:pt x="1700223" y="2110848"/>
                    <a:pt x="1737539" y="2043215"/>
                  </a:cubicBezTo>
                  <a:cubicBezTo>
                    <a:pt x="1753865" y="2015226"/>
                    <a:pt x="1746869" y="2024555"/>
                    <a:pt x="1746869" y="1996569"/>
                  </a:cubicBezTo>
                  <a:cubicBezTo>
                    <a:pt x="1746869" y="1975578"/>
                    <a:pt x="1746869" y="1938263"/>
                    <a:pt x="1735207" y="1919603"/>
                  </a:cubicBezTo>
                  <a:cubicBezTo>
                    <a:pt x="1721213" y="1898612"/>
                    <a:pt x="1641917" y="1861297"/>
                    <a:pt x="1625590" y="1821649"/>
                  </a:cubicBezTo>
                  <a:cubicBezTo>
                    <a:pt x="1616261" y="1798327"/>
                    <a:pt x="1618594" y="1749347"/>
                    <a:pt x="1616261" y="1723692"/>
                  </a:cubicBezTo>
                  <a:cubicBezTo>
                    <a:pt x="1616261" y="1721361"/>
                    <a:pt x="1613929" y="1721361"/>
                    <a:pt x="1611597" y="1721361"/>
                  </a:cubicBezTo>
                  <a:cubicBezTo>
                    <a:pt x="1609264" y="1705036"/>
                    <a:pt x="1620926" y="1707368"/>
                    <a:pt x="1630255" y="1712031"/>
                  </a:cubicBezTo>
                  <a:cubicBezTo>
                    <a:pt x="1639584" y="1719029"/>
                    <a:pt x="1639584" y="1786665"/>
                    <a:pt x="1641917" y="1802990"/>
                  </a:cubicBezTo>
                  <a:cubicBezTo>
                    <a:pt x="1651245" y="1837974"/>
                    <a:pt x="1767858" y="1921935"/>
                    <a:pt x="1800510" y="1919603"/>
                  </a:cubicBezTo>
                  <a:cubicBezTo>
                    <a:pt x="1809840" y="1919603"/>
                    <a:pt x="1865814" y="1903279"/>
                    <a:pt x="1870479" y="1898612"/>
                  </a:cubicBezTo>
                  <a:cubicBezTo>
                    <a:pt x="1875143" y="1893949"/>
                    <a:pt x="1889136" y="1865960"/>
                    <a:pt x="1891469" y="1858965"/>
                  </a:cubicBezTo>
                  <a:cubicBezTo>
                    <a:pt x="1905463" y="1828644"/>
                    <a:pt x="1966101" y="1754013"/>
                    <a:pt x="1966101" y="1723692"/>
                  </a:cubicBezTo>
                  <a:cubicBezTo>
                    <a:pt x="1966101" y="1702701"/>
                    <a:pt x="1963769" y="1700370"/>
                    <a:pt x="1966101" y="1674715"/>
                  </a:cubicBezTo>
                  <a:cubicBezTo>
                    <a:pt x="1968434" y="1653724"/>
                    <a:pt x="1970766" y="1642063"/>
                    <a:pt x="1977762" y="1623407"/>
                  </a:cubicBezTo>
                  <a:cubicBezTo>
                    <a:pt x="1987092" y="1595418"/>
                    <a:pt x="1989424" y="1600084"/>
                    <a:pt x="1989424" y="1565100"/>
                  </a:cubicBezTo>
                  <a:cubicBezTo>
                    <a:pt x="1989424" y="1555770"/>
                    <a:pt x="1989424" y="1546441"/>
                    <a:pt x="1989424" y="1537111"/>
                  </a:cubicBezTo>
                  <a:cubicBezTo>
                    <a:pt x="2019744" y="1455482"/>
                    <a:pt x="2036069" y="1359859"/>
                    <a:pt x="2068721" y="1280562"/>
                  </a:cubicBezTo>
                  <a:cubicBezTo>
                    <a:pt x="2073386" y="1271232"/>
                    <a:pt x="2073386" y="1261905"/>
                    <a:pt x="2087379" y="1261905"/>
                  </a:cubicBezTo>
                  <a:cubicBezTo>
                    <a:pt x="2068721" y="1345866"/>
                    <a:pt x="2024408" y="1460148"/>
                    <a:pt x="2015079" y="1537111"/>
                  </a:cubicBezTo>
                  <a:cubicBezTo>
                    <a:pt x="2012746" y="1565100"/>
                    <a:pt x="2017411" y="1602416"/>
                    <a:pt x="2012746" y="1625738"/>
                  </a:cubicBezTo>
                  <a:cubicBezTo>
                    <a:pt x="2008083" y="1639731"/>
                    <a:pt x="1984760" y="1660722"/>
                    <a:pt x="1980095" y="1679379"/>
                  </a:cubicBezTo>
                  <a:cubicBezTo>
                    <a:pt x="1977762" y="1700370"/>
                    <a:pt x="1994088" y="1712031"/>
                    <a:pt x="1991757" y="1733022"/>
                  </a:cubicBezTo>
                  <a:cubicBezTo>
                    <a:pt x="1970766" y="1763343"/>
                    <a:pt x="1952108" y="1800658"/>
                    <a:pt x="1933450" y="1833311"/>
                  </a:cubicBezTo>
                  <a:cubicBezTo>
                    <a:pt x="1912459" y="1870626"/>
                    <a:pt x="1900798" y="1924267"/>
                    <a:pt x="1847156" y="1935928"/>
                  </a:cubicBezTo>
                  <a:cubicBezTo>
                    <a:pt x="1819168" y="1940594"/>
                    <a:pt x="1793514" y="1931265"/>
                    <a:pt x="1767858" y="1924267"/>
                  </a:cubicBezTo>
                  <a:cubicBezTo>
                    <a:pt x="1767858" y="1935928"/>
                    <a:pt x="1772523" y="2005896"/>
                    <a:pt x="1781853" y="2003564"/>
                  </a:cubicBezTo>
                  <a:cubicBezTo>
                    <a:pt x="1805175" y="1989571"/>
                    <a:pt x="1812172" y="1952256"/>
                    <a:pt x="1842491" y="1952256"/>
                  </a:cubicBezTo>
                  <a:cubicBezTo>
                    <a:pt x="1823833" y="1998901"/>
                    <a:pt x="1767858" y="2050210"/>
                    <a:pt x="1737539" y="2089860"/>
                  </a:cubicBezTo>
                  <a:cubicBezTo>
                    <a:pt x="1597603" y="2271775"/>
                    <a:pt x="1450670" y="2472350"/>
                    <a:pt x="1343387" y="2675259"/>
                  </a:cubicBezTo>
                  <a:cubicBezTo>
                    <a:pt x="1329392" y="2654268"/>
                    <a:pt x="1278082" y="2586631"/>
                    <a:pt x="1282747" y="2565640"/>
                  </a:cubicBezTo>
                  <a:cubicBezTo>
                    <a:pt x="1282747" y="2558645"/>
                    <a:pt x="1348050" y="2449027"/>
                    <a:pt x="1355048" y="2442032"/>
                  </a:cubicBezTo>
                  <a:cubicBezTo>
                    <a:pt x="1371373" y="2425704"/>
                    <a:pt x="1397029" y="2423373"/>
                    <a:pt x="1399360" y="2400050"/>
                  </a:cubicBezTo>
                  <a:cubicBezTo>
                    <a:pt x="1399360" y="2393055"/>
                    <a:pt x="1394695" y="2386057"/>
                    <a:pt x="1397029" y="2379059"/>
                  </a:cubicBezTo>
                  <a:cubicBezTo>
                    <a:pt x="1399360" y="2365066"/>
                    <a:pt x="1432013" y="2334748"/>
                    <a:pt x="1446006" y="2323087"/>
                  </a:cubicBezTo>
                  <a:cubicBezTo>
                    <a:pt x="1464663" y="2306759"/>
                    <a:pt x="1511309" y="2281105"/>
                    <a:pt x="1522970" y="2267112"/>
                  </a:cubicBezTo>
                  <a:cubicBezTo>
                    <a:pt x="1539296" y="2248453"/>
                    <a:pt x="1515974" y="2236791"/>
                    <a:pt x="1499647" y="2243789"/>
                  </a:cubicBezTo>
                  <a:cubicBezTo>
                    <a:pt x="1492651" y="2246121"/>
                    <a:pt x="1429679" y="2313757"/>
                    <a:pt x="1418018" y="2325418"/>
                  </a:cubicBezTo>
                  <a:cubicBezTo>
                    <a:pt x="1355048" y="2397718"/>
                    <a:pt x="1313066" y="2484011"/>
                    <a:pt x="1261757" y="2560977"/>
                  </a:cubicBezTo>
                  <a:cubicBezTo>
                    <a:pt x="1252428" y="2665929"/>
                    <a:pt x="1254759" y="2780211"/>
                    <a:pt x="1245431" y="2885163"/>
                  </a:cubicBezTo>
                  <a:cubicBezTo>
                    <a:pt x="1240766" y="2938803"/>
                    <a:pt x="1182460" y="3046090"/>
                    <a:pt x="1168467" y="3113723"/>
                  </a:cubicBezTo>
                  <a:cubicBezTo>
                    <a:pt x="1159137" y="3155705"/>
                    <a:pt x="1138146" y="3265320"/>
                    <a:pt x="1147476" y="3302639"/>
                  </a:cubicBezTo>
                  <a:cubicBezTo>
                    <a:pt x="1152141" y="3318964"/>
                    <a:pt x="1187125" y="3314300"/>
                    <a:pt x="1201118" y="3314300"/>
                  </a:cubicBezTo>
                  <a:cubicBezTo>
                    <a:pt x="1287412" y="3309634"/>
                    <a:pt x="1418018" y="3279316"/>
                    <a:pt x="1499647" y="3251327"/>
                  </a:cubicBezTo>
                  <a:cubicBezTo>
                    <a:pt x="1541629" y="3237334"/>
                    <a:pt x="1651245" y="3186026"/>
                    <a:pt x="1681565" y="3155705"/>
                  </a:cubicBezTo>
                  <a:cubicBezTo>
                    <a:pt x="1702555" y="3134714"/>
                    <a:pt x="1709552" y="3060083"/>
                    <a:pt x="1718881" y="3025099"/>
                  </a:cubicBezTo>
                  <a:cubicBezTo>
                    <a:pt x="1765526" y="2868835"/>
                    <a:pt x="1868147" y="2719572"/>
                    <a:pt x="1963769" y="2588963"/>
                  </a:cubicBezTo>
                  <a:lnTo>
                    <a:pt x="1980095" y="2826856"/>
                  </a:lnTo>
                  <a:cubicBezTo>
                    <a:pt x="1982427" y="2850179"/>
                    <a:pt x="1989424" y="2875833"/>
                    <a:pt x="1991757" y="2899156"/>
                  </a:cubicBezTo>
                  <a:cubicBezTo>
                    <a:pt x="1996421" y="2941138"/>
                    <a:pt x="1991757" y="2983117"/>
                    <a:pt x="1998753" y="3027430"/>
                  </a:cubicBezTo>
                  <a:cubicBezTo>
                    <a:pt x="2005750" y="3064746"/>
                    <a:pt x="2033737" y="3099730"/>
                    <a:pt x="2038402" y="3130051"/>
                  </a:cubicBezTo>
                  <a:cubicBezTo>
                    <a:pt x="2073386" y="3288643"/>
                    <a:pt x="2108370" y="3451902"/>
                    <a:pt x="2134024" y="3615160"/>
                  </a:cubicBezTo>
                  <a:cubicBezTo>
                    <a:pt x="2155015" y="3748101"/>
                    <a:pt x="2169008" y="3881039"/>
                    <a:pt x="2185335" y="4016312"/>
                  </a:cubicBezTo>
                  <a:cubicBezTo>
                    <a:pt x="2176005" y="4041966"/>
                    <a:pt x="2152682" y="4023307"/>
                    <a:pt x="2134024" y="4027973"/>
                  </a:cubicBezTo>
                  <a:cubicBezTo>
                    <a:pt x="2159680" y="4107271"/>
                    <a:pt x="2245973" y="4139920"/>
                    <a:pt x="2320606" y="4158580"/>
                  </a:cubicBezTo>
                  <a:cubicBezTo>
                    <a:pt x="2413897" y="4181902"/>
                    <a:pt x="2549168" y="4170241"/>
                    <a:pt x="2602811" y="4265864"/>
                  </a:cubicBezTo>
                  <a:cubicBezTo>
                    <a:pt x="2602811" y="4268195"/>
                    <a:pt x="2600478" y="4289186"/>
                    <a:pt x="2609808" y="4289186"/>
                  </a:cubicBezTo>
                  <a:lnTo>
                    <a:pt x="3444759" y="4289186"/>
                  </a:lnTo>
                  <a:close/>
                  <a:moveTo>
                    <a:pt x="1425016" y="1063662"/>
                  </a:moveTo>
                  <a:cubicBezTo>
                    <a:pt x="1420351" y="1070658"/>
                    <a:pt x="1429679" y="1079987"/>
                    <a:pt x="1429679" y="1075324"/>
                  </a:cubicBezTo>
                  <a:cubicBezTo>
                    <a:pt x="1434344" y="1068326"/>
                    <a:pt x="1425016" y="1058996"/>
                    <a:pt x="1425016" y="1063662"/>
                  </a:cubicBezTo>
                  <a:close/>
                  <a:moveTo>
                    <a:pt x="1515974" y="895738"/>
                  </a:moveTo>
                  <a:cubicBezTo>
                    <a:pt x="1522970" y="872415"/>
                    <a:pt x="1611597" y="755802"/>
                    <a:pt x="1597603" y="741808"/>
                  </a:cubicBezTo>
                  <a:cubicBezTo>
                    <a:pt x="1541629" y="758133"/>
                    <a:pt x="1492651" y="755802"/>
                    <a:pt x="1436677" y="741808"/>
                  </a:cubicBezTo>
                  <a:lnTo>
                    <a:pt x="1378371" y="692831"/>
                  </a:lnTo>
                  <a:cubicBezTo>
                    <a:pt x="1334057" y="772129"/>
                    <a:pt x="1420351" y="900404"/>
                    <a:pt x="1504312" y="895738"/>
                  </a:cubicBezTo>
                  <a:cubicBezTo>
                    <a:pt x="1506645" y="895738"/>
                    <a:pt x="1511309" y="895738"/>
                    <a:pt x="1513642" y="895738"/>
                  </a:cubicBezTo>
                  <a:close/>
                  <a:moveTo>
                    <a:pt x="1683897" y="1140626"/>
                  </a:moveTo>
                  <a:cubicBezTo>
                    <a:pt x="1683897" y="1135962"/>
                    <a:pt x="1688562" y="1128964"/>
                    <a:pt x="1686229" y="1121969"/>
                  </a:cubicBezTo>
                  <a:cubicBezTo>
                    <a:pt x="1681565" y="1103310"/>
                    <a:pt x="1674568" y="1084651"/>
                    <a:pt x="1672236" y="1063662"/>
                  </a:cubicBezTo>
                  <a:cubicBezTo>
                    <a:pt x="1651245" y="1070658"/>
                    <a:pt x="1637252" y="1086985"/>
                    <a:pt x="1613929" y="1093980"/>
                  </a:cubicBezTo>
                  <a:cubicBezTo>
                    <a:pt x="1590606" y="1100978"/>
                    <a:pt x="1564952" y="1093980"/>
                    <a:pt x="1546293" y="1110308"/>
                  </a:cubicBezTo>
                  <a:cubicBezTo>
                    <a:pt x="1536965" y="1110308"/>
                    <a:pt x="1508977" y="1105642"/>
                    <a:pt x="1511309" y="1119635"/>
                  </a:cubicBezTo>
                  <a:cubicBezTo>
                    <a:pt x="1515974" y="1152287"/>
                    <a:pt x="1557954" y="1194269"/>
                    <a:pt x="1557954" y="1231585"/>
                  </a:cubicBezTo>
                  <a:cubicBezTo>
                    <a:pt x="1567284" y="1238583"/>
                    <a:pt x="1625590" y="1210594"/>
                    <a:pt x="1637252" y="1203599"/>
                  </a:cubicBezTo>
                  <a:cubicBezTo>
                    <a:pt x="1655910" y="1194269"/>
                    <a:pt x="1688562" y="1177941"/>
                    <a:pt x="1693227" y="1154619"/>
                  </a:cubicBezTo>
                  <a:cubicBezTo>
                    <a:pt x="1695558" y="1142957"/>
                    <a:pt x="1683897" y="1147624"/>
                    <a:pt x="1681565" y="1142957"/>
                  </a:cubicBezTo>
                  <a:close/>
                  <a:moveTo>
                    <a:pt x="1744536" y="804779"/>
                  </a:moveTo>
                  <a:cubicBezTo>
                    <a:pt x="1707220" y="865420"/>
                    <a:pt x="1693227" y="937719"/>
                    <a:pt x="1674568" y="1005356"/>
                  </a:cubicBezTo>
                  <a:lnTo>
                    <a:pt x="1707220" y="1110308"/>
                  </a:lnTo>
                  <a:cubicBezTo>
                    <a:pt x="1742204" y="1079987"/>
                    <a:pt x="1751533" y="1131296"/>
                    <a:pt x="1772523" y="1149955"/>
                  </a:cubicBezTo>
                  <a:cubicBezTo>
                    <a:pt x="1784184" y="1131296"/>
                    <a:pt x="1830830" y="1091649"/>
                    <a:pt x="1833163" y="1072989"/>
                  </a:cubicBezTo>
                  <a:cubicBezTo>
                    <a:pt x="1833163" y="1054333"/>
                    <a:pt x="1812172" y="979699"/>
                    <a:pt x="1805175" y="958710"/>
                  </a:cubicBezTo>
                  <a:cubicBezTo>
                    <a:pt x="1800510" y="940051"/>
                    <a:pt x="1753865" y="807113"/>
                    <a:pt x="1744536" y="807113"/>
                  </a:cubicBezTo>
                  <a:close/>
                  <a:moveTo>
                    <a:pt x="1770191" y="461936"/>
                  </a:moveTo>
                  <a:cubicBezTo>
                    <a:pt x="1758530" y="461936"/>
                    <a:pt x="1753865" y="466600"/>
                    <a:pt x="1753865" y="475929"/>
                  </a:cubicBezTo>
                  <a:cubicBezTo>
                    <a:pt x="1744536" y="524906"/>
                    <a:pt x="1758530" y="599541"/>
                    <a:pt x="1753865" y="653181"/>
                  </a:cubicBezTo>
                  <a:cubicBezTo>
                    <a:pt x="1751533" y="688165"/>
                    <a:pt x="1732874" y="718486"/>
                    <a:pt x="1730542" y="753470"/>
                  </a:cubicBezTo>
                  <a:cubicBezTo>
                    <a:pt x="1718881" y="753470"/>
                    <a:pt x="1718881" y="755802"/>
                    <a:pt x="1718881" y="744140"/>
                  </a:cubicBezTo>
                  <a:cubicBezTo>
                    <a:pt x="1718881" y="718486"/>
                    <a:pt x="1732874" y="685833"/>
                    <a:pt x="1735207" y="657847"/>
                  </a:cubicBezTo>
                  <a:cubicBezTo>
                    <a:pt x="1739872" y="608870"/>
                    <a:pt x="1732874" y="555227"/>
                    <a:pt x="1735207" y="506250"/>
                  </a:cubicBezTo>
                  <a:lnTo>
                    <a:pt x="1718881" y="506250"/>
                  </a:lnTo>
                  <a:cubicBezTo>
                    <a:pt x="1718881" y="506250"/>
                    <a:pt x="1683897" y="737145"/>
                    <a:pt x="1683897" y="737145"/>
                  </a:cubicBezTo>
                  <a:cubicBezTo>
                    <a:pt x="1669904" y="737145"/>
                    <a:pt x="1672236" y="734811"/>
                    <a:pt x="1672236" y="723149"/>
                  </a:cubicBezTo>
                  <a:cubicBezTo>
                    <a:pt x="1672236" y="685833"/>
                    <a:pt x="1686229" y="641520"/>
                    <a:pt x="1690894" y="601872"/>
                  </a:cubicBezTo>
                  <a:cubicBezTo>
                    <a:pt x="1690894" y="597209"/>
                    <a:pt x="1683897" y="597209"/>
                    <a:pt x="1679232" y="601872"/>
                  </a:cubicBezTo>
                  <a:cubicBezTo>
                    <a:pt x="1669904" y="611202"/>
                    <a:pt x="1611597" y="772129"/>
                    <a:pt x="1597603" y="802447"/>
                  </a:cubicBezTo>
                  <a:cubicBezTo>
                    <a:pt x="1550958" y="895738"/>
                    <a:pt x="1483323" y="958710"/>
                    <a:pt x="1541629" y="1075324"/>
                  </a:cubicBezTo>
                  <a:cubicBezTo>
                    <a:pt x="1557954" y="1107973"/>
                    <a:pt x="1618594" y="1068326"/>
                    <a:pt x="1644248" y="1058996"/>
                  </a:cubicBezTo>
                  <a:cubicBezTo>
                    <a:pt x="1644248" y="1045003"/>
                    <a:pt x="1644248" y="1031010"/>
                    <a:pt x="1646581" y="1019349"/>
                  </a:cubicBezTo>
                  <a:cubicBezTo>
                    <a:pt x="1672236" y="881744"/>
                    <a:pt x="1772523" y="765131"/>
                    <a:pt x="1777188" y="627527"/>
                  </a:cubicBezTo>
                  <a:cubicBezTo>
                    <a:pt x="1777188" y="576218"/>
                    <a:pt x="1765526" y="517911"/>
                    <a:pt x="1772523" y="464268"/>
                  </a:cubicBezTo>
                  <a:close/>
                  <a:moveTo>
                    <a:pt x="1816837" y="506250"/>
                  </a:moveTo>
                  <a:cubicBezTo>
                    <a:pt x="1798179" y="487591"/>
                    <a:pt x="1779520" y="555227"/>
                    <a:pt x="1788849" y="569220"/>
                  </a:cubicBezTo>
                  <a:cubicBezTo>
                    <a:pt x="1802842" y="573886"/>
                    <a:pt x="1805175" y="555227"/>
                    <a:pt x="1807507" y="545897"/>
                  </a:cubicBezTo>
                  <a:cubicBezTo>
                    <a:pt x="1809840" y="538902"/>
                    <a:pt x="1821501" y="510913"/>
                    <a:pt x="1816837" y="506250"/>
                  </a:cubicBezTo>
                  <a:close/>
                  <a:moveTo>
                    <a:pt x="1520638" y="191394"/>
                  </a:moveTo>
                  <a:lnTo>
                    <a:pt x="1529968" y="144749"/>
                  </a:lnTo>
                  <a:lnTo>
                    <a:pt x="1553291" y="196057"/>
                  </a:lnTo>
                  <a:cubicBezTo>
                    <a:pt x="1550958" y="149412"/>
                    <a:pt x="1518307" y="91105"/>
                    <a:pt x="1569615" y="58453"/>
                  </a:cubicBezTo>
                  <a:cubicBezTo>
                    <a:pt x="1602268" y="37465"/>
                    <a:pt x="1604599" y="51458"/>
                    <a:pt x="1632587" y="51458"/>
                  </a:cubicBezTo>
                  <a:cubicBezTo>
                    <a:pt x="1714216" y="51458"/>
                    <a:pt x="1749200" y="53790"/>
                    <a:pt x="1812172" y="112096"/>
                  </a:cubicBezTo>
                  <a:cubicBezTo>
                    <a:pt x="1830830" y="128421"/>
                    <a:pt x="1863482" y="158742"/>
                    <a:pt x="1861149" y="184396"/>
                  </a:cubicBezTo>
                  <a:cubicBezTo>
                    <a:pt x="1830830" y="156410"/>
                    <a:pt x="1798179" y="114428"/>
                    <a:pt x="1753865" y="109765"/>
                  </a:cubicBezTo>
                  <a:lnTo>
                    <a:pt x="1842491" y="196057"/>
                  </a:lnTo>
                  <a:cubicBezTo>
                    <a:pt x="1889136" y="254364"/>
                    <a:pt x="1891469" y="342991"/>
                    <a:pt x="1858817" y="408293"/>
                  </a:cubicBezTo>
                  <a:cubicBezTo>
                    <a:pt x="1849488" y="429284"/>
                    <a:pt x="1826165" y="450275"/>
                    <a:pt x="1816837" y="471266"/>
                  </a:cubicBezTo>
                  <a:cubicBezTo>
                    <a:pt x="1814504" y="478261"/>
                    <a:pt x="1814504" y="487591"/>
                    <a:pt x="1823833" y="485259"/>
                  </a:cubicBezTo>
                  <a:cubicBezTo>
                    <a:pt x="1863482" y="468934"/>
                    <a:pt x="1907794" y="324332"/>
                    <a:pt x="1900798" y="282353"/>
                  </a:cubicBezTo>
                  <a:cubicBezTo>
                    <a:pt x="1898466" y="266025"/>
                    <a:pt x="1879808" y="249701"/>
                    <a:pt x="1879808" y="235708"/>
                  </a:cubicBezTo>
                  <a:cubicBezTo>
                    <a:pt x="1879808" y="224046"/>
                    <a:pt x="1893801" y="231041"/>
                    <a:pt x="1891469" y="219380"/>
                  </a:cubicBezTo>
                  <a:cubicBezTo>
                    <a:pt x="1879808" y="172735"/>
                    <a:pt x="1844824" y="121426"/>
                    <a:pt x="1807507" y="88774"/>
                  </a:cubicBezTo>
                  <a:cubicBezTo>
                    <a:pt x="1749200" y="39797"/>
                    <a:pt x="1611597" y="-9180"/>
                    <a:pt x="1548626" y="53790"/>
                  </a:cubicBezTo>
                  <a:lnTo>
                    <a:pt x="1518307" y="105098"/>
                  </a:lnTo>
                  <a:cubicBezTo>
                    <a:pt x="1518307" y="86442"/>
                    <a:pt x="1518307" y="67783"/>
                    <a:pt x="1529968" y="51458"/>
                  </a:cubicBezTo>
                  <a:lnTo>
                    <a:pt x="1574280" y="14142"/>
                  </a:lnTo>
                  <a:cubicBezTo>
                    <a:pt x="1483323" y="11808"/>
                    <a:pt x="1473993" y="135419"/>
                    <a:pt x="1520638" y="191394"/>
                  </a:cubicBezTo>
                  <a:close/>
                  <a:moveTo>
                    <a:pt x="1585942" y="158742"/>
                  </a:moveTo>
                  <a:cubicBezTo>
                    <a:pt x="1585942" y="158742"/>
                    <a:pt x="1567284" y="172735"/>
                    <a:pt x="1578945" y="170403"/>
                  </a:cubicBezTo>
                  <a:cubicBezTo>
                    <a:pt x="1674568" y="128421"/>
                    <a:pt x="1688562" y="261362"/>
                    <a:pt x="1709552" y="322000"/>
                  </a:cubicBezTo>
                  <a:cubicBezTo>
                    <a:pt x="1711885" y="331330"/>
                    <a:pt x="1707220" y="338325"/>
                    <a:pt x="1723546" y="333662"/>
                  </a:cubicBezTo>
                  <a:cubicBezTo>
                    <a:pt x="1711885" y="275355"/>
                    <a:pt x="1679232" y="107433"/>
                    <a:pt x="1585942" y="158742"/>
                  </a:cubicBezTo>
                  <a:close/>
                  <a:moveTo>
                    <a:pt x="1385367" y="203055"/>
                  </a:moveTo>
                  <a:lnTo>
                    <a:pt x="1413355" y="154078"/>
                  </a:lnTo>
                  <a:lnTo>
                    <a:pt x="1476325" y="100435"/>
                  </a:lnTo>
                  <a:cubicBezTo>
                    <a:pt x="1420351" y="109765"/>
                    <a:pt x="1399360" y="142417"/>
                    <a:pt x="1385367" y="191394"/>
                  </a:cubicBezTo>
                  <a:cubicBezTo>
                    <a:pt x="1385367" y="193726"/>
                    <a:pt x="1373706" y="200724"/>
                    <a:pt x="1385367" y="203055"/>
                  </a:cubicBezTo>
                  <a:close/>
                  <a:moveTo>
                    <a:pt x="1392364" y="254364"/>
                  </a:moveTo>
                  <a:lnTo>
                    <a:pt x="1392364" y="226378"/>
                  </a:lnTo>
                  <a:cubicBezTo>
                    <a:pt x="1392364" y="226378"/>
                    <a:pt x="1380702" y="226378"/>
                    <a:pt x="1380702" y="226378"/>
                  </a:cubicBezTo>
                  <a:cubicBezTo>
                    <a:pt x="1378371" y="228710"/>
                    <a:pt x="1385367" y="259030"/>
                    <a:pt x="1392364" y="254364"/>
                  </a:cubicBezTo>
                  <a:close/>
                  <a:moveTo>
                    <a:pt x="1359711" y="604204"/>
                  </a:moveTo>
                  <a:cubicBezTo>
                    <a:pt x="1383034" y="711488"/>
                    <a:pt x="1480990" y="769795"/>
                    <a:pt x="1585942" y="720817"/>
                  </a:cubicBezTo>
                  <a:cubicBezTo>
                    <a:pt x="1646581" y="690500"/>
                    <a:pt x="1634920" y="625195"/>
                    <a:pt x="1667571" y="585548"/>
                  </a:cubicBezTo>
                  <a:cubicBezTo>
                    <a:pt x="1674568" y="576218"/>
                    <a:pt x="1686229" y="580881"/>
                    <a:pt x="1690894" y="571552"/>
                  </a:cubicBezTo>
                  <a:cubicBezTo>
                    <a:pt x="1700223" y="555227"/>
                    <a:pt x="1695558" y="515580"/>
                    <a:pt x="1709552" y="499252"/>
                  </a:cubicBezTo>
                  <a:cubicBezTo>
                    <a:pt x="1716549" y="489922"/>
                    <a:pt x="1728211" y="492257"/>
                    <a:pt x="1737539" y="480596"/>
                  </a:cubicBezTo>
                  <a:cubicBezTo>
                    <a:pt x="1742204" y="475929"/>
                    <a:pt x="1760862" y="433950"/>
                    <a:pt x="1760862" y="429284"/>
                  </a:cubicBezTo>
                  <a:cubicBezTo>
                    <a:pt x="1751533" y="398966"/>
                    <a:pt x="1716549" y="368646"/>
                    <a:pt x="1697890" y="342991"/>
                  </a:cubicBezTo>
                  <a:cubicBezTo>
                    <a:pt x="1672236" y="303341"/>
                    <a:pt x="1655910" y="224046"/>
                    <a:pt x="1595271" y="221712"/>
                  </a:cubicBezTo>
                  <a:cubicBezTo>
                    <a:pt x="1574280" y="221712"/>
                    <a:pt x="1553291" y="242703"/>
                    <a:pt x="1548626" y="242703"/>
                  </a:cubicBezTo>
                  <a:cubicBezTo>
                    <a:pt x="1539296" y="242703"/>
                    <a:pt x="1522970" y="210050"/>
                    <a:pt x="1522970" y="210050"/>
                  </a:cubicBezTo>
                  <a:cubicBezTo>
                    <a:pt x="1518307" y="207719"/>
                    <a:pt x="1506645" y="217048"/>
                    <a:pt x="1499647" y="214717"/>
                  </a:cubicBezTo>
                  <a:cubicBezTo>
                    <a:pt x="1490319" y="214717"/>
                    <a:pt x="1485654" y="196057"/>
                    <a:pt x="1471661" y="198389"/>
                  </a:cubicBezTo>
                  <a:cubicBezTo>
                    <a:pt x="1483323" y="228710"/>
                    <a:pt x="1471661" y="217048"/>
                    <a:pt x="1457667" y="233373"/>
                  </a:cubicBezTo>
                  <a:cubicBezTo>
                    <a:pt x="1432013" y="261362"/>
                    <a:pt x="1432013" y="263694"/>
                    <a:pt x="1422683" y="294014"/>
                  </a:cubicBezTo>
                  <a:cubicBezTo>
                    <a:pt x="1418018" y="305676"/>
                    <a:pt x="1408690" y="312671"/>
                    <a:pt x="1411022" y="324332"/>
                  </a:cubicBezTo>
                  <a:cubicBezTo>
                    <a:pt x="1448339" y="310339"/>
                    <a:pt x="1485654" y="298678"/>
                    <a:pt x="1525303" y="315002"/>
                  </a:cubicBezTo>
                  <a:cubicBezTo>
                    <a:pt x="1508977" y="354653"/>
                    <a:pt x="1460000" y="322000"/>
                    <a:pt x="1432013" y="328998"/>
                  </a:cubicBezTo>
                  <a:cubicBezTo>
                    <a:pt x="1427348" y="328998"/>
                    <a:pt x="1432013" y="347655"/>
                    <a:pt x="1406357" y="333662"/>
                  </a:cubicBezTo>
                  <a:cubicBezTo>
                    <a:pt x="1387699" y="438614"/>
                    <a:pt x="1338722" y="492257"/>
                    <a:pt x="1362045" y="604204"/>
                  </a:cubicBezTo>
                  <a:close/>
                  <a:moveTo>
                    <a:pt x="1345718" y="615865"/>
                  </a:moveTo>
                  <a:cubicBezTo>
                    <a:pt x="1329392" y="615865"/>
                    <a:pt x="1315399" y="615865"/>
                    <a:pt x="1299073" y="618197"/>
                  </a:cubicBezTo>
                  <a:cubicBezTo>
                    <a:pt x="1268754" y="625195"/>
                    <a:pt x="1173130" y="725484"/>
                    <a:pt x="1147476" y="753470"/>
                  </a:cubicBezTo>
                  <a:cubicBezTo>
                    <a:pt x="1133483" y="767463"/>
                    <a:pt x="1063515" y="846760"/>
                    <a:pt x="1065846" y="858422"/>
                  </a:cubicBezTo>
                  <a:cubicBezTo>
                    <a:pt x="1065846" y="863085"/>
                    <a:pt x="1107827" y="933053"/>
                    <a:pt x="1110160" y="935388"/>
                  </a:cubicBezTo>
                  <a:cubicBezTo>
                    <a:pt x="1119488" y="940051"/>
                    <a:pt x="1119488" y="935388"/>
                    <a:pt x="1124153" y="933053"/>
                  </a:cubicBezTo>
                  <a:cubicBezTo>
                    <a:pt x="1152141" y="921392"/>
                    <a:pt x="1184791" y="893406"/>
                    <a:pt x="1212779" y="877081"/>
                  </a:cubicBezTo>
                  <a:cubicBezTo>
                    <a:pt x="1224440" y="870083"/>
                    <a:pt x="1261757" y="858422"/>
                    <a:pt x="1264089" y="856090"/>
                  </a:cubicBezTo>
                  <a:cubicBezTo>
                    <a:pt x="1264089" y="853758"/>
                    <a:pt x="1275750" y="804779"/>
                    <a:pt x="1280415" y="793117"/>
                  </a:cubicBezTo>
                  <a:cubicBezTo>
                    <a:pt x="1301405" y="732479"/>
                    <a:pt x="1322396" y="674172"/>
                    <a:pt x="1345718" y="615865"/>
                  </a:cubicBezTo>
                  <a:close/>
                  <a:moveTo>
                    <a:pt x="1376038" y="914397"/>
                  </a:moveTo>
                  <a:lnTo>
                    <a:pt x="1425016" y="893406"/>
                  </a:lnTo>
                  <a:cubicBezTo>
                    <a:pt x="1427348" y="879413"/>
                    <a:pt x="1411022" y="877081"/>
                    <a:pt x="1401693" y="867751"/>
                  </a:cubicBezTo>
                  <a:cubicBezTo>
                    <a:pt x="1371373" y="832767"/>
                    <a:pt x="1350383" y="793117"/>
                    <a:pt x="1350383" y="746472"/>
                  </a:cubicBezTo>
                  <a:cubicBezTo>
                    <a:pt x="1350383" y="725484"/>
                    <a:pt x="1366709" y="664843"/>
                    <a:pt x="1357380" y="650849"/>
                  </a:cubicBezTo>
                  <a:cubicBezTo>
                    <a:pt x="1348050" y="639188"/>
                    <a:pt x="1348050" y="655516"/>
                    <a:pt x="1345718" y="657847"/>
                  </a:cubicBezTo>
                  <a:cubicBezTo>
                    <a:pt x="1334057" y="683502"/>
                    <a:pt x="1303738" y="779124"/>
                    <a:pt x="1301405" y="807113"/>
                  </a:cubicBezTo>
                  <a:cubicBezTo>
                    <a:pt x="1294408" y="853758"/>
                    <a:pt x="1310734" y="905067"/>
                    <a:pt x="1313066" y="954044"/>
                  </a:cubicBezTo>
                  <a:lnTo>
                    <a:pt x="1378371" y="912065"/>
                  </a:lnTo>
                  <a:close/>
                  <a:moveTo>
                    <a:pt x="1427348" y="1012351"/>
                  </a:moveTo>
                  <a:cubicBezTo>
                    <a:pt x="1450670" y="1012351"/>
                    <a:pt x="1476325" y="968037"/>
                    <a:pt x="1457667" y="951713"/>
                  </a:cubicBezTo>
                  <a:cubicBezTo>
                    <a:pt x="1453002" y="947049"/>
                    <a:pt x="1420351" y="935388"/>
                    <a:pt x="1415686" y="933053"/>
                  </a:cubicBezTo>
                  <a:cubicBezTo>
                    <a:pt x="1373706" y="928390"/>
                    <a:pt x="1387699" y="1012351"/>
                    <a:pt x="1427348" y="1012351"/>
                  </a:cubicBezTo>
                  <a:close/>
                  <a:moveTo>
                    <a:pt x="1420351" y="2194812"/>
                  </a:moveTo>
                  <a:cubicBezTo>
                    <a:pt x="1434344" y="2197144"/>
                    <a:pt x="1504312" y="2152830"/>
                    <a:pt x="1494984" y="2143500"/>
                  </a:cubicBezTo>
                  <a:cubicBezTo>
                    <a:pt x="1487986" y="2136505"/>
                    <a:pt x="1425016" y="2180816"/>
                    <a:pt x="1420351" y="2194812"/>
                  </a:cubicBezTo>
                  <a:close/>
                  <a:moveTo>
                    <a:pt x="1334057" y="2001233"/>
                  </a:moveTo>
                  <a:lnTo>
                    <a:pt x="1432013" y="2001233"/>
                  </a:lnTo>
                  <a:cubicBezTo>
                    <a:pt x="1439009" y="1989571"/>
                    <a:pt x="1399360" y="1933596"/>
                    <a:pt x="1394695" y="1931265"/>
                  </a:cubicBezTo>
                  <a:cubicBezTo>
                    <a:pt x="1380702" y="1928933"/>
                    <a:pt x="1348050" y="1989571"/>
                    <a:pt x="1334057" y="2001233"/>
                  </a:cubicBezTo>
                  <a:close/>
                  <a:moveTo>
                    <a:pt x="869935" y="1621072"/>
                  </a:moveTo>
                  <a:cubicBezTo>
                    <a:pt x="874600" y="1553439"/>
                    <a:pt x="909584" y="1492797"/>
                    <a:pt x="893258" y="1425164"/>
                  </a:cubicBezTo>
                  <a:cubicBezTo>
                    <a:pt x="851277" y="1478804"/>
                    <a:pt x="848946" y="1534779"/>
                    <a:pt x="858274" y="1600084"/>
                  </a:cubicBezTo>
                  <a:cubicBezTo>
                    <a:pt x="858274" y="1607079"/>
                    <a:pt x="858274" y="1621072"/>
                    <a:pt x="869935" y="1621072"/>
                  </a:cubicBezTo>
                  <a:close/>
                  <a:moveTo>
                    <a:pt x="848946" y="2022224"/>
                  </a:moveTo>
                  <a:cubicBezTo>
                    <a:pt x="848946" y="2015226"/>
                    <a:pt x="844281" y="1989571"/>
                    <a:pt x="839616" y="1987240"/>
                  </a:cubicBezTo>
                  <a:cubicBezTo>
                    <a:pt x="818627" y="1973247"/>
                    <a:pt x="767316" y="1991903"/>
                    <a:pt x="748659" y="2005896"/>
                  </a:cubicBezTo>
                  <a:cubicBezTo>
                    <a:pt x="702013" y="2040880"/>
                    <a:pt x="706677" y="2073532"/>
                    <a:pt x="716006" y="2124844"/>
                  </a:cubicBezTo>
                  <a:cubicBezTo>
                    <a:pt x="716006" y="2131839"/>
                    <a:pt x="716006" y="2152830"/>
                    <a:pt x="725336" y="2152830"/>
                  </a:cubicBezTo>
                  <a:cubicBezTo>
                    <a:pt x="729999" y="2103853"/>
                    <a:pt x="848946" y="2066537"/>
                    <a:pt x="848946" y="2024555"/>
                  </a:cubicBezTo>
                  <a:close/>
                  <a:moveTo>
                    <a:pt x="776645" y="2206473"/>
                  </a:moveTo>
                  <a:cubicBezTo>
                    <a:pt x="785974" y="2215800"/>
                    <a:pt x="823290" y="2145832"/>
                    <a:pt x="825623" y="2138837"/>
                  </a:cubicBezTo>
                  <a:cubicBezTo>
                    <a:pt x="830288" y="2120178"/>
                    <a:pt x="827955" y="2110848"/>
                    <a:pt x="823290" y="2092192"/>
                  </a:cubicBezTo>
                  <a:cubicBezTo>
                    <a:pt x="811629" y="2085194"/>
                    <a:pt x="762652" y="2124844"/>
                    <a:pt x="760320" y="2129507"/>
                  </a:cubicBezTo>
                  <a:cubicBezTo>
                    <a:pt x="757987" y="2138837"/>
                    <a:pt x="783643" y="2187814"/>
                    <a:pt x="776645" y="2206473"/>
                  </a:cubicBezTo>
                  <a:close/>
                  <a:moveTo>
                    <a:pt x="932907" y="3176696"/>
                  </a:moveTo>
                  <a:cubicBezTo>
                    <a:pt x="937572" y="3148707"/>
                    <a:pt x="918914" y="3123053"/>
                    <a:pt x="916581" y="3099730"/>
                  </a:cubicBezTo>
                  <a:cubicBezTo>
                    <a:pt x="914249" y="3076407"/>
                    <a:pt x="916581" y="3050753"/>
                    <a:pt x="916581" y="3027430"/>
                  </a:cubicBezTo>
                  <a:cubicBezTo>
                    <a:pt x="893258" y="2847847"/>
                    <a:pt x="790639" y="2665929"/>
                    <a:pt x="741661" y="2491009"/>
                  </a:cubicBezTo>
                  <a:lnTo>
                    <a:pt x="727668" y="2472350"/>
                  </a:lnTo>
                  <a:cubicBezTo>
                    <a:pt x="781309" y="2649604"/>
                    <a:pt x="837284" y="2829188"/>
                    <a:pt x="881597" y="3008771"/>
                  </a:cubicBezTo>
                  <a:cubicBezTo>
                    <a:pt x="858274" y="3020432"/>
                    <a:pt x="872268" y="3064746"/>
                    <a:pt x="872268" y="3088069"/>
                  </a:cubicBezTo>
                  <a:lnTo>
                    <a:pt x="935240" y="3179028"/>
                  </a:lnTo>
                  <a:close/>
                  <a:moveTo>
                    <a:pt x="928242" y="3260657"/>
                  </a:moveTo>
                  <a:cubicBezTo>
                    <a:pt x="935240" y="3276982"/>
                    <a:pt x="942236" y="3293309"/>
                    <a:pt x="949233" y="3309634"/>
                  </a:cubicBezTo>
                  <a:cubicBezTo>
                    <a:pt x="951565" y="3314300"/>
                    <a:pt x="949233" y="3325962"/>
                    <a:pt x="960894" y="3325962"/>
                  </a:cubicBezTo>
                  <a:cubicBezTo>
                    <a:pt x="965559" y="3316632"/>
                    <a:pt x="956230" y="3307302"/>
                    <a:pt x="956230" y="3302639"/>
                  </a:cubicBezTo>
                  <a:cubicBezTo>
                    <a:pt x="956230" y="3295641"/>
                    <a:pt x="956230" y="3286311"/>
                    <a:pt x="956230" y="3279316"/>
                  </a:cubicBezTo>
                  <a:cubicBezTo>
                    <a:pt x="956230" y="3267655"/>
                    <a:pt x="951565" y="3262989"/>
                    <a:pt x="951565" y="3262989"/>
                  </a:cubicBezTo>
                  <a:cubicBezTo>
                    <a:pt x="951565" y="3258325"/>
                    <a:pt x="951565" y="3255994"/>
                    <a:pt x="951565" y="3251327"/>
                  </a:cubicBezTo>
                  <a:cubicBezTo>
                    <a:pt x="951565" y="3251327"/>
                    <a:pt x="951565" y="3251327"/>
                    <a:pt x="951565" y="3246664"/>
                  </a:cubicBezTo>
                  <a:cubicBezTo>
                    <a:pt x="939903" y="3214012"/>
                    <a:pt x="928242" y="3200019"/>
                    <a:pt x="902588" y="3176696"/>
                  </a:cubicBezTo>
                  <a:cubicBezTo>
                    <a:pt x="886262" y="3211680"/>
                    <a:pt x="916581" y="3232671"/>
                    <a:pt x="930575" y="3258325"/>
                  </a:cubicBezTo>
                  <a:close/>
                  <a:moveTo>
                    <a:pt x="1030862" y="3804076"/>
                  </a:moveTo>
                  <a:cubicBezTo>
                    <a:pt x="1014536" y="3650144"/>
                    <a:pt x="1000543" y="3470561"/>
                    <a:pt x="942236" y="3325962"/>
                  </a:cubicBezTo>
                  <a:cubicBezTo>
                    <a:pt x="942236" y="3321295"/>
                    <a:pt x="925910" y="3274650"/>
                    <a:pt x="914249" y="3286311"/>
                  </a:cubicBezTo>
                  <a:lnTo>
                    <a:pt x="1028531" y="3804076"/>
                  </a:lnTo>
                  <a:close/>
                  <a:moveTo>
                    <a:pt x="1322396" y="4303179"/>
                  </a:moveTo>
                  <a:cubicBezTo>
                    <a:pt x="1320064" y="4268195"/>
                    <a:pt x="1280415" y="4289186"/>
                    <a:pt x="1257093" y="4289186"/>
                  </a:cubicBezTo>
                  <a:cubicBezTo>
                    <a:pt x="1243098" y="4289186"/>
                    <a:pt x="1224440" y="4286855"/>
                    <a:pt x="1210447" y="4284523"/>
                  </a:cubicBezTo>
                  <a:cubicBezTo>
                    <a:pt x="1203451" y="4284523"/>
                    <a:pt x="1180128" y="4284523"/>
                    <a:pt x="1177795" y="4272862"/>
                  </a:cubicBezTo>
                  <a:lnTo>
                    <a:pt x="1294408" y="4272862"/>
                  </a:lnTo>
                  <a:cubicBezTo>
                    <a:pt x="1294408" y="4272862"/>
                    <a:pt x="1303738" y="4263532"/>
                    <a:pt x="1303738" y="4261200"/>
                  </a:cubicBezTo>
                  <a:cubicBezTo>
                    <a:pt x="1243098" y="4244873"/>
                    <a:pt x="1168467" y="4219218"/>
                    <a:pt x="1105495" y="4226216"/>
                  </a:cubicBezTo>
                  <a:cubicBezTo>
                    <a:pt x="1093834" y="4226216"/>
                    <a:pt x="1037859" y="4244873"/>
                    <a:pt x="1035527" y="4249539"/>
                  </a:cubicBezTo>
                  <a:cubicBezTo>
                    <a:pt x="1030862" y="4256534"/>
                    <a:pt x="1030862" y="4284523"/>
                    <a:pt x="1028531" y="4293853"/>
                  </a:cubicBezTo>
                  <a:lnTo>
                    <a:pt x="1322396" y="4298516"/>
                  </a:lnTo>
                  <a:close/>
                  <a:moveTo>
                    <a:pt x="1758530" y="4326502"/>
                  </a:moveTo>
                  <a:lnTo>
                    <a:pt x="1835495" y="4338163"/>
                  </a:lnTo>
                  <a:lnTo>
                    <a:pt x="1975431" y="4338163"/>
                  </a:lnTo>
                  <a:cubicBezTo>
                    <a:pt x="1975431" y="4331168"/>
                    <a:pt x="1963769" y="4326502"/>
                    <a:pt x="1961437" y="4326502"/>
                  </a:cubicBezTo>
                  <a:cubicBezTo>
                    <a:pt x="1900798" y="4317175"/>
                    <a:pt x="1821501" y="4333500"/>
                    <a:pt x="1758530" y="4326502"/>
                  </a:cubicBezTo>
                  <a:close/>
                  <a:moveTo>
                    <a:pt x="2050063" y="3416918"/>
                  </a:moveTo>
                  <a:cubicBezTo>
                    <a:pt x="2064056" y="3493884"/>
                    <a:pt x="2101374" y="3962669"/>
                    <a:pt x="2131693" y="3988323"/>
                  </a:cubicBezTo>
                  <a:cubicBezTo>
                    <a:pt x="2136358" y="3992989"/>
                    <a:pt x="2164344" y="3999984"/>
                    <a:pt x="2166677" y="3997653"/>
                  </a:cubicBezTo>
                  <a:cubicBezTo>
                    <a:pt x="2155015" y="3874044"/>
                    <a:pt x="2138689" y="3750433"/>
                    <a:pt x="2120031" y="3629156"/>
                  </a:cubicBezTo>
                  <a:cubicBezTo>
                    <a:pt x="2089712" y="3433245"/>
                    <a:pt x="2052395" y="3241998"/>
                    <a:pt x="1991757" y="3055416"/>
                  </a:cubicBezTo>
                  <a:cubicBezTo>
                    <a:pt x="1961437" y="2962126"/>
                    <a:pt x="1970766" y="2843181"/>
                    <a:pt x="1959104" y="2745227"/>
                  </a:cubicBezTo>
                  <a:lnTo>
                    <a:pt x="1947443" y="2754556"/>
                  </a:lnTo>
                  <a:cubicBezTo>
                    <a:pt x="1956773" y="2892158"/>
                    <a:pt x="1917124" y="3034428"/>
                    <a:pt x="1963769" y="3167366"/>
                  </a:cubicBezTo>
                  <a:cubicBezTo>
                    <a:pt x="1996421" y="3258325"/>
                    <a:pt x="2031406" y="3311966"/>
                    <a:pt x="2047730" y="3416918"/>
                  </a:cubicBezTo>
                  <a:close/>
                  <a:moveTo>
                    <a:pt x="2173673" y="4095610"/>
                  </a:moveTo>
                  <a:cubicBezTo>
                    <a:pt x="2141021" y="4095610"/>
                    <a:pt x="2108370" y="4123596"/>
                    <a:pt x="2087379" y="4146918"/>
                  </a:cubicBezTo>
                  <a:cubicBezTo>
                    <a:pt x="2117698" y="4142255"/>
                    <a:pt x="2152682" y="4118932"/>
                    <a:pt x="2173673" y="4095610"/>
                  </a:cubicBezTo>
                  <a:close/>
                  <a:moveTo>
                    <a:pt x="2574824" y="4251871"/>
                  </a:moveTo>
                  <a:cubicBezTo>
                    <a:pt x="2556166" y="4223885"/>
                    <a:pt x="2530510" y="4205225"/>
                    <a:pt x="2500191" y="4198227"/>
                  </a:cubicBezTo>
                  <a:cubicBezTo>
                    <a:pt x="2444216" y="4181902"/>
                    <a:pt x="2374248" y="4179571"/>
                    <a:pt x="2315941" y="4165578"/>
                  </a:cubicBezTo>
                  <a:cubicBezTo>
                    <a:pt x="2269296" y="4153916"/>
                    <a:pt x="2227315" y="4125927"/>
                    <a:pt x="2178338" y="4144587"/>
                  </a:cubicBezTo>
                  <a:cubicBezTo>
                    <a:pt x="2180670" y="4156248"/>
                    <a:pt x="2192331" y="4160911"/>
                    <a:pt x="2201661" y="4165578"/>
                  </a:cubicBezTo>
                  <a:cubicBezTo>
                    <a:pt x="2276294" y="4205225"/>
                    <a:pt x="2371916" y="4212223"/>
                    <a:pt x="2451214" y="4226216"/>
                  </a:cubicBezTo>
                  <a:cubicBezTo>
                    <a:pt x="2495526" y="4233211"/>
                    <a:pt x="2530510" y="4261200"/>
                    <a:pt x="2574824" y="4254202"/>
                  </a:cubicBezTo>
                  <a:close/>
                  <a:moveTo>
                    <a:pt x="646038" y="1844972"/>
                  </a:moveTo>
                  <a:cubicBezTo>
                    <a:pt x="622716" y="1756345"/>
                    <a:pt x="618051" y="1644395"/>
                    <a:pt x="590063" y="1560434"/>
                  </a:cubicBezTo>
                  <a:cubicBezTo>
                    <a:pt x="578402" y="1530116"/>
                    <a:pt x="564409" y="1539443"/>
                    <a:pt x="566741" y="1567432"/>
                  </a:cubicBezTo>
                  <a:cubicBezTo>
                    <a:pt x="571405" y="1618740"/>
                    <a:pt x="597061" y="1723692"/>
                    <a:pt x="608723" y="1777336"/>
                  </a:cubicBezTo>
                  <a:cubicBezTo>
                    <a:pt x="611054" y="1786665"/>
                    <a:pt x="625047" y="1865960"/>
                    <a:pt x="646038" y="1844972"/>
                  </a:cubicBezTo>
                  <a:close/>
                  <a:moveTo>
                    <a:pt x="1907794" y="1632733"/>
                  </a:moveTo>
                  <a:cubicBezTo>
                    <a:pt x="1917124" y="1630402"/>
                    <a:pt x="1926453" y="1632733"/>
                    <a:pt x="1931117" y="1621072"/>
                  </a:cubicBezTo>
                  <a:cubicBezTo>
                    <a:pt x="1924120" y="1616409"/>
                    <a:pt x="1921789" y="1618740"/>
                    <a:pt x="1910127" y="1609411"/>
                  </a:cubicBezTo>
                  <a:cubicBezTo>
                    <a:pt x="1905463" y="1607079"/>
                    <a:pt x="1896133" y="1607079"/>
                    <a:pt x="1893801" y="1602416"/>
                  </a:cubicBezTo>
                  <a:cubicBezTo>
                    <a:pt x="1882140" y="1590754"/>
                    <a:pt x="1889136" y="1551104"/>
                    <a:pt x="1863482" y="1551104"/>
                  </a:cubicBezTo>
                  <a:cubicBezTo>
                    <a:pt x="1863482" y="1611745"/>
                    <a:pt x="1896133" y="1670052"/>
                    <a:pt x="1875143" y="1728359"/>
                  </a:cubicBezTo>
                  <a:cubicBezTo>
                    <a:pt x="1882140" y="1728359"/>
                    <a:pt x="1889136" y="1733022"/>
                    <a:pt x="1891469" y="1723692"/>
                  </a:cubicBezTo>
                  <a:cubicBezTo>
                    <a:pt x="1905463" y="1700370"/>
                    <a:pt x="1893801" y="1632733"/>
                    <a:pt x="1896133" y="1630402"/>
                  </a:cubicBezTo>
                  <a:cubicBezTo>
                    <a:pt x="1896133" y="1630402"/>
                    <a:pt x="1905463" y="1630402"/>
                    <a:pt x="1907794" y="1630402"/>
                  </a:cubicBezTo>
                  <a:close/>
                  <a:moveTo>
                    <a:pt x="1695558" y="403630"/>
                  </a:moveTo>
                  <a:cubicBezTo>
                    <a:pt x="1695558" y="384970"/>
                    <a:pt x="1672236" y="382639"/>
                    <a:pt x="1662906" y="373309"/>
                  </a:cubicBezTo>
                  <a:cubicBezTo>
                    <a:pt x="1655910" y="366314"/>
                    <a:pt x="1637252" y="319669"/>
                    <a:pt x="1623259" y="340660"/>
                  </a:cubicBezTo>
                  <a:cubicBezTo>
                    <a:pt x="1602268" y="370977"/>
                    <a:pt x="1669904" y="408293"/>
                    <a:pt x="1695558" y="403630"/>
                  </a:cubicBezTo>
                  <a:close/>
                  <a:moveTo>
                    <a:pt x="1436677" y="585548"/>
                  </a:moveTo>
                  <a:cubicBezTo>
                    <a:pt x="1429679" y="601872"/>
                    <a:pt x="1466997" y="585548"/>
                    <a:pt x="1473993" y="587879"/>
                  </a:cubicBezTo>
                  <a:cubicBezTo>
                    <a:pt x="1508977" y="590211"/>
                    <a:pt x="1511309" y="629859"/>
                    <a:pt x="1534631" y="646186"/>
                  </a:cubicBezTo>
                  <a:cubicBezTo>
                    <a:pt x="1541629" y="597209"/>
                    <a:pt x="1478658" y="545897"/>
                    <a:pt x="1436677" y="585548"/>
                  </a:cubicBezTo>
                  <a:close/>
                  <a:moveTo>
                    <a:pt x="1492651" y="513245"/>
                  </a:moveTo>
                  <a:cubicBezTo>
                    <a:pt x="1497316" y="503918"/>
                    <a:pt x="1492651" y="492257"/>
                    <a:pt x="1497316" y="482927"/>
                  </a:cubicBezTo>
                  <a:cubicBezTo>
                    <a:pt x="1501981" y="468934"/>
                    <a:pt x="1515974" y="459605"/>
                    <a:pt x="1513642" y="443277"/>
                  </a:cubicBezTo>
                  <a:cubicBezTo>
                    <a:pt x="1490319" y="445612"/>
                    <a:pt x="1460000" y="494589"/>
                    <a:pt x="1473993" y="510913"/>
                  </a:cubicBezTo>
                  <a:cubicBezTo>
                    <a:pt x="1473993" y="510913"/>
                    <a:pt x="1490319" y="517911"/>
                    <a:pt x="1492651" y="510913"/>
                  </a:cubicBezTo>
                  <a:close/>
                  <a:moveTo>
                    <a:pt x="1623259" y="419954"/>
                  </a:moveTo>
                  <a:cubicBezTo>
                    <a:pt x="1599936" y="412959"/>
                    <a:pt x="1588275" y="468934"/>
                    <a:pt x="1597603" y="478261"/>
                  </a:cubicBezTo>
                  <a:cubicBezTo>
                    <a:pt x="1609264" y="487591"/>
                    <a:pt x="1644248" y="433950"/>
                    <a:pt x="1623259" y="419954"/>
                  </a:cubicBezTo>
                  <a:close/>
                  <a:moveTo>
                    <a:pt x="1434344" y="431616"/>
                  </a:moveTo>
                  <a:cubicBezTo>
                    <a:pt x="1450670" y="433950"/>
                    <a:pt x="1473993" y="373309"/>
                    <a:pt x="1446006" y="380307"/>
                  </a:cubicBezTo>
                  <a:cubicBezTo>
                    <a:pt x="1432013" y="382639"/>
                    <a:pt x="1415686" y="426952"/>
                    <a:pt x="1434344" y="431616"/>
                  </a:cubicBezTo>
                  <a:close/>
                  <a:moveTo>
                    <a:pt x="1420351" y="1168615"/>
                  </a:moveTo>
                  <a:lnTo>
                    <a:pt x="1420351" y="1175610"/>
                  </a:lnTo>
                  <a:cubicBezTo>
                    <a:pt x="1420351" y="1173278"/>
                    <a:pt x="1420351" y="1170946"/>
                    <a:pt x="1420351" y="1168615"/>
                  </a:cubicBezTo>
                  <a:close/>
                  <a:moveTo>
                    <a:pt x="1425016" y="1224587"/>
                  </a:moveTo>
                  <a:lnTo>
                    <a:pt x="1420351" y="1175610"/>
                  </a:lnTo>
                  <a:cubicBezTo>
                    <a:pt x="1420351" y="1194269"/>
                    <a:pt x="1401693" y="1226921"/>
                    <a:pt x="1425016" y="1224587"/>
                  </a:cubicBezTo>
                  <a:close/>
                  <a:moveTo>
                    <a:pt x="1564952" y="954044"/>
                  </a:moveTo>
                  <a:cubicBezTo>
                    <a:pt x="1576613" y="902735"/>
                    <a:pt x="1609264" y="865420"/>
                    <a:pt x="1630255" y="818774"/>
                  </a:cubicBezTo>
                  <a:cubicBezTo>
                    <a:pt x="1583610" y="865420"/>
                    <a:pt x="1543961" y="935388"/>
                    <a:pt x="1546293" y="1003021"/>
                  </a:cubicBezTo>
                  <a:cubicBezTo>
                    <a:pt x="1571949" y="1003021"/>
                    <a:pt x="1560287" y="972703"/>
                    <a:pt x="1564952" y="956376"/>
                  </a:cubicBezTo>
                  <a:close/>
                </a:path>
              </a:pathLst>
            </a:custGeom>
            <a:solidFill>
              <a:schemeClr val="tx1"/>
            </a:solidFill>
            <a:ln w="23318" cap="flat">
              <a:noFill/>
              <a:prstDash val="solid"/>
              <a:miter/>
            </a:ln>
          </p:spPr>
          <p:txBody>
            <a:bodyPr rtlCol="0" anchor="ctr"/>
            <a:lstStyle/>
            <a:p>
              <a:endParaRPr lang="en-US"/>
            </a:p>
          </p:txBody>
        </p:sp>
      </p:grpSp>
    </p:spTree>
    <p:extLst>
      <p:ext uri="{BB962C8B-B14F-4D97-AF65-F5344CB8AC3E}">
        <p14:creationId xmlns:p14="http://schemas.microsoft.com/office/powerpoint/2010/main" val="73039714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DD06C8-F25B-1648-BDF9-1589DE28AAFB}"/>
              </a:ext>
            </a:extLst>
          </p:cNvPr>
          <p:cNvSpPr>
            <a:spLocks noGrp="1"/>
          </p:cNvSpPr>
          <p:nvPr>
            <p:ph type="title"/>
          </p:nvPr>
        </p:nvSpPr>
        <p:spPr/>
        <p:txBody>
          <a:bodyPr/>
          <a:lstStyle/>
          <a:p>
            <a:r>
              <a:rPr lang="en-US"/>
              <a:t>Let’s Solve A Crime with Tools</a:t>
            </a:r>
          </a:p>
        </p:txBody>
      </p:sp>
      <p:sp>
        <p:nvSpPr>
          <p:cNvPr id="3" name="Text Placeholder 2">
            <a:extLst>
              <a:ext uri="{FF2B5EF4-FFF2-40B4-BE49-F238E27FC236}">
                <a16:creationId xmlns:a16="http://schemas.microsoft.com/office/drawing/2014/main" id="{B7892420-6183-7398-C1A2-114BFB7270FE}"/>
              </a:ext>
            </a:extLst>
          </p:cNvPr>
          <p:cNvSpPr>
            <a:spLocks noGrp="1"/>
          </p:cNvSpPr>
          <p:nvPr>
            <p:ph type="body" sz="quarter" idx="10"/>
          </p:nvPr>
        </p:nvSpPr>
        <p:spPr/>
        <p:txBody>
          <a:bodyPr/>
          <a:lstStyle/>
          <a:p>
            <a:r>
              <a:rPr lang="en-US"/>
              <a:t>You are a detective walking into a dimly lit room</a:t>
            </a:r>
          </a:p>
          <a:p>
            <a:r>
              <a:rPr lang="en-US"/>
              <a:t>You have a magnifying glass, fingerprint powder, a notebook, and a cigar.</a:t>
            </a:r>
          </a:p>
          <a:p>
            <a:pPr lvl="1"/>
            <a:r>
              <a:rPr lang="en-US"/>
              <a:t>Do you use all the tools at once? </a:t>
            </a:r>
          </a:p>
          <a:p>
            <a:pPr lvl="1"/>
            <a:r>
              <a:rPr lang="en-US"/>
              <a:t>Do you use one at a time? </a:t>
            </a:r>
          </a:p>
          <a:p>
            <a:pPr lvl="1"/>
            <a:r>
              <a:rPr lang="en-US"/>
              <a:t>How do you know how to use the tool?</a:t>
            </a:r>
            <a:br>
              <a:rPr lang="en-US"/>
            </a:br>
            <a:endParaRPr lang="en-US"/>
          </a:p>
          <a:p>
            <a:r>
              <a:rPr lang="en-US"/>
              <a:t>Just like ML models performed better with more descriptive features, LLMs benefit from added context and information regarding tools, action, and framing the problem.</a:t>
            </a:r>
            <a:br>
              <a:rPr lang="en-US"/>
            </a:br>
            <a:endParaRPr lang="en-US"/>
          </a:p>
          <a:p>
            <a:r>
              <a:rPr lang="en-US"/>
              <a:t>Let’s Play: </a:t>
            </a:r>
            <a:r>
              <a:rPr lang="en-US">
                <a:hlinkClick r:id="rId2"/>
              </a:rPr>
              <a:t>Detective Dr. Agent</a:t>
            </a:r>
            <a:endParaRPr lang="en-US"/>
          </a:p>
        </p:txBody>
      </p:sp>
    </p:spTree>
    <p:extLst>
      <p:ext uri="{BB962C8B-B14F-4D97-AF65-F5344CB8AC3E}">
        <p14:creationId xmlns:p14="http://schemas.microsoft.com/office/powerpoint/2010/main" val="271777716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0AD3A8-CD0D-3D56-F512-D7EB5315B6FD}"/>
              </a:ext>
            </a:extLst>
          </p:cNvPr>
          <p:cNvSpPr>
            <a:spLocks noGrp="1"/>
          </p:cNvSpPr>
          <p:nvPr>
            <p:ph type="title"/>
          </p:nvPr>
        </p:nvSpPr>
        <p:spPr/>
        <p:txBody>
          <a:bodyPr/>
          <a:lstStyle/>
          <a:p>
            <a:r>
              <a:rPr lang="en-US"/>
              <a:t>Mo Tools, Mo Problems?</a:t>
            </a:r>
          </a:p>
        </p:txBody>
      </p:sp>
      <p:sp>
        <p:nvSpPr>
          <p:cNvPr id="3" name="Text Placeholder 2">
            <a:extLst>
              <a:ext uri="{FF2B5EF4-FFF2-40B4-BE49-F238E27FC236}">
                <a16:creationId xmlns:a16="http://schemas.microsoft.com/office/drawing/2014/main" id="{FE6E0339-19B2-FD90-9BEB-A009B88D11E8}"/>
              </a:ext>
            </a:extLst>
          </p:cNvPr>
          <p:cNvSpPr>
            <a:spLocks noGrp="1"/>
          </p:cNvSpPr>
          <p:nvPr>
            <p:ph type="body" sz="quarter" idx="10"/>
          </p:nvPr>
        </p:nvSpPr>
        <p:spPr>
          <a:xfrm>
            <a:off x="202814" y="1230131"/>
            <a:ext cx="5820403" cy="4957763"/>
          </a:xfrm>
        </p:spPr>
        <p:txBody>
          <a:bodyPr/>
          <a:lstStyle/>
          <a:p>
            <a:r>
              <a:rPr lang="en-US" sz="2000"/>
              <a:t>AI Agents suffer from an intriguing paradox that we don’t.</a:t>
            </a:r>
          </a:p>
          <a:p>
            <a:pPr lvl="1"/>
            <a:r>
              <a:rPr lang="en-US"/>
              <a:t>More tools requires many more constraints. </a:t>
            </a:r>
          </a:p>
          <a:p>
            <a:pPr lvl="1"/>
            <a:r>
              <a:rPr lang="en-US"/>
              <a:t>Adding a tool requires defining when and </a:t>
            </a:r>
            <a:r>
              <a:rPr lang="en-US" b="1" i="1"/>
              <a:t>when not</a:t>
            </a:r>
            <a:r>
              <a:rPr lang="en-US"/>
              <a:t> to use the tool.</a:t>
            </a:r>
          </a:p>
          <a:p>
            <a:pPr lvl="1"/>
            <a:r>
              <a:rPr lang="en-US"/>
              <a:t>Giving more tools can make the agent far less effective</a:t>
            </a:r>
          </a:p>
          <a:p>
            <a:pPr lvl="1"/>
            <a:r>
              <a:rPr lang="en-US"/>
              <a:t>More complexity, more potential for ambiguity and more things go wrong.</a:t>
            </a:r>
            <a:br>
              <a:rPr lang="en-US"/>
            </a:br>
            <a:endParaRPr lang="en-US"/>
          </a:p>
          <a:p>
            <a:r>
              <a:rPr lang="en-US" sz="2000"/>
              <a:t>Humans can improvise and repurpose tools, agents operate with strict boundaries.</a:t>
            </a:r>
          </a:p>
        </p:txBody>
      </p:sp>
      <p:grpSp>
        <p:nvGrpSpPr>
          <p:cNvPr id="90" name="Group 89">
            <a:extLst>
              <a:ext uri="{FF2B5EF4-FFF2-40B4-BE49-F238E27FC236}">
                <a16:creationId xmlns:a16="http://schemas.microsoft.com/office/drawing/2014/main" id="{51E0B2BF-6F2F-597E-C5E6-FF1BA79233C4}"/>
              </a:ext>
            </a:extLst>
          </p:cNvPr>
          <p:cNvGrpSpPr/>
          <p:nvPr/>
        </p:nvGrpSpPr>
        <p:grpSpPr>
          <a:xfrm rot="10800000">
            <a:off x="6206835" y="1219219"/>
            <a:ext cx="6244519" cy="3907408"/>
            <a:chOff x="1824298" y="2192479"/>
            <a:chExt cx="8515309" cy="4986269"/>
          </a:xfrm>
        </p:grpSpPr>
        <p:sp>
          <p:nvSpPr>
            <p:cNvPr id="4" name="Freeform 2">
              <a:extLst>
                <a:ext uri="{FF2B5EF4-FFF2-40B4-BE49-F238E27FC236}">
                  <a16:creationId xmlns:a16="http://schemas.microsoft.com/office/drawing/2014/main" id="{673B2BF3-A115-E909-C17E-58859EA7AFEA}"/>
                </a:ext>
              </a:extLst>
            </p:cNvPr>
            <p:cNvSpPr/>
            <p:nvPr/>
          </p:nvSpPr>
          <p:spPr>
            <a:xfrm>
              <a:off x="4364496" y="2192479"/>
              <a:ext cx="4333427" cy="4986269"/>
            </a:xfrm>
            <a:custGeom>
              <a:avLst/>
              <a:gdLst>
                <a:gd name="connsiteX0" fmla="*/ 226644 w 329241"/>
                <a:gd name="connsiteY0" fmla="*/ 53913 h 378842"/>
                <a:gd name="connsiteX1" fmla="*/ 328953 w 329241"/>
                <a:gd name="connsiteY1" fmla="*/ 53913 h 378842"/>
                <a:gd name="connsiteX2" fmla="*/ 328953 w 329241"/>
                <a:gd name="connsiteY2" fmla="*/ 0 h 378842"/>
                <a:gd name="connsiteX3" fmla="*/ 226644 w 329241"/>
                <a:gd name="connsiteY3" fmla="*/ 0 h 378842"/>
                <a:gd name="connsiteX4" fmla="*/ 139406 w 329241"/>
                <a:gd name="connsiteY4" fmla="*/ 71305 h 378842"/>
                <a:gd name="connsiteX5" fmla="*/ 102309 w 329241"/>
                <a:gd name="connsiteY5" fmla="*/ 63188 h 378842"/>
                <a:gd name="connsiteX6" fmla="*/ 0 w 329241"/>
                <a:gd name="connsiteY6" fmla="*/ 63188 h 378842"/>
                <a:gd name="connsiteX7" fmla="*/ 0 w 329241"/>
                <a:gd name="connsiteY7" fmla="*/ 117102 h 378842"/>
                <a:gd name="connsiteX8" fmla="*/ 102309 w 329241"/>
                <a:gd name="connsiteY8" fmla="*/ 117102 h 378842"/>
                <a:gd name="connsiteX9" fmla="*/ 137667 w 329241"/>
                <a:gd name="connsiteY9" fmla="*/ 152464 h 378842"/>
                <a:gd name="connsiteX10" fmla="*/ 137667 w 329241"/>
                <a:gd name="connsiteY10" fmla="*/ 196812 h 378842"/>
                <a:gd name="connsiteX11" fmla="*/ 102309 w 329241"/>
                <a:gd name="connsiteY11" fmla="*/ 189566 h 378842"/>
                <a:gd name="connsiteX12" fmla="*/ 0 w 329241"/>
                <a:gd name="connsiteY12" fmla="*/ 189566 h 378842"/>
                <a:gd name="connsiteX13" fmla="*/ 0 w 329241"/>
                <a:gd name="connsiteY13" fmla="*/ 243479 h 378842"/>
                <a:gd name="connsiteX14" fmla="*/ 102309 w 329241"/>
                <a:gd name="connsiteY14" fmla="*/ 243479 h 378842"/>
                <a:gd name="connsiteX15" fmla="*/ 137667 w 329241"/>
                <a:gd name="connsiteY15" fmla="*/ 278842 h 378842"/>
                <a:gd name="connsiteX16" fmla="*/ 137667 w 329241"/>
                <a:gd name="connsiteY16" fmla="*/ 378842 h 378842"/>
                <a:gd name="connsiteX17" fmla="*/ 191575 w 329241"/>
                <a:gd name="connsiteY17" fmla="*/ 378842 h 378842"/>
                <a:gd name="connsiteX18" fmla="*/ 191575 w 329241"/>
                <a:gd name="connsiteY18" fmla="*/ 215653 h 378842"/>
                <a:gd name="connsiteX19" fmla="*/ 226934 w 329241"/>
                <a:gd name="connsiteY19" fmla="*/ 180290 h 378842"/>
                <a:gd name="connsiteX20" fmla="*/ 329242 w 329241"/>
                <a:gd name="connsiteY20" fmla="*/ 180290 h 378842"/>
                <a:gd name="connsiteX21" fmla="*/ 329242 w 329241"/>
                <a:gd name="connsiteY21" fmla="*/ 126377 h 378842"/>
                <a:gd name="connsiteX22" fmla="*/ 226934 w 329241"/>
                <a:gd name="connsiteY22" fmla="*/ 126377 h 378842"/>
                <a:gd name="connsiteX23" fmla="*/ 191575 w 329241"/>
                <a:gd name="connsiteY23" fmla="*/ 133624 h 378842"/>
                <a:gd name="connsiteX24" fmla="*/ 191575 w 329241"/>
                <a:gd name="connsiteY24" fmla="*/ 89565 h 378842"/>
                <a:gd name="connsiteX25" fmla="*/ 226934 w 329241"/>
                <a:gd name="connsiteY25" fmla="*/ 54203 h 378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29241" h="378842">
                  <a:moveTo>
                    <a:pt x="226644" y="53913"/>
                  </a:moveTo>
                  <a:lnTo>
                    <a:pt x="328953" y="53913"/>
                  </a:lnTo>
                  <a:lnTo>
                    <a:pt x="328953" y="0"/>
                  </a:lnTo>
                  <a:lnTo>
                    <a:pt x="226644" y="0"/>
                  </a:lnTo>
                  <a:cubicBezTo>
                    <a:pt x="183749" y="0"/>
                    <a:pt x="147521" y="30725"/>
                    <a:pt x="139406" y="71305"/>
                  </a:cubicBezTo>
                  <a:cubicBezTo>
                    <a:pt x="128103" y="66087"/>
                    <a:pt x="115351" y="63188"/>
                    <a:pt x="102309" y="63188"/>
                  </a:cubicBezTo>
                  <a:lnTo>
                    <a:pt x="0" y="63188"/>
                  </a:lnTo>
                  <a:lnTo>
                    <a:pt x="0" y="117102"/>
                  </a:lnTo>
                  <a:lnTo>
                    <a:pt x="102309" y="117102"/>
                  </a:lnTo>
                  <a:cubicBezTo>
                    <a:pt x="121727" y="117102"/>
                    <a:pt x="137667" y="133044"/>
                    <a:pt x="137667" y="152464"/>
                  </a:cubicBezTo>
                  <a:lnTo>
                    <a:pt x="137667" y="196812"/>
                  </a:lnTo>
                  <a:cubicBezTo>
                    <a:pt x="126944" y="192175"/>
                    <a:pt x="114771" y="189566"/>
                    <a:pt x="102309" y="189566"/>
                  </a:cubicBezTo>
                  <a:lnTo>
                    <a:pt x="0" y="189566"/>
                  </a:lnTo>
                  <a:lnTo>
                    <a:pt x="0" y="243479"/>
                  </a:lnTo>
                  <a:lnTo>
                    <a:pt x="102309" y="243479"/>
                  </a:lnTo>
                  <a:cubicBezTo>
                    <a:pt x="121727" y="243479"/>
                    <a:pt x="137667" y="259421"/>
                    <a:pt x="137667" y="278842"/>
                  </a:cubicBezTo>
                  <a:lnTo>
                    <a:pt x="137667" y="378842"/>
                  </a:lnTo>
                  <a:lnTo>
                    <a:pt x="191575" y="378842"/>
                  </a:lnTo>
                  <a:lnTo>
                    <a:pt x="191575" y="215653"/>
                  </a:lnTo>
                  <a:cubicBezTo>
                    <a:pt x="191575" y="196233"/>
                    <a:pt x="207515" y="180290"/>
                    <a:pt x="226934" y="180290"/>
                  </a:cubicBezTo>
                  <a:lnTo>
                    <a:pt x="329242" y="180290"/>
                  </a:lnTo>
                  <a:lnTo>
                    <a:pt x="329242" y="126377"/>
                  </a:lnTo>
                  <a:lnTo>
                    <a:pt x="226934" y="126377"/>
                  </a:lnTo>
                  <a:cubicBezTo>
                    <a:pt x="214471" y="126377"/>
                    <a:pt x="202299" y="128986"/>
                    <a:pt x="191575" y="133624"/>
                  </a:cubicBezTo>
                  <a:lnTo>
                    <a:pt x="191575" y="89565"/>
                  </a:lnTo>
                  <a:cubicBezTo>
                    <a:pt x="191575" y="70145"/>
                    <a:pt x="207515" y="54203"/>
                    <a:pt x="226934" y="54203"/>
                  </a:cubicBezTo>
                  <a:close/>
                </a:path>
              </a:pathLst>
            </a:custGeom>
            <a:solidFill>
              <a:schemeClr val="bg1">
                <a:lumMod val="65000"/>
              </a:schemeClr>
            </a:solidFill>
            <a:ln w="0" cap="flat">
              <a:noFill/>
              <a:prstDash val="solid"/>
              <a:miter/>
            </a:ln>
          </p:spPr>
          <p:txBody>
            <a:bodyPr rtlCol="0" anchor="ctr"/>
            <a:lstStyle/>
            <a:p>
              <a:endParaRPr lang="en-US"/>
            </a:p>
          </p:txBody>
        </p:sp>
        <p:grpSp>
          <p:nvGrpSpPr>
            <p:cNvPr id="5" name="Graphic 5">
              <a:extLst>
                <a:ext uri="{FF2B5EF4-FFF2-40B4-BE49-F238E27FC236}">
                  <a16:creationId xmlns:a16="http://schemas.microsoft.com/office/drawing/2014/main" id="{BEBEF89A-601B-179D-386E-1419F3DD6963}"/>
                </a:ext>
              </a:extLst>
            </p:cNvPr>
            <p:cNvGrpSpPr/>
            <p:nvPr/>
          </p:nvGrpSpPr>
          <p:grpSpPr>
            <a:xfrm>
              <a:off x="4360679" y="2513635"/>
              <a:ext cx="4333440" cy="4642915"/>
              <a:chOff x="8709360" y="3273347"/>
              <a:chExt cx="329242" cy="352755"/>
            </a:xfrm>
            <a:solidFill>
              <a:schemeClr val="bg1"/>
            </a:solidFill>
          </p:grpSpPr>
          <p:sp>
            <p:nvSpPr>
              <p:cNvPr id="6" name="Freeform 5">
                <a:extLst>
                  <a:ext uri="{FF2B5EF4-FFF2-40B4-BE49-F238E27FC236}">
                    <a16:creationId xmlns:a16="http://schemas.microsoft.com/office/drawing/2014/main" id="{1DB9ECCE-C1D4-2013-52C7-67E523E96D47}"/>
                  </a:ext>
                </a:extLst>
              </p:cNvPr>
              <p:cNvSpPr/>
              <p:nvPr/>
            </p:nvSpPr>
            <p:spPr>
              <a:xfrm>
                <a:off x="8876589" y="3307550"/>
                <a:ext cx="5796" cy="8405"/>
              </a:xfrm>
              <a:custGeom>
                <a:avLst/>
                <a:gdLst>
                  <a:gd name="connsiteX0" fmla="*/ 5507 w 5796"/>
                  <a:gd name="connsiteY0" fmla="*/ 1159 h 8405"/>
                  <a:gd name="connsiteX1" fmla="*/ 3188 w 5796"/>
                  <a:gd name="connsiteY1" fmla="*/ 0 h 8405"/>
                  <a:gd name="connsiteX2" fmla="*/ 0 w 5796"/>
                  <a:gd name="connsiteY2" fmla="*/ 7536 h 8405"/>
                  <a:gd name="connsiteX3" fmla="*/ 2609 w 5796"/>
                  <a:gd name="connsiteY3" fmla="*/ 8406 h 8405"/>
                  <a:gd name="connsiteX4" fmla="*/ 5797 w 5796"/>
                  <a:gd name="connsiteY4" fmla="*/ 1449 h 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96" h="8405">
                    <a:moveTo>
                      <a:pt x="5507" y="1159"/>
                    </a:moveTo>
                    <a:lnTo>
                      <a:pt x="3188" y="0"/>
                    </a:lnTo>
                    <a:cubicBezTo>
                      <a:pt x="2029" y="2319"/>
                      <a:pt x="870" y="4927"/>
                      <a:pt x="0" y="7536"/>
                    </a:cubicBezTo>
                    <a:lnTo>
                      <a:pt x="2609" y="8406"/>
                    </a:lnTo>
                    <a:cubicBezTo>
                      <a:pt x="3478" y="6087"/>
                      <a:pt x="4637" y="3478"/>
                      <a:pt x="5797" y="1449"/>
                    </a:cubicBezTo>
                    <a:close/>
                  </a:path>
                </a:pathLst>
              </a:custGeom>
              <a:grpFill/>
              <a:ln w="0"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30C1E28E-4328-FF10-6CD0-63ABDB86E77C}"/>
                  </a:ext>
                </a:extLst>
              </p:cNvPr>
              <p:cNvSpPr/>
              <p:nvPr/>
            </p:nvSpPr>
            <p:spPr>
              <a:xfrm>
                <a:off x="8971073" y="3273347"/>
                <a:ext cx="7825" cy="2608"/>
              </a:xfrm>
              <a:custGeom>
                <a:avLst/>
                <a:gdLst>
                  <a:gd name="connsiteX0" fmla="*/ 0 w 7825"/>
                  <a:gd name="connsiteY0" fmla="*/ 0 h 2608"/>
                  <a:gd name="connsiteX1" fmla="*/ 7825 w 7825"/>
                  <a:gd name="connsiteY1" fmla="*/ 0 h 2608"/>
                  <a:gd name="connsiteX2" fmla="*/ 7825 w 7825"/>
                  <a:gd name="connsiteY2" fmla="*/ 2609 h 2608"/>
                  <a:gd name="connsiteX3" fmla="*/ 0 w 7825"/>
                  <a:gd name="connsiteY3" fmla="*/ 2609 h 2608"/>
                </a:gdLst>
                <a:ahLst/>
                <a:cxnLst>
                  <a:cxn ang="0">
                    <a:pos x="connsiteX0" y="connsiteY0"/>
                  </a:cxn>
                  <a:cxn ang="0">
                    <a:pos x="connsiteX1" y="connsiteY1"/>
                  </a:cxn>
                  <a:cxn ang="0">
                    <a:pos x="connsiteX2" y="connsiteY2"/>
                  </a:cxn>
                  <a:cxn ang="0">
                    <a:pos x="connsiteX3" y="connsiteY3"/>
                  </a:cxn>
                </a:cxnLst>
                <a:rect l="l" t="t" r="r" b="b"/>
                <a:pathLst>
                  <a:path w="7825" h="2608">
                    <a:moveTo>
                      <a:pt x="0" y="0"/>
                    </a:moveTo>
                    <a:lnTo>
                      <a:pt x="7825" y="0"/>
                    </a:lnTo>
                    <a:lnTo>
                      <a:pt x="7825" y="2609"/>
                    </a:lnTo>
                    <a:lnTo>
                      <a:pt x="0" y="2609"/>
                    </a:lnTo>
                    <a:close/>
                  </a:path>
                </a:pathLst>
              </a:custGeom>
              <a:grpFill/>
              <a:ln w="0"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4A82DC19-9D4D-DF4F-2B2B-113E294E492B}"/>
                  </a:ext>
                </a:extLst>
              </p:cNvPr>
              <p:cNvSpPr/>
              <p:nvPr/>
            </p:nvSpPr>
            <p:spPr>
              <a:xfrm>
                <a:off x="8955422" y="3273347"/>
                <a:ext cx="7825" cy="2608"/>
              </a:xfrm>
              <a:custGeom>
                <a:avLst/>
                <a:gdLst>
                  <a:gd name="connsiteX0" fmla="*/ 0 w 7825"/>
                  <a:gd name="connsiteY0" fmla="*/ 0 h 2608"/>
                  <a:gd name="connsiteX1" fmla="*/ 7825 w 7825"/>
                  <a:gd name="connsiteY1" fmla="*/ 0 h 2608"/>
                  <a:gd name="connsiteX2" fmla="*/ 7825 w 7825"/>
                  <a:gd name="connsiteY2" fmla="*/ 2609 h 2608"/>
                  <a:gd name="connsiteX3" fmla="*/ 0 w 7825"/>
                  <a:gd name="connsiteY3" fmla="*/ 2609 h 2608"/>
                </a:gdLst>
                <a:ahLst/>
                <a:cxnLst>
                  <a:cxn ang="0">
                    <a:pos x="connsiteX0" y="connsiteY0"/>
                  </a:cxn>
                  <a:cxn ang="0">
                    <a:pos x="connsiteX1" y="connsiteY1"/>
                  </a:cxn>
                  <a:cxn ang="0">
                    <a:pos x="connsiteX2" y="connsiteY2"/>
                  </a:cxn>
                  <a:cxn ang="0">
                    <a:pos x="connsiteX3" y="connsiteY3"/>
                  </a:cxn>
                </a:cxnLst>
                <a:rect l="l" t="t" r="r" b="b"/>
                <a:pathLst>
                  <a:path w="7825" h="2608">
                    <a:moveTo>
                      <a:pt x="0" y="0"/>
                    </a:moveTo>
                    <a:lnTo>
                      <a:pt x="7825" y="0"/>
                    </a:lnTo>
                    <a:lnTo>
                      <a:pt x="7825" y="2609"/>
                    </a:lnTo>
                    <a:lnTo>
                      <a:pt x="0" y="2609"/>
                    </a:lnTo>
                    <a:close/>
                  </a:path>
                </a:pathLst>
              </a:custGeom>
              <a:grpFill/>
              <a:ln w="0"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8F471B10-1A78-CD78-B7D5-D895E7E256F9}"/>
                  </a:ext>
                </a:extLst>
              </p:cNvPr>
              <p:cNvSpPr/>
              <p:nvPr/>
            </p:nvSpPr>
            <p:spPr>
              <a:xfrm>
                <a:off x="8883835" y="3294217"/>
                <a:ext cx="6956" cy="7825"/>
              </a:xfrm>
              <a:custGeom>
                <a:avLst/>
                <a:gdLst>
                  <a:gd name="connsiteX0" fmla="*/ 6956 w 6956"/>
                  <a:gd name="connsiteY0" fmla="*/ 1739 h 7825"/>
                  <a:gd name="connsiteX1" fmla="*/ 4928 w 6956"/>
                  <a:gd name="connsiteY1" fmla="*/ 0 h 7825"/>
                  <a:gd name="connsiteX2" fmla="*/ 0 w 6956"/>
                  <a:gd name="connsiteY2" fmla="*/ 6377 h 7825"/>
                  <a:gd name="connsiteX3" fmla="*/ 2029 w 6956"/>
                  <a:gd name="connsiteY3" fmla="*/ 7826 h 7825"/>
                  <a:gd name="connsiteX4" fmla="*/ 6956 w 6956"/>
                  <a:gd name="connsiteY4" fmla="*/ 1739 h 7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6" h="7825">
                    <a:moveTo>
                      <a:pt x="6956" y="1739"/>
                    </a:moveTo>
                    <a:lnTo>
                      <a:pt x="4928" y="0"/>
                    </a:lnTo>
                    <a:cubicBezTo>
                      <a:pt x="3188" y="2029"/>
                      <a:pt x="1449" y="4058"/>
                      <a:pt x="0" y="6377"/>
                    </a:cubicBezTo>
                    <a:lnTo>
                      <a:pt x="2029" y="7826"/>
                    </a:lnTo>
                    <a:cubicBezTo>
                      <a:pt x="3478" y="5797"/>
                      <a:pt x="5217" y="3768"/>
                      <a:pt x="6956" y="1739"/>
                    </a:cubicBezTo>
                    <a:close/>
                  </a:path>
                </a:pathLst>
              </a:custGeom>
              <a:grpFill/>
              <a:ln w="0"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24E7BDF8-CCBD-B673-E854-12CECD378BFA}"/>
                  </a:ext>
                </a:extLst>
              </p:cNvPr>
              <p:cNvSpPr/>
              <p:nvPr/>
            </p:nvSpPr>
            <p:spPr>
              <a:xfrm>
                <a:off x="8923542" y="3273347"/>
                <a:ext cx="8114" cy="3768"/>
              </a:xfrm>
              <a:custGeom>
                <a:avLst/>
                <a:gdLst>
                  <a:gd name="connsiteX0" fmla="*/ 8115 w 8114"/>
                  <a:gd name="connsiteY0" fmla="*/ 2609 h 3768"/>
                  <a:gd name="connsiteX1" fmla="*/ 8115 w 8114"/>
                  <a:gd name="connsiteY1" fmla="*/ 0 h 3768"/>
                  <a:gd name="connsiteX2" fmla="*/ 0 w 8114"/>
                  <a:gd name="connsiteY2" fmla="*/ 1159 h 3768"/>
                  <a:gd name="connsiteX3" fmla="*/ 580 w 8114"/>
                  <a:gd name="connsiteY3" fmla="*/ 3768 h 3768"/>
                  <a:gd name="connsiteX4" fmla="*/ 8115 w 8114"/>
                  <a:gd name="connsiteY4" fmla="*/ 2609 h 3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14" h="3768">
                    <a:moveTo>
                      <a:pt x="8115" y="2609"/>
                    </a:moveTo>
                    <a:lnTo>
                      <a:pt x="8115" y="0"/>
                    </a:lnTo>
                    <a:cubicBezTo>
                      <a:pt x="5216" y="0"/>
                      <a:pt x="2608" y="580"/>
                      <a:pt x="0" y="1159"/>
                    </a:cubicBezTo>
                    <a:lnTo>
                      <a:pt x="580" y="3768"/>
                    </a:lnTo>
                    <a:cubicBezTo>
                      <a:pt x="3188" y="3189"/>
                      <a:pt x="5797" y="2899"/>
                      <a:pt x="8115" y="2609"/>
                    </a:cubicBezTo>
                    <a:close/>
                  </a:path>
                </a:pathLst>
              </a:custGeom>
              <a:grpFill/>
              <a:ln w="0"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DF37EB72-58E9-5D39-C396-3557F3E4867F}"/>
                  </a:ext>
                </a:extLst>
              </p:cNvPr>
              <p:cNvSpPr/>
              <p:nvPr/>
            </p:nvSpPr>
            <p:spPr>
              <a:xfrm>
                <a:off x="8894848" y="3283782"/>
                <a:ext cx="7825" cy="6956"/>
              </a:xfrm>
              <a:custGeom>
                <a:avLst/>
                <a:gdLst>
                  <a:gd name="connsiteX0" fmla="*/ 7825 w 7825"/>
                  <a:gd name="connsiteY0" fmla="*/ 2319 h 6956"/>
                  <a:gd name="connsiteX1" fmla="*/ 6376 w 7825"/>
                  <a:gd name="connsiteY1" fmla="*/ 0 h 6956"/>
                  <a:gd name="connsiteX2" fmla="*/ 0 w 7825"/>
                  <a:gd name="connsiteY2" fmla="*/ 4927 h 6956"/>
                  <a:gd name="connsiteX3" fmla="*/ 1739 w 7825"/>
                  <a:gd name="connsiteY3" fmla="*/ 6956 h 6956"/>
                  <a:gd name="connsiteX4" fmla="*/ 7825 w 7825"/>
                  <a:gd name="connsiteY4" fmla="*/ 2319 h 6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25" h="6956">
                    <a:moveTo>
                      <a:pt x="7825" y="2319"/>
                    </a:moveTo>
                    <a:lnTo>
                      <a:pt x="6376" y="0"/>
                    </a:lnTo>
                    <a:cubicBezTo>
                      <a:pt x="4058" y="1449"/>
                      <a:pt x="2029" y="3188"/>
                      <a:pt x="0" y="4927"/>
                    </a:cubicBezTo>
                    <a:lnTo>
                      <a:pt x="1739" y="6956"/>
                    </a:lnTo>
                    <a:cubicBezTo>
                      <a:pt x="3768" y="5217"/>
                      <a:pt x="5797" y="3768"/>
                      <a:pt x="7825" y="2319"/>
                    </a:cubicBezTo>
                    <a:close/>
                  </a:path>
                </a:pathLst>
              </a:custGeom>
              <a:grpFill/>
              <a:ln w="0"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849D57E1-5741-48CD-2A32-E376798B5588}"/>
                  </a:ext>
                </a:extLst>
              </p:cNvPr>
              <p:cNvSpPr/>
              <p:nvPr/>
            </p:nvSpPr>
            <p:spPr>
              <a:xfrm>
                <a:off x="8939482" y="3273347"/>
                <a:ext cx="7825" cy="2608"/>
              </a:xfrm>
              <a:custGeom>
                <a:avLst/>
                <a:gdLst>
                  <a:gd name="connsiteX0" fmla="*/ 0 w 7825"/>
                  <a:gd name="connsiteY0" fmla="*/ 0 h 2608"/>
                  <a:gd name="connsiteX1" fmla="*/ 7825 w 7825"/>
                  <a:gd name="connsiteY1" fmla="*/ 0 h 2608"/>
                  <a:gd name="connsiteX2" fmla="*/ 7825 w 7825"/>
                  <a:gd name="connsiteY2" fmla="*/ 2609 h 2608"/>
                  <a:gd name="connsiteX3" fmla="*/ 0 w 7825"/>
                  <a:gd name="connsiteY3" fmla="*/ 2609 h 2608"/>
                </a:gdLst>
                <a:ahLst/>
                <a:cxnLst>
                  <a:cxn ang="0">
                    <a:pos x="connsiteX0" y="connsiteY0"/>
                  </a:cxn>
                  <a:cxn ang="0">
                    <a:pos x="connsiteX1" y="connsiteY1"/>
                  </a:cxn>
                  <a:cxn ang="0">
                    <a:pos x="connsiteX2" y="connsiteY2"/>
                  </a:cxn>
                  <a:cxn ang="0">
                    <a:pos x="connsiteX3" y="connsiteY3"/>
                  </a:cxn>
                </a:cxnLst>
                <a:rect l="l" t="t" r="r" b="b"/>
                <a:pathLst>
                  <a:path w="7825" h="2608">
                    <a:moveTo>
                      <a:pt x="0" y="0"/>
                    </a:moveTo>
                    <a:lnTo>
                      <a:pt x="7825" y="0"/>
                    </a:lnTo>
                    <a:lnTo>
                      <a:pt x="7825" y="2609"/>
                    </a:lnTo>
                    <a:lnTo>
                      <a:pt x="0" y="2609"/>
                    </a:lnTo>
                    <a:close/>
                  </a:path>
                </a:pathLst>
              </a:custGeom>
              <a:grpFill/>
              <a:ln w="0"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BF5BE39A-3708-C3F1-7A25-60066B2BAEAC}"/>
                  </a:ext>
                </a:extLst>
              </p:cNvPr>
              <p:cNvSpPr/>
              <p:nvPr/>
            </p:nvSpPr>
            <p:spPr>
              <a:xfrm>
                <a:off x="8908181" y="3276536"/>
                <a:ext cx="8404" cy="5506"/>
              </a:xfrm>
              <a:custGeom>
                <a:avLst/>
                <a:gdLst>
                  <a:gd name="connsiteX0" fmla="*/ 8405 w 8404"/>
                  <a:gd name="connsiteY0" fmla="*/ 2608 h 5506"/>
                  <a:gd name="connsiteX1" fmla="*/ 7535 w 8404"/>
                  <a:gd name="connsiteY1" fmla="*/ 0 h 5506"/>
                  <a:gd name="connsiteX2" fmla="*/ 0 w 8404"/>
                  <a:gd name="connsiteY2" fmla="*/ 3188 h 5506"/>
                  <a:gd name="connsiteX3" fmla="*/ 1159 w 8404"/>
                  <a:gd name="connsiteY3" fmla="*/ 5507 h 5506"/>
                  <a:gd name="connsiteX4" fmla="*/ 8405 w 8404"/>
                  <a:gd name="connsiteY4" fmla="*/ 2608 h 5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04" h="5506">
                    <a:moveTo>
                      <a:pt x="8405" y="2608"/>
                    </a:moveTo>
                    <a:lnTo>
                      <a:pt x="7535" y="0"/>
                    </a:lnTo>
                    <a:cubicBezTo>
                      <a:pt x="4927" y="869"/>
                      <a:pt x="2608" y="2029"/>
                      <a:pt x="0" y="3188"/>
                    </a:cubicBezTo>
                    <a:lnTo>
                      <a:pt x="1159" y="5507"/>
                    </a:lnTo>
                    <a:cubicBezTo>
                      <a:pt x="3478" y="4348"/>
                      <a:pt x="5797" y="3478"/>
                      <a:pt x="8405" y="2608"/>
                    </a:cubicBezTo>
                    <a:close/>
                  </a:path>
                </a:pathLst>
              </a:custGeom>
              <a:grpFill/>
              <a:ln w="0"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AE91604E-4D28-A990-0E5E-865B75BBE067}"/>
                  </a:ext>
                </a:extLst>
              </p:cNvPr>
              <p:cNvSpPr/>
              <p:nvPr/>
            </p:nvSpPr>
            <p:spPr>
              <a:xfrm>
                <a:off x="8872532" y="3354507"/>
                <a:ext cx="2608" cy="7826"/>
              </a:xfrm>
              <a:custGeom>
                <a:avLst/>
                <a:gdLst>
                  <a:gd name="connsiteX0" fmla="*/ 0 w 2608"/>
                  <a:gd name="connsiteY0" fmla="*/ 0 h 7826"/>
                  <a:gd name="connsiteX1" fmla="*/ 2608 w 2608"/>
                  <a:gd name="connsiteY1" fmla="*/ 0 h 7826"/>
                  <a:gd name="connsiteX2" fmla="*/ 2608 w 2608"/>
                  <a:gd name="connsiteY2" fmla="*/ 7826 h 7826"/>
                  <a:gd name="connsiteX3" fmla="*/ 0 w 2608"/>
                  <a:gd name="connsiteY3" fmla="*/ 7826 h 7826"/>
                </a:gdLst>
                <a:ahLst/>
                <a:cxnLst>
                  <a:cxn ang="0">
                    <a:pos x="connsiteX0" y="connsiteY0"/>
                  </a:cxn>
                  <a:cxn ang="0">
                    <a:pos x="connsiteX1" y="connsiteY1"/>
                  </a:cxn>
                  <a:cxn ang="0">
                    <a:pos x="connsiteX2" y="connsiteY2"/>
                  </a:cxn>
                  <a:cxn ang="0">
                    <a:pos x="connsiteX3" y="connsiteY3"/>
                  </a:cxn>
                </a:cxnLst>
                <a:rect l="l" t="t" r="r" b="b"/>
                <a:pathLst>
                  <a:path w="2608" h="7826">
                    <a:moveTo>
                      <a:pt x="0" y="0"/>
                    </a:moveTo>
                    <a:lnTo>
                      <a:pt x="2608" y="0"/>
                    </a:lnTo>
                    <a:lnTo>
                      <a:pt x="2608" y="7826"/>
                    </a:lnTo>
                    <a:lnTo>
                      <a:pt x="0" y="7826"/>
                    </a:lnTo>
                    <a:close/>
                  </a:path>
                </a:pathLst>
              </a:custGeom>
              <a:grpFill/>
              <a:ln w="0"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ED658E31-1407-5D7B-E1CE-0792DF6A3978}"/>
                  </a:ext>
                </a:extLst>
              </p:cNvPr>
              <p:cNvSpPr/>
              <p:nvPr/>
            </p:nvSpPr>
            <p:spPr>
              <a:xfrm>
                <a:off x="9018604" y="3273347"/>
                <a:ext cx="7825" cy="2608"/>
              </a:xfrm>
              <a:custGeom>
                <a:avLst/>
                <a:gdLst>
                  <a:gd name="connsiteX0" fmla="*/ 0 w 7825"/>
                  <a:gd name="connsiteY0" fmla="*/ 0 h 2608"/>
                  <a:gd name="connsiteX1" fmla="*/ 7825 w 7825"/>
                  <a:gd name="connsiteY1" fmla="*/ 0 h 2608"/>
                  <a:gd name="connsiteX2" fmla="*/ 7825 w 7825"/>
                  <a:gd name="connsiteY2" fmla="*/ 2609 h 2608"/>
                  <a:gd name="connsiteX3" fmla="*/ 0 w 7825"/>
                  <a:gd name="connsiteY3" fmla="*/ 2609 h 2608"/>
                </a:gdLst>
                <a:ahLst/>
                <a:cxnLst>
                  <a:cxn ang="0">
                    <a:pos x="connsiteX0" y="connsiteY0"/>
                  </a:cxn>
                  <a:cxn ang="0">
                    <a:pos x="connsiteX1" y="connsiteY1"/>
                  </a:cxn>
                  <a:cxn ang="0">
                    <a:pos x="connsiteX2" y="connsiteY2"/>
                  </a:cxn>
                  <a:cxn ang="0">
                    <a:pos x="connsiteX3" y="connsiteY3"/>
                  </a:cxn>
                </a:cxnLst>
                <a:rect l="l" t="t" r="r" b="b"/>
                <a:pathLst>
                  <a:path w="7825" h="2608">
                    <a:moveTo>
                      <a:pt x="0" y="0"/>
                    </a:moveTo>
                    <a:lnTo>
                      <a:pt x="7825" y="0"/>
                    </a:lnTo>
                    <a:lnTo>
                      <a:pt x="7825" y="2609"/>
                    </a:lnTo>
                    <a:lnTo>
                      <a:pt x="0" y="2609"/>
                    </a:lnTo>
                    <a:close/>
                  </a:path>
                </a:pathLst>
              </a:custGeom>
              <a:grpFill/>
              <a:ln w="0"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81216945-267F-28A0-9A0F-93402842DC18}"/>
                  </a:ext>
                </a:extLst>
              </p:cNvPr>
              <p:cNvSpPr/>
              <p:nvPr/>
            </p:nvSpPr>
            <p:spPr>
              <a:xfrm>
                <a:off x="8987013" y="3273347"/>
                <a:ext cx="7825" cy="2608"/>
              </a:xfrm>
              <a:custGeom>
                <a:avLst/>
                <a:gdLst>
                  <a:gd name="connsiteX0" fmla="*/ 0 w 7825"/>
                  <a:gd name="connsiteY0" fmla="*/ 0 h 2608"/>
                  <a:gd name="connsiteX1" fmla="*/ 7825 w 7825"/>
                  <a:gd name="connsiteY1" fmla="*/ 0 h 2608"/>
                  <a:gd name="connsiteX2" fmla="*/ 7825 w 7825"/>
                  <a:gd name="connsiteY2" fmla="*/ 2609 h 2608"/>
                  <a:gd name="connsiteX3" fmla="*/ 0 w 7825"/>
                  <a:gd name="connsiteY3" fmla="*/ 2609 h 2608"/>
                </a:gdLst>
                <a:ahLst/>
                <a:cxnLst>
                  <a:cxn ang="0">
                    <a:pos x="connsiteX0" y="connsiteY0"/>
                  </a:cxn>
                  <a:cxn ang="0">
                    <a:pos x="connsiteX1" y="connsiteY1"/>
                  </a:cxn>
                  <a:cxn ang="0">
                    <a:pos x="connsiteX2" y="connsiteY2"/>
                  </a:cxn>
                  <a:cxn ang="0">
                    <a:pos x="connsiteX3" y="connsiteY3"/>
                  </a:cxn>
                </a:cxnLst>
                <a:rect l="l" t="t" r="r" b="b"/>
                <a:pathLst>
                  <a:path w="7825" h="2608">
                    <a:moveTo>
                      <a:pt x="0" y="0"/>
                    </a:moveTo>
                    <a:lnTo>
                      <a:pt x="7825" y="0"/>
                    </a:lnTo>
                    <a:lnTo>
                      <a:pt x="7825" y="2609"/>
                    </a:lnTo>
                    <a:lnTo>
                      <a:pt x="0" y="2609"/>
                    </a:lnTo>
                    <a:close/>
                  </a:path>
                </a:pathLst>
              </a:custGeom>
              <a:grpFill/>
              <a:ln w="0"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01B7D7D2-AEAE-3E13-AC2F-186967F1B5DE}"/>
                  </a:ext>
                </a:extLst>
              </p:cNvPr>
              <p:cNvSpPr/>
              <p:nvPr/>
            </p:nvSpPr>
            <p:spPr>
              <a:xfrm>
                <a:off x="8872532" y="3370449"/>
                <a:ext cx="2608" cy="7826"/>
              </a:xfrm>
              <a:custGeom>
                <a:avLst/>
                <a:gdLst>
                  <a:gd name="connsiteX0" fmla="*/ 0 w 2608"/>
                  <a:gd name="connsiteY0" fmla="*/ 0 h 7826"/>
                  <a:gd name="connsiteX1" fmla="*/ 2608 w 2608"/>
                  <a:gd name="connsiteY1" fmla="*/ 0 h 7826"/>
                  <a:gd name="connsiteX2" fmla="*/ 2608 w 2608"/>
                  <a:gd name="connsiteY2" fmla="*/ 7826 h 7826"/>
                  <a:gd name="connsiteX3" fmla="*/ 0 w 2608"/>
                  <a:gd name="connsiteY3" fmla="*/ 7826 h 7826"/>
                </a:gdLst>
                <a:ahLst/>
                <a:cxnLst>
                  <a:cxn ang="0">
                    <a:pos x="connsiteX0" y="connsiteY0"/>
                  </a:cxn>
                  <a:cxn ang="0">
                    <a:pos x="connsiteX1" y="connsiteY1"/>
                  </a:cxn>
                  <a:cxn ang="0">
                    <a:pos x="connsiteX2" y="connsiteY2"/>
                  </a:cxn>
                  <a:cxn ang="0">
                    <a:pos x="connsiteX3" y="connsiteY3"/>
                  </a:cxn>
                </a:cxnLst>
                <a:rect l="l" t="t" r="r" b="b"/>
                <a:pathLst>
                  <a:path w="2608" h="7826">
                    <a:moveTo>
                      <a:pt x="0" y="0"/>
                    </a:moveTo>
                    <a:lnTo>
                      <a:pt x="2608" y="0"/>
                    </a:lnTo>
                    <a:lnTo>
                      <a:pt x="2608" y="7826"/>
                    </a:lnTo>
                    <a:lnTo>
                      <a:pt x="0" y="7826"/>
                    </a:lnTo>
                    <a:close/>
                  </a:path>
                </a:pathLst>
              </a:custGeom>
              <a:grpFill/>
              <a:ln w="0"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19A67CAB-A888-1534-72BD-040901E3EC12}"/>
                  </a:ext>
                </a:extLst>
              </p:cNvPr>
              <p:cNvSpPr/>
              <p:nvPr/>
            </p:nvSpPr>
            <p:spPr>
              <a:xfrm>
                <a:off x="8872822" y="3322622"/>
                <a:ext cx="3767" cy="8116"/>
              </a:xfrm>
              <a:custGeom>
                <a:avLst/>
                <a:gdLst>
                  <a:gd name="connsiteX0" fmla="*/ 3767 w 3767"/>
                  <a:gd name="connsiteY0" fmla="*/ 580 h 8116"/>
                  <a:gd name="connsiteX1" fmla="*/ 1159 w 3767"/>
                  <a:gd name="connsiteY1" fmla="*/ 0 h 8116"/>
                  <a:gd name="connsiteX2" fmla="*/ 0 w 3767"/>
                  <a:gd name="connsiteY2" fmla="*/ 8116 h 8116"/>
                  <a:gd name="connsiteX3" fmla="*/ 2608 w 3767"/>
                  <a:gd name="connsiteY3" fmla="*/ 8116 h 8116"/>
                  <a:gd name="connsiteX4" fmla="*/ 3767 w 3767"/>
                  <a:gd name="connsiteY4" fmla="*/ 580 h 81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7" h="8116">
                    <a:moveTo>
                      <a:pt x="3767" y="580"/>
                    </a:moveTo>
                    <a:lnTo>
                      <a:pt x="1159" y="0"/>
                    </a:lnTo>
                    <a:cubicBezTo>
                      <a:pt x="580" y="2609"/>
                      <a:pt x="0" y="5218"/>
                      <a:pt x="0" y="8116"/>
                    </a:cubicBezTo>
                    <a:lnTo>
                      <a:pt x="2608" y="8116"/>
                    </a:lnTo>
                    <a:cubicBezTo>
                      <a:pt x="2608" y="5797"/>
                      <a:pt x="3188" y="3189"/>
                      <a:pt x="3767" y="580"/>
                    </a:cubicBezTo>
                    <a:close/>
                  </a:path>
                </a:pathLst>
              </a:custGeom>
              <a:grpFill/>
              <a:ln w="0"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83B213FD-7B24-0653-BED9-A07EBB95A389}"/>
                  </a:ext>
                </a:extLst>
              </p:cNvPr>
              <p:cNvSpPr/>
              <p:nvPr/>
            </p:nvSpPr>
            <p:spPr>
              <a:xfrm>
                <a:off x="9002954" y="3273347"/>
                <a:ext cx="7825" cy="2608"/>
              </a:xfrm>
              <a:custGeom>
                <a:avLst/>
                <a:gdLst>
                  <a:gd name="connsiteX0" fmla="*/ 0 w 7825"/>
                  <a:gd name="connsiteY0" fmla="*/ 0 h 2608"/>
                  <a:gd name="connsiteX1" fmla="*/ 7825 w 7825"/>
                  <a:gd name="connsiteY1" fmla="*/ 0 h 2608"/>
                  <a:gd name="connsiteX2" fmla="*/ 7825 w 7825"/>
                  <a:gd name="connsiteY2" fmla="*/ 2609 h 2608"/>
                  <a:gd name="connsiteX3" fmla="*/ 0 w 7825"/>
                  <a:gd name="connsiteY3" fmla="*/ 2609 h 2608"/>
                </a:gdLst>
                <a:ahLst/>
                <a:cxnLst>
                  <a:cxn ang="0">
                    <a:pos x="connsiteX0" y="connsiteY0"/>
                  </a:cxn>
                  <a:cxn ang="0">
                    <a:pos x="connsiteX1" y="connsiteY1"/>
                  </a:cxn>
                  <a:cxn ang="0">
                    <a:pos x="connsiteX2" y="connsiteY2"/>
                  </a:cxn>
                  <a:cxn ang="0">
                    <a:pos x="connsiteX3" y="connsiteY3"/>
                  </a:cxn>
                </a:cxnLst>
                <a:rect l="l" t="t" r="r" b="b"/>
                <a:pathLst>
                  <a:path w="7825" h="2608">
                    <a:moveTo>
                      <a:pt x="0" y="0"/>
                    </a:moveTo>
                    <a:lnTo>
                      <a:pt x="7825" y="0"/>
                    </a:lnTo>
                    <a:lnTo>
                      <a:pt x="7825" y="2609"/>
                    </a:lnTo>
                    <a:lnTo>
                      <a:pt x="0" y="2609"/>
                    </a:lnTo>
                    <a:close/>
                  </a:path>
                </a:pathLst>
              </a:custGeom>
              <a:grpFill/>
              <a:ln w="0"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BBC9F25B-1A0D-26E9-7384-EBC2CA51C40C}"/>
                  </a:ext>
                </a:extLst>
              </p:cNvPr>
              <p:cNvSpPr/>
              <p:nvPr/>
            </p:nvSpPr>
            <p:spPr>
              <a:xfrm>
                <a:off x="8872532" y="3338854"/>
                <a:ext cx="2608" cy="7826"/>
              </a:xfrm>
              <a:custGeom>
                <a:avLst/>
                <a:gdLst>
                  <a:gd name="connsiteX0" fmla="*/ 0 w 2608"/>
                  <a:gd name="connsiteY0" fmla="*/ 0 h 7826"/>
                  <a:gd name="connsiteX1" fmla="*/ 2608 w 2608"/>
                  <a:gd name="connsiteY1" fmla="*/ 0 h 7826"/>
                  <a:gd name="connsiteX2" fmla="*/ 2608 w 2608"/>
                  <a:gd name="connsiteY2" fmla="*/ 7826 h 7826"/>
                  <a:gd name="connsiteX3" fmla="*/ 0 w 2608"/>
                  <a:gd name="connsiteY3" fmla="*/ 7826 h 7826"/>
                </a:gdLst>
                <a:ahLst/>
                <a:cxnLst>
                  <a:cxn ang="0">
                    <a:pos x="connsiteX0" y="connsiteY0"/>
                  </a:cxn>
                  <a:cxn ang="0">
                    <a:pos x="connsiteX1" y="connsiteY1"/>
                  </a:cxn>
                  <a:cxn ang="0">
                    <a:pos x="connsiteX2" y="connsiteY2"/>
                  </a:cxn>
                  <a:cxn ang="0">
                    <a:pos x="connsiteX3" y="connsiteY3"/>
                  </a:cxn>
                </a:cxnLst>
                <a:rect l="l" t="t" r="r" b="b"/>
                <a:pathLst>
                  <a:path w="2608" h="7826">
                    <a:moveTo>
                      <a:pt x="0" y="0"/>
                    </a:moveTo>
                    <a:lnTo>
                      <a:pt x="2608" y="0"/>
                    </a:lnTo>
                    <a:lnTo>
                      <a:pt x="2608" y="7826"/>
                    </a:lnTo>
                    <a:lnTo>
                      <a:pt x="0" y="7826"/>
                    </a:lnTo>
                    <a:close/>
                  </a:path>
                </a:pathLst>
              </a:custGeom>
              <a:grpFill/>
              <a:ln w="0"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763D66E7-9262-A64C-EE18-B0717BD1EE1F}"/>
                  </a:ext>
                </a:extLst>
              </p:cNvPr>
              <p:cNvSpPr/>
              <p:nvPr/>
            </p:nvSpPr>
            <p:spPr>
              <a:xfrm>
                <a:off x="9034545" y="3273347"/>
                <a:ext cx="4057" cy="2608"/>
              </a:xfrm>
              <a:custGeom>
                <a:avLst/>
                <a:gdLst>
                  <a:gd name="connsiteX0" fmla="*/ 0 w 4057"/>
                  <a:gd name="connsiteY0" fmla="*/ 0 h 2608"/>
                  <a:gd name="connsiteX1" fmla="*/ 4057 w 4057"/>
                  <a:gd name="connsiteY1" fmla="*/ 0 h 2608"/>
                  <a:gd name="connsiteX2" fmla="*/ 4057 w 4057"/>
                  <a:gd name="connsiteY2" fmla="*/ 2609 h 2608"/>
                  <a:gd name="connsiteX3" fmla="*/ 0 w 4057"/>
                  <a:gd name="connsiteY3" fmla="*/ 2609 h 2608"/>
                </a:gdLst>
                <a:ahLst/>
                <a:cxnLst>
                  <a:cxn ang="0">
                    <a:pos x="connsiteX0" y="connsiteY0"/>
                  </a:cxn>
                  <a:cxn ang="0">
                    <a:pos x="connsiteX1" y="connsiteY1"/>
                  </a:cxn>
                  <a:cxn ang="0">
                    <a:pos x="connsiteX2" y="connsiteY2"/>
                  </a:cxn>
                  <a:cxn ang="0">
                    <a:pos x="connsiteX3" y="connsiteY3"/>
                  </a:cxn>
                </a:cxnLst>
                <a:rect l="l" t="t" r="r" b="b"/>
                <a:pathLst>
                  <a:path w="4057" h="2608">
                    <a:moveTo>
                      <a:pt x="0" y="0"/>
                    </a:moveTo>
                    <a:lnTo>
                      <a:pt x="4057" y="0"/>
                    </a:lnTo>
                    <a:lnTo>
                      <a:pt x="4057" y="2609"/>
                    </a:lnTo>
                    <a:lnTo>
                      <a:pt x="0" y="2609"/>
                    </a:lnTo>
                    <a:close/>
                  </a:path>
                </a:pathLst>
              </a:custGeom>
              <a:grpFill/>
              <a:ln w="0"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D78622CE-050A-3C22-498C-639AB23E1E79}"/>
                  </a:ext>
                </a:extLst>
              </p:cNvPr>
              <p:cNvSpPr/>
              <p:nvPr/>
            </p:nvSpPr>
            <p:spPr>
              <a:xfrm>
                <a:off x="8709360" y="3336246"/>
                <a:ext cx="4057" cy="2608"/>
              </a:xfrm>
              <a:custGeom>
                <a:avLst/>
                <a:gdLst>
                  <a:gd name="connsiteX0" fmla="*/ 0 w 4057"/>
                  <a:gd name="connsiteY0" fmla="*/ 0 h 2608"/>
                  <a:gd name="connsiteX1" fmla="*/ 4057 w 4057"/>
                  <a:gd name="connsiteY1" fmla="*/ 0 h 2608"/>
                  <a:gd name="connsiteX2" fmla="*/ 4057 w 4057"/>
                  <a:gd name="connsiteY2" fmla="*/ 2609 h 2608"/>
                  <a:gd name="connsiteX3" fmla="*/ 0 w 4057"/>
                  <a:gd name="connsiteY3" fmla="*/ 2609 h 2608"/>
                </a:gdLst>
                <a:ahLst/>
                <a:cxnLst>
                  <a:cxn ang="0">
                    <a:pos x="connsiteX0" y="connsiteY0"/>
                  </a:cxn>
                  <a:cxn ang="0">
                    <a:pos x="connsiteX1" y="connsiteY1"/>
                  </a:cxn>
                  <a:cxn ang="0">
                    <a:pos x="connsiteX2" y="connsiteY2"/>
                  </a:cxn>
                  <a:cxn ang="0">
                    <a:pos x="connsiteX3" y="connsiteY3"/>
                  </a:cxn>
                </a:cxnLst>
                <a:rect l="l" t="t" r="r" b="b"/>
                <a:pathLst>
                  <a:path w="4057" h="2608">
                    <a:moveTo>
                      <a:pt x="0" y="0"/>
                    </a:moveTo>
                    <a:lnTo>
                      <a:pt x="4057" y="0"/>
                    </a:lnTo>
                    <a:lnTo>
                      <a:pt x="4057" y="2609"/>
                    </a:lnTo>
                    <a:lnTo>
                      <a:pt x="0" y="2609"/>
                    </a:lnTo>
                    <a:close/>
                  </a:path>
                </a:pathLst>
              </a:custGeom>
              <a:grpFill/>
              <a:ln w="0"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46FCEF06-A6DF-1E5E-A4A0-CCBBBF8094BA}"/>
                  </a:ext>
                </a:extLst>
              </p:cNvPr>
              <p:cNvSpPr/>
              <p:nvPr/>
            </p:nvSpPr>
            <p:spPr>
              <a:xfrm>
                <a:off x="8753414" y="3336246"/>
                <a:ext cx="8115" cy="2608"/>
              </a:xfrm>
              <a:custGeom>
                <a:avLst/>
                <a:gdLst>
                  <a:gd name="connsiteX0" fmla="*/ 0 w 8115"/>
                  <a:gd name="connsiteY0" fmla="*/ 0 h 2608"/>
                  <a:gd name="connsiteX1" fmla="*/ 8115 w 8115"/>
                  <a:gd name="connsiteY1" fmla="*/ 0 h 2608"/>
                  <a:gd name="connsiteX2" fmla="*/ 8115 w 8115"/>
                  <a:gd name="connsiteY2" fmla="*/ 2609 h 2608"/>
                  <a:gd name="connsiteX3" fmla="*/ 0 w 8115"/>
                  <a:gd name="connsiteY3" fmla="*/ 2609 h 2608"/>
                </a:gdLst>
                <a:ahLst/>
                <a:cxnLst>
                  <a:cxn ang="0">
                    <a:pos x="connsiteX0" y="connsiteY0"/>
                  </a:cxn>
                  <a:cxn ang="0">
                    <a:pos x="connsiteX1" y="connsiteY1"/>
                  </a:cxn>
                  <a:cxn ang="0">
                    <a:pos x="connsiteX2" y="connsiteY2"/>
                  </a:cxn>
                  <a:cxn ang="0">
                    <a:pos x="connsiteX3" y="connsiteY3"/>
                  </a:cxn>
                </a:cxnLst>
                <a:rect l="l" t="t" r="r" b="b"/>
                <a:pathLst>
                  <a:path w="8115" h="2608">
                    <a:moveTo>
                      <a:pt x="0" y="0"/>
                    </a:moveTo>
                    <a:lnTo>
                      <a:pt x="8115" y="0"/>
                    </a:lnTo>
                    <a:lnTo>
                      <a:pt x="8115" y="2609"/>
                    </a:lnTo>
                    <a:lnTo>
                      <a:pt x="0" y="2609"/>
                    </a:lnTo>
                    <a:close/>
                  </a:path>
                </a:pathLst>
              </a:custGeom>
              <a:grpFill/>
              <a:ln w="0"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7D17CC44-CF02-94BC-DC61-8DCBB7094341}"/>
                  </a:ext>
                </a:extLst>
              </p:cNvPr>
              <p:cNvSpPr/>
              <p:nvPr/>
            </p:nvSpPr>
            <p:spPr>
              <a:xfrm>
                <a:off x="8817465" y="3336536"/>
                <a:ext cx="8404" cy="3768"/>
              </a:xfrm>
              <a:custGeom>
                <a:avLst/>
                <a:gdLst>
                  <a:gd name="connsiteX0" fmla="*/ 0 w 8404"/>
                  <a:gd name="connsiteY0" fmla="*/ 2609 h 3768"/>
                  <a:gd name="connsiteX1" fmla="*/ 7825 w 8404"/>
                  <a:gd name="connsiteY1" fmla="*/ 3768 h 3768"/>
                  <a:gd name="connsiteX2" fmla="*/ 8405 w 8404"/>
                  <a:gd name="connsiteY2" fmla="*/ 1159 h 3768"/>
                  <a:gd name="connsiteX3" fmla="*/ 290 w 8404"/>
                  <a:gd name="connsiteY3" fmla="*/ 0 h 3768"/>
                  <a:gd name="connsiteX4" fmla="*/ 290 w 8404"/>
                  <a:gd name="connsiteY4" fmla="*/ 2609 h 3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04" h="3768">
                    <a:moveTo>
                      <a:pt x="0" y="2609"/>
                    </a:moveTo>
                    <a:cubicBezTo>
                      <a:pt x="2608" y="2609"/>
                      <a:pt x="5217" y="3188"/>
                      <a:pt x="7825" y="3768"/>
                    </a:cubicBezTo>
                    <a:lnTo>
                      <a:pt x="8405" y="1159"/>
                    </a:lnTo>
                    <a:cubicBezTo>
                      <a:pt x="5797" y="580"/>
                      <a:pt x="2898" y="0"/>
                      <a:pt x="290" y="0"/>
                    </a:cubicBezTo>
                    <a:lnTo>
                      <a:pt x="290" y="2609"/>
                    </a:lnTo>
                    <a:close/>
                  </a:path>
                </a:pathLst>
              </a:custGeom>
              <a:grpFill/>
              <a:ln w="0"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F2692C1B-AC88-FED4-0C20-ED8047B93963}"/>
                  </a:ext>
                </a:extLst>
              </p:cNvPr>
              <p:cNvSpPr/>
              <p:nvPr/>
            </p:nvSpPr>
            <p:spPr>
              <a:xfrm>
                <a:off x="8846448" y="3347550"/>
                <a:ext cx="7825" cy="7246"/>
              </a:xfrm>
              <a:custGeom>
                <a:avLst/>
                <a:gdLst>
                  <a:gd name="connsiteX0" fmla="*/ 0 w 7825"/>
                  <a:gd name="connsiteY0" fmla="*/ 2319 h 7246"/>
                  <a:gd name="connsiteX1" fmla="*/ 6087 w 7825"/>
                  <a:gd name="connsiteY1" fmla="*/ 7246 h 7246"/>
                  <a:gd name="connsiteX2" fmla="*/ 7825 w 7825"/>
                  <a:gd name="connsiteY2" fmla="*/ 5217 h 7246"/>
                  <a:gd name="connsiteX3" fmla="*/ 1449 w 7825"/>
                  <a:gd name="connsiteY3" fmla="*/ 0 h 7246"/>
                  <a:gd name="connsiteX4" fmla="*/ 0 w 7825"/>
                  <a:gd name="connsiteY4" fmla="*/ 2029 h 7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25" h="7246">
                    <a:moveTo>
                      <a:pt x="0" y="2319"/>
                    </a:moveTo>
                    <a:cubicBezTo>
                      <a:pt x="2029" y="3768"/>
                      <a:pt x="4057" y="5507"/>
                      <a:pt x="6087" y="7246"/>
                    </a:cubicBezTo>
                    <a:lnTo>
                      <a:pt x="7825" y="5217"/>
                    </a:lnTo>
                    <a:cubicBezTo>
                      <a:pt x="5797" y="3478"/>
                      <a:pt x="3768" y="1739"/>
                      <a:pt x="1449" y="0"/>
                    </a:cubicBezTo>
                    <a:lnTo>
                      <a:pt x="0" y="2029"/>
                    </a:lnTo>
                    <a:close/>
                  </a:path>
                </a:pathLst>
              </a:custGeom>
              <a:grpFill/>
              <a:ln w="0"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CC108384-E299-8C5A-FC5A-313AAC1E19A9}"/>
                  </a:ext>
                </a:extLst>
              </p:cNvPr>
              <p:cNvSpPr/>
              <p:nvPr/>
            </p:nvSpPr>
            <p:spPr>
              <a:xfrm>
                <a:off x="8737183" y="3336246"/>
                <a:ext cx="8115" cy="2608"/>
              </a:xfrm>
              <a:custGeom>
                <a:avLst/>
                <a:gdLst>
                  <a:gd name="connsiteX0" fmla="*/ 0 w 8115"/>
                  <a:gd name="connsiteY0" fmla="*/ 0 h 2608"/>
                  <a:gd name="connsiteX1" fmla="*/ 8115 w 8115"/>
                  <a:gd name="connsiteY1" fmla="*/ 0 h 2608"/>
                  <a:gd name="connsiteX2" fmla="*/ 8115 w 8115"/>
                  <a:gd name="connsiteY2" fmla="*/ 2609 h 2608"/>
                  <a:gd name="connsiteX3" fmla="*/ 0 w 8115"/>
                  <a:gd name="connsiteY3" fmla="*/ 2609 h 2608"/>
                </a:gdLst>
                <a:ahLst/>
                <a:cxnLst>
                  <a:cxn ang="0">
                    <a:pos x="connsiteX0" y="connsiteY0"/>
                  </a:cxn>
                  <a:cxn ang="0">
                    <a:pos x="connsiteX1" y="connsiteY1"/>
                  </a:cxn>
                  <a:cxn ang="0">
                    <a:pos x="connsiteX2" y="connsiteY2"/>
                  </a:cxn>
                  <a:cxn ang="0">
                    <a:pos x="connsiteX3" y="connsiteY3"/>
                  </a:cxn>
                </a:cxnLst>
                <a:rect l="l" t="t" r="r" b="b"/>
                <a:pathLst>
                  <a:path w="8115" h="2608">
                    <a:moveTo>
                      <a:pt x="0" y="0"/>
                    </a:moveTo>
                    <a:lnTo>
                      <a:pt x="8115" y="0"/>
                    </a:lnTo>
                    <a:lnTo>
                      <a:pt x="8115" y="2609"/>
                    </a:lnTo>
                    <a:lnTo>
                      <a:pt x="0" y="2609"/>
                    </a:lnTo>
                    <a:close/>
                  </a:path>
                </a:pathLst>
              </a:custGeom>
              <a:grpFill/>
              <a:ln w="0"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0BBDBE11-848F-C625-E01F-C3B5E5865E46}"/>
                  </a:ext>
                </a:extLst>
              </p:cNvPr>
              <p:cNvSpPr/>
              <p:nvPr/>
            </p:nvSpPr>
            <p:spPr>
              <a:xfrm>
                <a:off x="8785294" y="3336246"/>
                <a:ext cx="8115" cy="2608"/>
              </a:xfrm>
              <a:custGeom>
                <a:avLst/>
                <a:gdLst>
                  <a:gd name="connsiteX0" fmla="*/ 0 w 8115"/>
                  <a:gd name="connsiteY0" fmla="*/ 0 h 2608"/>
                  <a:gd name="connsiteX1" fmla="*/ 8115 w 8115"/>
                  <a:gd name="connsiteY1" fmla="*/ 0 h 2608"/>
                  <a:gd name="connsiteX2" fmla="*/ 8115 w 8115"/>
                  <a:gd name="connsiteY2" fmla="*/ 2609 h 2608"/>
                  <a:gd name="connsiteX3" fmla="*/ 0 w 8115"/>
                  <a:gd name="connsiteY3" fmla="*/ 2609 h 2608"/>
                </a:gdLst>
                <a:ahLst/>
                <a:cxnLst>
                  <a:cxn ang="0">
                    <a:pos x="connsiteX0" y="connsiteY0"/>
                  </a:cxn>
                  <a:cxn ang="0">
                    <a:pos x="connsiteX1" y="connsiteY1"/>
                  </a:cxn>
                  <a:cxn ang="0">
                    <a:pos x="connsiteX2" y="connsiteY2"/>
                  </a:cxn>
                  <a:cxn ang="0">
                    <a:pos x="connsiteX3" y="connsiteY3"/>
                  </a:cxn>
                </a:cxnLst>
                <a:rect l="l" t="t" r="r" b="b"/>
                <a:pathLst>
                  <a:path w="8115" h="2608">
                    <a:moveTo>
                      <a:pt x="0" y="0"/>
                    </a:moveTo>
                    <a:lnTo>
                      <a:pt x="8115" y="0"/>
                    </a:lnTo>
                    <a:lnTo>
                      <a:pt x="8115" y="2609"/>
                    </a:lnTo>
                    <a:lnTo>
                      <a:pt x="0" y="2609"/>
                    </a:lnTo>
                    <a:close/>
                  </a:path>
                </a:pathLst>
              </a:custGeom>
              <a:grpFill/>
              <a:ln w="0"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A7901150-23B6-BF13-26DB-7A5F24405A90}"/>
                  </a:ext>
                </a:extLst>
              </p:cNvPr>
              <p:cNvSpPr/>
              <p:nvPr/>
            </p:nvSpPr>
            <p:spPr>
              <a:xfrm>
                <a:off x="8858041" y="3358565"/>
                <a:ext cx="6955" cy="8116"/>
              </a:xfrm>
              <a:custGeom>
                <a:avLst/>
                <a:gdLst>
                  <a:gd name="connsiteX0" fmla="*/ 0 w 6955"/>
                  <a:gd name="connsiteY0" fmla="*/ 1739 h 8116"/>
                  <a:gd name="connsiteX1" fmla="*/ 4637 w 6955"/>
                  <a:gd name="connsiteY1" fmla="*/ 8116 h 8116"/>
                  <a:gd name="connsiteX2" fmla="*/ 6956 w 6955"/>
                  <a:gd name="connsiteY2" fmla="*/ 6667 h 8116"/>
                  <a:gd name="connsiteX3" fmla="*/ 2029 w 6955"/>
                  <a:gd name="connsiteY3" fmla="*/ 0 h 8116"/>
                  <a:gd name="connsiteX4" fmla="*/ 0 w 6955"/>
                  <a:gd name="connsiteY4" fmla="*/ 1739 h 81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5" h="8116">
                    <a:moveTo>
                      <a:pt x="0" y="1739"/>
                    </a:moveTo>
                    <a:cubicBezTo>
                      <a:pt x="1739" y="3768"/>
                      <a:pt x="3188" y="5797"/>
                      <a:pt x="4637" y="8116"/>
                    </a:cubicBezTo>
                    <a:lnTo>
                      <a:pt x="6956" y="6667"/>
                    </a:lnTo>
                    <a:cubicBezTo>
                      <a:pt x="5506" y="4348"/>
                      <a:pt x="3768" y="2319"/>
                      <a:pt x="2029" y="0"/>
                    </a:cubicBezTo>
                    <a:lnTo>
                      <a:pt x="0" y="1739"/>
                    </a:lnTo>
                    <a:close/>
                  </a:path>
                </a:pathLst>
              </a:custGeom>
              <a:grpFill/>
              <a:ln w="0"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5D26EA02-0D00-489C-CF4A-73BC3443A68D}"/>
                  </a:ext>
                </a:extLst>
              </p:cNvPr>
              <p:cNvSpPr/>
              <p:nvPr/>
            </p:nvSpPr>
            <p:spPr>
              <a:xfrm>
                <a:off x="8832536" y="3340304"/>
                <a:ext cx="8405" cy="5506"/>
              </a:xfrm>
              <a:custGeom>
                <a:avLst/>
                <a:gdLst>
                  <a:gd name="connsiteX0" fmla="*/ 0 w 8405"/>
                  <a:gd name="connsiteY0" fmla="*/ 2319 h 5506"/>
                  <a:gd name="connsiteX1" fmla="*/ 7246 w 8405"/>
                  <a:gd name="connsiteY1" fmla="*/ 5507 h 5506"/>
                  <a:gd name="connsiteX2" fmla="*/ 8405 w 8405"/>
                  <a:gd name="connsiteY2" fmla="*/ 3188 h 5506"/>
                  <a:gd name="connsiteX3" fmla="*/ 870 w 8405"/>
                  <a:gd name="connsiteY3" fmla="*/ 0 h 5506"/>
                  <a:gd name="connsiteX4" fmla="*/ 0 w 8405"/>
                  <a:gd name="connsiteY4" fmla="*/ 2608 h 5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05" h="5506">
                    <a:moveTo>
                      <a:pt x="0" y="2319"/>
                    </a:moveTo>
                    <a:cubicBezTo>
                      <a:pt x="2319" y="3188"/>
                      <a:pt x="4927" y="4348"/>
                      <a:pt x="7246" y="5507"/>
                    </a:cubicBezTo>
                    <a:lnTo>
                      <a:pt x="8405" y="3188"/>
                    </a:lnTo>
                    <a:cubicBezTo>
                      <a:pt x="6087" y="2029"/>
                      <a:pt x="3478" y="869"/>
                      <a:pt x="870" y="0"/>
                    </a:cubicBezTo>
                    <a:lnTo>
                      <a:pt x="0" y="2608"/>
                    </a:lnTo>
                    <a:close/>
                  </a:path>
                </a:pathLst>
              </a:custGeom>
              <a:grpFill/>
              <a:ln w="0"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FA00C46D-4495-40B7-3C58-86AF9ED96698}"/>
                  </a:ext>
                </a:extLst>
              </p:cNvPr>
              <p:cNvSpPr/>
              <p:nvPr/>
            </p:nvSpPr>
            <p:spPr>
              <a:xfrm>
                <a:off x="8769354" y="3336246"/>
                <a:ext cx="8115" cy="2608"/>
              </a:xfrm>
              <a:custGeom>
                <a:avLst/>
                <a:gdLst>
                  <a:gd name="connsiteX0" fmla="*/ 0 w 8115"/>
                  <a:gd name="connsiteY0" fmla="*/ 0 h 2608"/>
                  <a:gd name="connsiteX1" fmla="*/ 8115 w 8115"/>
                  <a:gd name="connsiteY1" fmla="*/ 0 h 2608"/>
                  <a:gd name="connsiteX2" fmla="*/ 8115 w 8115"/>
                  <a:gd name="connsiteY2" fmla="*/ 2609 h 2608"/>
                  <a:gd name="connsiteX3" fmla="*/ 0 w 8115"/>
                  <a:gd name="connsiteY3" fmla="*/ 2609 h 2608"/>
                </a:gdLst>
                <a:ahLst/>
                <a:cxnLst>
                  <a:cxn ang="0">
                    <a:pos x="connsiteX0" y="connsiteY0"/>
                  </a:cxn>
                  <a:cxn ang="0">
                    <a:pos x="connsiteX1" y="connsiteY1"/>
                  </a:cxn>
                  <a:cxn ang="0">
                    <a:pos x="connsiteX2" y="connsiteY2"/>
                  </a:cxn>
                  <a:cxn ang="0">
                    <a:pos x="connsiteX3" y="connsiteY3"/>
                  </a:cxn>
                </a:cxnLst>
                <a:rect l="l" t="t" r="r" b="b"/>
                <a:pathLst>
                  <a:path w="8115" h="2608">
                    <a:moveTo>
                      <a:pt x="0" y="0"/>
                    </a:moveTo>
                    <a:lnTo>
                      <a:pt x="8115" y="0"/>
                    </a:lnTo>
                    <a:lnTo>
                      <a:pt x="8115" y="2609"/>
                    </a:lnTo>
                    <a:lnTo>
                      <a:pt x="0" y="2609"/>
                    </a:lnTo>
                    <a:close/>
                  </a:path>
                </a:pathLst>
              </a:custGeom>
              <a:grpFill/>
              <a:ln w="0"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BC06312F-620A-933A-961F-D3FE9FFF6DE5}"/>
                  </a:ext>
                </a:extLst>
              </p:cNvPr>
              <p:cNvSpPr/>
              <p:nvPr/>
            </p:nvSpPr>
            <p:spPr>
              <a:xfrm>
                <a:off x="8721243" y="3336246"/>
                <a:ext cx="8115" cy="2608"/>
              </a:xfrm>
              <a:custGeom>
                <a:avLst/>
                <a:gdLst>
                  <a:gd name="connsiteX0" fmla="*/ 0 w 8115"/>
                  <a:gd name="connsiteY0" fmla="*/ 0 h 2608"/>
                  <a:gd name="connsiteX1" fmla="*/ 8115 w 8115"/>
                  <a:gd name="connsiteY1" fmla="*/ 0 h 2608"/>
                  <a:gd name="connsiteX2" fmla="*/ 8115 w 8115"/>
                  <a:gd name="connsiteY2" fmla="*/ 2609 h 2608"/>
                  <a:gd name="connsiteX3" fmla="*/ 0 w 8115"/>
                  <a:gd name="connsiteY3" fmla="*/ 2609 h 2608"/>
                </a:gdLst>
                <a:ahLst/>
                <a:cxnLst>
                  <a:cxn ang="0">
                    <a:pos x="connsiteX0" y="connsiteY0"/>
                  </a:cxn>
                  <a:cxn ang="0">
                    <a:pos x="connsiteX1" y="connsiteY1"/>
                  </a:cxn>
                  <a:cxn ang="0">
                    <a:pos x="connsiteX2" y="connsiteY2"/>
                  </a:cxn>
                  <a:cxn ang="0">
                    <a:pos x="connsiteX3" y="connsiteY3"/>
                  </a:cxn>
                </a:cxnLst>
                <a:rect l="l" t="t" r="r" b="b"/>
                <a:pathLst>
                  <a:path w="8115" h="2608">
                    <a:moveTo>
                      <a:pt x="0" y="0"/>
                    </a:moveTo>
                    <a:lnTo>
                      <a:pt x="8115" y="0"/>
                    </a:lnTo>
                    <a:lnTo>
                      <a:pt x="8115" y="2609"/>
                    </a:lnTo>
                    <a:lnTo>
                      <a:pt x="0" y="2609"/>
                    </a:lnTo>
                    <a:close/>
                  </a:path>
                </a:pathLst>
              </a:custGeom>
              <a:grpFill/>
              <a:ln w="0"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2A6ED067-7D1D-C39E-472F-022DE20D89D1}"/>
                  </a:ext>
                </a:extLst>
              </p:cNvPr>
              <p:cNvSpPr/>
              <p:nvPr/>
            </p:nvSpPr>
            <p:spPr>
              <a:xfrm>
                <a:off x="8872532" y="3402043"/>
                <a:ext cx="2608" cy="10144"/>
              </a:xfrm>
              <a:custGeom>
                <a:avLst/>
                <a:gdLst>
                  <a:gd name="connsiteX0" fmla="*/ 2608 w 2608"/>
                  <a:gd name="connsiteY0" fmla="*/ 8116 h 10144"/>
                  <a:gd name="connsiteX1" fmla="*/ 2608 w 2608"/>
                  <a:gd name="connsiteY1" fmla="*/ 2029 h 10144"/>
                  <a:gd name="connsiteX2" fmla="*/ 2608 w 2608"/>
                  <a:gd name="connsiteY2" fmla="*/ 0 h 10144"/>
                  <a:gd name="connsiteX3" fmla="*/ 0 w 2608"/>
                  <a:gd name="connsiteY3" fmla="*/ 0 h 10144"/>
                  <a:gd name="connsiteX4" fmla="*/ 0 w 2608"/>
                  <a:gd name="connsiteY4" fmla="*/ 2029 h 10144"/>
                  <a:gd name="connsiteX5" fmla="*/ 0 w 2608"/>
                  <a:gd name="connsiteY5" fmla="*/ 8116 h 10144"/>
                  <a:gd name="connsiteX6" fmla="*/ 0 w 2608"/>
                  <a:gd name="connsiteY6" fmla="*/ 10145 h 10144"/>
                  <a:gd name="connsiteX7" fmla="*/ 2608 w 2608"/>
                  <a:gd name="connsiteY7" fmla="*/ 10145 h 10144"/>
                  <a:gd name="connsiteX8" fmla="*/ 2608 w 2608"/>
                  <a:gd name="connsiteY8" fmla="*/ 8116 h 10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08" h="10144">
                    <a:moveTo>
                      <a:pt x="2608" y="8116"/>
                    </a:moveTo>
                    <a:lnTo>
                      <a:pt x="2608" y="2029"/>
                    </a:lnTo>
                    <a:lnTo>
                      <a:pt x="2608" y="0"/>
                    </a:lnTo>
                    <a:lnTo>
                      <a:pt x="0" y="0"/>
                    </a:lnTo>
                    <a:lnTo>
                      <a:pt x="0" y="2029"/>
                    </a:lnTo>
                    <a:lnTo>
                      <a:pt x="0" y="8116"/>
                    </a:lnTo>
                    <a:lnTo>
                      <a:pt x="0" y="10145"/>
                    </a:lnTo>
                    <a:lnTo>
                      <a:pt x="2608" y="10145"/>
                    </a:lnTo>
                    <a:lnTo>
                      <a:pt x="2608" y="8116"/>
                    </a:lnTo>
                    <a:close/>
                  </a:path>
                </a:pathLst>
              </a:custGeom>
              <a:grpFill/>
              <a:ln w="0" cap="flat">
                <a:noFill/>
                <a:prstDash val="solid"/>
                <a:miter/>
              </a:ln>
            </p:spPr>
            <p:txBody>
              <a:bodyPr rtlCol="0" anchor="ctr"/>
              <a:lstStyle/>
              <a:p>
                <a:endParaRPr lang="en-US"/>
              </a:p>
            </p:txBody>
          </p:sp>
          <p:sp>
            <p:nvSpPr>
              <p:cNvPr id="33" name="Freeform 32">
                <a:extLst>
                  <a:ext uri="{FF2B5EF4-FFF2-40B4-BE49-F238E27FC236}">
                    <a16:creationId xmlns:a16="http://schemas.microsoft.com/office/drawing/2014/main" id="{3C3DCA92-432C-C38E-D6FD-229CEFC18A28}"/>
                  </a:ext>
                </a:extLst>
              </p:cNvPr>
              <p:cNvSpPr/>
              <p:nvPr/>
            </p:nvSpPr>
            <p:spPr>
              <a:xfrm>
                <a:off x="8872532" y="3436246"/>
                <a:ext cx="2608" cy="8115"/>
              </a:xfrm>
              <a:custGeom>
                <a:avLst/>
                <a:gdLst>
                  <a:gd name="connsiteX0" fmla="*/ 0 w 2608"/>
                  <a:gd name="connsiteY0" fmla="*/ 0 h 8115"/>
                  <a:gd name="connsiteX1" fmla="*/ 2608 w 2608"/>
                  <a:gd name="connsiteY1" fmla="*/ 0 h 8115"/>
                  <a:gd name="connsiteX2" fmla="*/ 2608 w 2608"/>
                  <a:gd name="connsiteY2" fmla="*/ 8116 h 8115"/>
                  <a:gd name="connsiteX3" fmla="*/ 0 w 2608"/>
                  <a:gd name="connsiteY3" fmla="*/ 8116 h 8115"/>
                </a:gdLst>
                <a:ahLst/>
                <a:cxnLst>
                  <a:cxn ang="0">
                    <a:pos x="connsiteX0" y="connsiteY0"/>
                  </a:cxn>
                  <a:cxn ang="0">
                    <a:pos x="connsiteX1" y="connsiteY1"/>
                  </a:cxn>
                  <a:cxn ang="0">
                    <a:pos x="connsiteX2" y="connsiteY2"/>
                  </a:cxn>
                  <a:cxn ang="0">
                    <a:pos x="connsiteX3" y="connsiteY3"/>
                  </a:cxn>
                </a:cxnLst>
                <a:rect l="l" t="t" r="r" b="b"/>
                <a:pathLst>
                  <a:path w="2608" h="8115">
                    <a:moveTo>
                      <a:pt x="0" y="0"/>
                    </a:moveTo>
                    <a:lnTo>
                      <a:pt x="2608" y="0"/>
                    </a:lnTo>
                    <a:lnTo>
                      <a:pt x="2608" y="8116"/>
                    </a:lnTo>
                    <a:lnTo>
                      <a:pt x="0" y="8116"/>
                    </a:lnTo>
                    <a:close/>
                  </a:path>
                </a:pathLst>
              </a:custGeom>
              <a:grpFill/>
              <a:ln w="0" cap="flat">
                <a:noFill/>
                <a:prstDash val="solid"/>
                <a:miter/>
              </a:ln>
            </p:spPr>
            <p:txBody>
              <a:bodyPr rtlCol="0" anchor="ctr"/>
              <a:lstStyle/>
              <a:p>
                <a:endParaRPr lang="en-US"/>
              </a:p>
            </p:txBody>
          </p:sp>
          <p:sp>
            <p:nvSpPr>
              <p:cNvPr id="34" name="Freeform 33">
                <a:extLst>
                  <a:ext uri="{FF2B5EF4-FFF2-40B4-BE49-F238E27FC236}">
                    <a16:creationId xmlns:a16="http://schemas.microsoft.com/office/drawing/2014/main" id="{E483E1FF-BA72-EB9D-6B2A-033E6D464FAD}"/>
                  </a:ext>
                </a:extLst>
              </p:cNvPr>
              <p:cNvSpPr/>
              <p:nvPr/>
            </p:nvSpPr>
            <p:spPr>
              <a:xfrm>
                <a:off x="8866445" y="3372478"/>
                <a:ext cx="5507" cy="8405"/>
              </a:xfrm>
              <a:custGeom>
                <a:avLst/>
                <a:gdLst>
                  <a:gd name="connsiteX0" fmla="*/ 5507 w 5507"/>
                  <a:gd name="connsiteY0" fmla="*/ 7536 h 8405"/>
                  <a:gd name="connsiteX1" fmla="*/ 2319 w 5507"/>
                  <a:gd name="connsiteY1" fmla="*/ 0 h 8405"/>
                  <a:gd name="connsiteX2" fmla="*/ 0 w 5507"/>
                  <a:gd name="connsiteY2" fmla="*/ 1159 h 8405"/>
                  <a:gd name="connsiteX3" fmla="*/ 2898 w 5507"/>
                  <a:gd name="connsiteY3" fmla="*/ 8406 h 8405"/>
                  <a:gd name="connsiteX4" fmla="*/ 5507 w 5507"/>
                  <a:gd name="connsiteY4" fmla="*/ 7536 h 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07" h="8405">
                    <a:moveTo>
                      <a:pt x="5507" y="7536"/>
                    </a:moveTo>
                    <a:cubicBezTo>
                      <a:pt x="4637" y="4927"/>
                      <a:pt x="3768" y="2319"/>
                      <a:pt x="2319" y="0"/>
                    </a:cubicBezTo>
                    <a:lnTo>
                      <a:pt x="0" y="1159"/>
                    </a:lnTo>
                    <a:cubicBezTo>
                      <a:pt x="1160" y="3478"/>
                      <a:pt x="2029" y="6087"/>
                      <a:pt x="2898" y="8406"/>
                    </a:cubicBezTo>
                    <a:lnTo>
                      <a:pt x="5507" y="7536"/>
                    </a:lnTo>
                    <a:close/>
                  </a:path>
                </a:pathLst>
              </a:custGeom>
              <a:grpFill/>
              <a:ln w="0" cap="flat">
                <a:noFill/>
                <a:prstDash val="solid"/>
                <a:miter/>
              </a:ln>
            </p:spPr>
            <p:txBody>
              <a:bodyPr rtlCol="0" anchor="ctr"/>
              <a:lstStyle/>
              <a:p>
                <a:endParaRPr lang="en-US"/>
              </a:p>
            </p:txBody>
          </p:sp>
          <p:sp>
            <p:nvSpPr>
              <p:cNvPr id="35" name="Freeform 34">
                <a:extLst>
                  <a:ext uri="{FF2B5EF4-FFF2-40B4-BE49-F238E27FC236}">
                    <a16:creationId xmlns:a16="http://schemas.microsoft.com/office/drawing/2014/main" id="{E22EE93B-7F6F-9ACC-A83E-EED489557F1C}"/>
                  </a:ext>
                </a:extLst>
              </p:cNvPr>
              <p:cNvSpPr/>
              <p:nvPr/>
            </p:nvSpPr>
            <p:spPr>
              <a:xfrm>
                <a:off x="8871373" y="3386391"/>
                <a:ext cx="3767" cy="10144"/>
              </a:xfrm>
              <a:custGeom>
                <a:avLst/>
                <a:gdLst>
                  <a:gd name="connsiteX0" fmla="*/ 1159 w 3767"/>
                  <a:gd name="connsiteY0" fmla="*/ 9855 h 10144"/>
                  <a:gd name="connsiteX1" fmla="*/ 3767 w 3767"/>
                  <a:gd name="connsiteY1" fmla="*/ 9855 h 10144"/>
                  <a:gd name="connsiteX2" fmla="*/ 3767 w 3767"/>
                  <a:gd name="connsiteY2" fmla="*/ 7826 h 10144"/>
                  <a:gd name="connsiteX3" fmla="*/ 3767 w 3767"/>
                  <a:gd name="connsiteY3" fmla="*/ 7826 h 10144"/>
                  <a:gd name="connsiteX4" fmla="*/ 3767 w 3767"/>
                  <a:gd name="connsiteY4" fmla="*/ 0 h 10144"/>
                  <a:gd name="connsiteX5" fmla="*/ 1159 w 3767"/>
                  <a:gd name="connsiteY5" fmla="*/ 0 h 10144"/>
                  <a:gd name="connsiteX6" fmla="*/ 1159 w 3767"/>
                  <a:gd name="connsiteY6" fmla="*/ 2029 h 10144"/>
                  <a:gd name="connsiteX7" fmla="*/ 0 w 3767"/>
                  <a:gd name="connsiteY7" fmla="*/ 2029 h 10144"/>
                  <a:gd name="connsiteX8" fmla="*/ 869 w 3767"/>
                  <a:gd name="connsiteY8" fmla="*/ 10145 h 10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67" h="10144">
                    <a:moveTo>
                      <a:pt x="1159" y="9855"/>
                    </a:moveTo>
                    <a:lnTo>
                      <a:pt x="3767" y="9855"/>
                    </a:lnTo>
                    <a:cubicBezTo>
                      <a:pt x="3767" y="8986"/>
                      <a:pt x="3767" y="8406"/>
                      <a:pt x="3767" y="7826"/>
                    </a:cubicBezTo>
                    <a:lnTo>
                      <a:pt x="3767" y="7826"/>
                    </a:lnTo>
                    <a:lnTo>
                      <a:pt x="3767" y="0"/>
                    </a:lnTo>
                    <a:lnTo>
                      <a:pt x="1159" y="0"/>
                    </a:lnTo>
                    <a:lnTo>
                      <a:pt x="1159" y="2029"/>
                    </a:lnTo>
                    <a:lnTo>
                      <a:pt x="0" y="2029"/>
                    </a:lnTo>
                    <a:cubicBezTo>
                      <a:pt x="580" y="4928"/>
                      <a:pt x="869" y="7537"/>
                      <a:pt x="869" y="10145"/>
                    </a:cubicBezTo>
                    <a:close/>
                  </a:path>
                </a:pathLst>
              </a:custGeom>
              <a:grpFill/>
              <a:ln w="0" cap="flat">
                <a:noFill/>
                <a:prstDash val="solid"/>
                <a:miter/>
              </a:ln>
            </p:spPr>
            <p:txBody>
              <a:bodyPr rtlCol="0" anchor="ctr"/>
              <a:lstStyle/>
              <a:p>
                <a:endParaRPr lang="en-US"/>
              </a:p>
            </p:txBody>
          </p:sp>
          <p:sp>
            <p:nvSpPr>
              <p:cNvPr id="36" name="Freeform 35">
                <a:extLst>
                  <a:ext uri="{FF2B5EF4-FFF2-40B4-BE49-F238E27FC236}">
                    <a16:creationId xmlns:a16="http://schemas.microsoft.com/office/drawing/2014/main" id="{19C948C5-3D44-9F12-29FE-C0F705772253}"/>
                  </a:ext>
                </a:extLst>
              </p:cNvPr>
              <p:cNvSpPr/>
              <p:nvPr/>
            </p:nvSpPr>
            <p:spPr>
              <a:xfrm>
                <a:off x="8801525" y="3336246"/>
                <a:ext cx="8115" cy="2608"/>
              </a:xfrm>
              <a:custGeom>
                <a:avLst/>
                <a:gdLst>
                  <a:gd name="connsiteX0" fmla="*/ 0 w 8115"/>
                  <a:gd name="connsiteY0" fmla="*/ 0 h 2608"/>
                  <a:gd name="connsiteX1" fmla="*/ 8115 w 8115"/>
                  <a:gd name="connsiteY1" fmla="*/ 0 h 2608"/>
                  <a:gd name="connsiteX2" fmla="*/ 8115 w 8115"/>
                  <a:gd name="connsiteY2" fmla="*/ 2609 h 2608"/>
                  <a:gd name="connsiteX3" fmla="*/ 0 w 8115"/>
                  <a:gd name="connsiteY3" fmla="*/ 2609 h 2608"/>
                </a:gdLst>
                <a:ahLst/>
                <a:cxnLst>
                  <a:cxn ang="0">
                    <a:pos x="connsiteX0" y="connsiteY0"/>
                  </a:cxn>
                  <a:cxn ang="0">
                    <a:pos x="connsiteX1" y="connsiteY1"/>
                  </a:cxn>
                  <a:cxn ang="0">
                    <a:pos x="connsiteX2" y="connsiteY2"/>
                  </a:cxn>
                  <a:cxn ang="0">
                    <a:pos x="connsiteX3" y="connsiteY3"/>
                  </a:cxn>
                </a:cxnLst>
                <a:rect l="l" t="t" r="r" b="b"/>
                <a:pathLst>
                  <a:path w="8115" h="2608">
                    <a:moveTo>
                      <a:pt x="0" y="0"/>
                    </a:moveTo>
                    <a:lnTo>
                      <a:pt x="8115" y="0"/>
                    </a:lnTo>
                    <a:lnTo>
                      <a:pt x="8115" y="2609"/>
                    </a:lnTo>
                    <a:lnTo>
                      <a:pt x="0" y="2609"/>
                    </a:lnTo>
                    <a:close/>
                  </a:path>
                </a:pathLst>
              </a:custGeom>
              <a:grpFill/>
              <a:ln w="0"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DFE5107E-D99F-9E81-A7CA-B8DFFB6B4701}"/>
                  </a:ext>
                </a:extLst>
              </p:cNvPr>
              <p:cNvSpPr/>
              <p:nvPr/>
            </p:nvSpPr>
            <p:spPr>
              <a:xfrm>
                <a:off x="8872532" y="3417985"/>
                <a:ext cx="2608" cy="10144"/>
              </a:xfrm>
              <a:custGeom>
                <a:avLst/>
                <a:gdLst>
                  <a:gd name="connsiteX0" fmla="*/ 2608 w 2608"/>
                  <a:gd name="connsiteY0" fmla="*/ 4058 h 10144"/>
                  <a:gd name="connsiteX1" fmla="*/ 2608 w 2608"/>
                  <a:gd name="connsiteY1" fmla="*/ 2319 h 10144"/>
                  <a:gd name="connsiteX2" fmla="*/ 2608 w 2608"/>
                  <a:gd name="connsiteY2" fmla="*/ 0 h 10144"/>
                  <a:gd name="connsiteX3" fmla="*/ 0 w 2608"/>
                  <a:gd name="connsiteY3" fmla="*/ 0 h 10144"/>
                  <a:gd name="connsiteX4" fmla="*/ 0 w 2608"/>
                  <a:gd name="connsiteY4" fmla="*/ 2319 h 10144"/>
                  <a:gd name="connsiteX5" fmla="*/ 0 w 2608"/>
                  <a:gd name="connsiteY5" fmla="*/ 4058 h 10144"/>
                  <a:gd name="connsiteX6" fmla="*/ 0 w 2608"/>
                  <a:gd name="connsiteY6" fmla="*/ 10145 h 10144"/>
                  <a:gd name="connsiteX7" fmla="*/ 2608 w 2608"/>
                  <a:gd name="connsiteY7" fmla="*/ 10145 h 10144"/>
                  <a:gd name="connsiteX8" fmla="*/ 2608 w 2608"/>
                  <a:gd name="connsiteY8" fmla="*/ 4058 h 10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08" h="10144">
                    <a:moveTo>
                      <a:pt x="2608" y="4058"/>
                    </a:moveTo>
                    <a:lnTo>
                      <a:pt x="2608" y="2319"/>
                    </a:lnTo>
                    <a:lnTo>
                      <a:pt x="2608" y="0"/>
                    </a:lnTo>
                    <a:lnTo>
                      <a:pt x="0" y="0"/>
                    </a:lnTo>
                    <a:lnTo>
                      <a:pt x="0" y="2319"/>
                    </a:lnTo>
                    <a:lnTo>
                      <a:pt x="0" y="4058"/>
                    </a:lnTo>
                    <a:lnTo>
                      <a:pt x="0" y="10145"/>
                    </a:lnTo>
                    <a:lnTo>
                      <a:pt x="2608" y="10145"/>
                    </a:lnTo>
                    <a:lnTo>
                      <a:pt x="2608" y="4058"/>
                    </a:lnTo>
                    <a:close/>
                  </a:path>
                </a:pathLst>
              </a:custGeom>
              <a:grpFill/>
              <a:ln w="0" cap="flat">
                <a:noFill/>
                <a:prstDash val="solid"/>
                <a:miter/>
              </a:ln>
            </p:spPr>
            <p:txBody>
              <a:bodyPr rtlCol="0" anchor="ctr"/>
              <a:lstStyle/>
              <a:p>
                <a:endParaRPr lang="en-US"/>
              </a:p>
            </p:txBody>
          </p:sp>
          <p:sp>
            <p:nvSpPr>
              <p:cNvPr id="38" name="Freeform 37">
                <a:extLst>
                  <a:ext uri="{FF2B5EF4-FFF2-40B4-BE49-F238E27FC236}">
                    <a16:creationId xmlns:a16="http://schemas.microsoft.com/office/drawing/2014/main" id="{F8EED585-99C1-6552-CBE5-D5406BC29D2D}"/>
                  </a:ext>
                </a:extLst>
              </p:cNvPr>
              <p:cNvSpPr/>
              <p:nvPr/>
            </p:nvSpPr>
            <p:spPr>
              <a:xfrm>
                <a:off x="8709360" y="3462333"/>
                <a:ext cx="4057" cy="2608"/>
              </a:xfrm>
              <a:custGeom>
                <a:avLst/>
                <a:gdLst>
                  <a:gd name="connsiteX0" fmla="*/ 0 w 4057"/>
                  <a:gd name="connsiteY0" fmla="*/ 0 h 2608"/>
                  <a:gd name="connsiteX1" fmla="*/ 4057 w 4057"/>
                  <a:gd name="connsiteY1" fmla="*/ 0 h 2608"/>
                  <a:gd name="connsiteX2" fmla="*/ 4057 w 4057"/>
                  <a:gd name="connsiteY2" fmla="*/ 2609 h 2608"/>
                  <a:gd name="connsiteX3" fmla="*/ 0 w 4057"/>
                  <a:gd name="connsiteY3" fmla="*/ 2609 h 2608"/>
                </a:gdLst>
                <a:ahLst/>
                <a:cxnLst>
                  <a:cxn ang="0">
                    <a:pos x="connsiteX0" y="connsiteY0"/>
                  </a:cxn>
                  <a:cxn ang="0">
                    <a:pos x="connsiteX1" y="connsiteY1"/>
                  </a:cxn>
                  <a:cxn ang="0">
                    <a:pos x="connsiteX2" y="connsiteY2"/>
                  </a:cxn>
                  <a:cxn ang="0">
                    <a:pos x="connsiteX3" y="connsiteY3"/>
                  </a:cxn>
                </a:cxnLst>
                <a:rect l="l" t="t" r="r" b="b"/>
                <a:pathLst>
                  <a:path w="4057" h="2608">
                    <a:moveTo>
                      <a:pt x="0" y="0"/>
                    </a:moveTo>
                    <a:lnTo>
                      <a:pt x="4057" y="0"/>
                    </a:lnTo>
                    <a:lnTo>
                      <a:pt x="4057" y="2609"/>
                    </a:lnTo>
                    <a:lnTo>
                      <a:pt x="0" y="2609"/>
                    </a:lnTo>
                    <a:close/>
                  </a:path>
                </a:pathLst>
              </a:custGeom>
              <a:grpFill/>
              <a:ln w="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2E1ECDA1-1ECD-4AFF-7E1F-97E23A90B018}"/>
                  </a:ext>
                </a:extLst>
              </p:cNvPr>
              <p:cNvSpPr/>
              <p:nvPr/>
            </p:nvSpPr>
            <p:spPr>
              <a:xfrm>
                <a:off x="8815726" y="3462333"/>
                <a:ext cx="8115" cy="3767"/>
              </a:xfrm>
              <a:custGeom>
                <a:avLst/>
                <a:gdLst>
                  <a:gd name="connsiteX0" fmla="*/ 0 w 8115"/>
                  <a:gd name="connsiteY0" fmla="*/ 2899 h 3767"/>
                  <a:gd name="connsiteX1" fmla="*/ 7536 w 8115"/>
                  <a:gd name="connsiteY1" fmla="*/ 3768 h 3767"/>
                  <a:gd name="connsiteX2" fmla="*/ 8115 w 8115"/>
                  <a:gd name="connsiteY2" fmla="*/ 1159 h 3767"/>
                  <a:gd name="connsiteX3" fmla="*/ 0 w 8115"/>
                  <a:gd name="connsiteY3" fmla="*/ 0 h 3767"/>
                  <a:gd name="connsiteX4" fmla="*/ 0 w 8115"/>
                  <a:gd name="connsiteY4" fmla="*/ 2609 h 37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15" h="3767">
                    <a:moveTo>
                      <a:pt x="0" y="2899"/>
                    </a:moveTo>
                    <a:cubicBezTo>
                      <a:pt x="2609" y="2899"/>
                      <a:pt x="5217" y="3478"/>
                      <a:pt x="7536" y="3768"/>
                    </a:cubicBezTo>
                    <a:lnTo>
                      <a:pt x="8115" y="1159"/>
                    </a:lnTo>
                    <a:cubicBezTo>
                      <a:pt x="5507" y="580"/>
                      <a:pt x="2898" y="290"/>
                      <a:pt x="0" y="0"/>
                    </a:cubicBezTo>
                    <a:lnTo>
                      <a:pt x="0" y="2609"/>
                    </a:lnTo>
                    <a:close/>
                  </a:path>
                </a:pathLst>
              </a:custGeom>
              <a:grpFill/>
              <a:ln w="0"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6AB8C72F-5DCB-EC8C-56D5-FAD36634A940}"/>
                  </a:ext>
                </a:extLst>
              </p:cNvPr>
              <p:cNvSpPr/>
              <p:nvPr/>
            </p:nvSpPr>
            <p:spPr>
              <a:xfrm>
                <a:off x="8831087" y="3465811"/>
                <a:ext cx="8405" cy="5217"/>
              </a:xfrm>
              <a:custGeom>
                <a:avLst/>
                <a:gdLst>
                  <a:gd name="connsiteX0" fmla="*/ 0 w 8405"/>
                  <a:gd name="connsiteY0" fmla="*/ 2319 h 5217"/>
                  <a:gd name="connsiteX1" fmla="*/ 7246 w 8405"/>
                  <a:gd name="connsiteY1" fmla="*/ 5218 h 5217"/>
                  <a:gd name="connsiteX2" fmla="*/ 8405 w 8405"/>
                  <a:gd name="connsiteY2" fmla="*/ 2899 h 5217"/>
                  <a:gd name="connsiteX3" fmla="*/ 870 w 8405"/>
                  <a:gd name="connsiteY3" fmla="*/ 0 h 5217"/>
                  <a:gd name="connsiteX4" fmla="*/ 0 w 8405"/>
                  <a:gd name="connsiteY4" fmla="*/ 2609 h 52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05" h="5217">
                    <a:moveTo>
                      <a:pt x="0" y="2319"/>
                    </a:moveTo>
                    <a:cubicBezTo>
                      <a:pt x="2319" y="3188"/>
                      <a:pt x="4927" y="4058"/>
                      <a:pt x="7246" y="5218"/>
                    </a:cubicBezTo>
                    <a:lnTo>
                      <a:pt x="8405" y="2899"/>
                    </a:lnTo>
                    <a:cubicBezTo>
                      <a:pt x="6087" y="1739"/>
                      <a:pt x="3478" y="580"/>
                      <a:pt x="870" y="0"/>
                    </a:cubicBezTo>
                    <a:lnTo>
                      <a:pt x="0" y="2609"/>
                    </a:lnTo>
                    <a:close/>
                  </a:path>
                </a:pathLst>
              </a:custGeom>
              <a:grpFill/>
              <a:ln w="0" cap="flat">
                <a:noFill/>
                <a:prstDash val="solid"/>
                <a:miter/>
              </a:ln>
            </p:spPr>
            <p:txBody>
              <a:bodyPr rtlCol="0" anchor="ctr"/>
              <a:lstStyle/>
              <a:p>
                <a:endParaRPr lang="en-US"/>
              </a:p>
            </p:txBody>
          </p:sp>
          <p:sp>
            <p:nvSpPr>
              <p:cNvPr id="41" name="Freeform 40">
                <a:extLst>
                  <a:ext uri="{FF2B5EF4-FFF2-40B4-BE49-F238E27FC236}">
                    <a16:creationId xmlns:a16="http://schemas.microsoft.com/office/drawing/2014/main" id="{E4E83379-E000-9A7C-5219-9C8A29FBF675}"/>
                  </a:ext>
                </a:extLst>
              </p:cNvPr>
              <p:cNvSpPr/>
              <p:nvPr/>
            </p:nvSpPr>
            <p:spPr>
              <a:xfrm>
                <a:off x="8784425" y="3462333"/>
                <a:ext cx="7825" cy="2608"/>
              </a:xfrm>
              <a:custGeom>
                <a:avLst/>
                <a:gdLst>
                  <a:gd name="connsiteX0" fmla="*/ 0 w 7825"/>
                  <a:gd name="connsiteY0" fmla="*/ 0 h 2608"/>
                  <a:gd name="connsiteX1" fmla="*/ 7825 w 7825"/>
                  <a:gd name="connsiteY1" fmla="*/ 0 h 2608"/>
                  <a:gd name="connsiteX2" fmla="*/ 7825 w 7825"/>
                  <a:gd name="connsiteY2" fmla="*/ 2609 h 2608"/>
                  <a:gd name="connsiteX3" fmla="*/ 0 w 7825"/>
                  <a:gd name="connsiteY3" fmla="*/ 2609 h 2608"/>
                </a:gdLst>
                <a:ahLst/>
                <a:cxnLst>
                  <a:cxn ang="0">
                    <a:pos x="connsiteX0" y="connsiteY0"/>
                  </a:cxn>
                  <a:cxn ang="0">
                    <a:pos x="connsiteX1" y="connsiteY1"/>
                  </a:cxn>
                  <a:cxn ang="0">
                    <a:pos x="connsiteX2" y="connsiteY2"/>
                  </a:cxn>
                  <a:cxn ang="0">
                    <a:pos x="connsiteX3" y="connsiteY3"/>
                  </a:cxn>
                </a:cxnLst>
                <a:rect l="l" t="t" r="r" b="b"/>
                <a:pathLst>
                  <a:path w="7825" h="2608">
                    <a:moveTo>
                      <a:pt x="0" y="0"/>
                    </a:moveTo>
                    <a:lnTo>
                      <a:pt x="7825" y="0"/>
                    </a:lnTo>
                    <a:lnTo>
                      <a:pt x="7825" y="2609"/>
                    </a:lnTo>
                    <a:lnTo>
                      <a:pt x="0" y="2609"/>
                    </a:lnTo>
                    <a:close/>
                  </a:path>
                </a:pathLst>
              </a:custGeom>
              <a:grpFill/>
              <a:ln w="0" cap="flat">
                <a:noFill/>
                <a:prstDash val="solid"/>
                <a:miter/>
              </a:ln>
            </p:spPr>
            <p:txBody>
              <a:bodyPr rtlCol="0" anchor="ctr"/>
              <a:lstStyle/>
              <a:p>
                <a:endParaRPr lang="en-US"/>
              </a:p>
            </p:txBody>
          </p:sp>
          <p:sp>
            <p:nvSpPr>
              <p:cNvPr id="42" name="Freeform 41">
                <a:extLst>
                  <a:ext uri="{FF2B5EF4-FFF2-40B4-BE49-F238E27FC236}">
                    <a16:creationId xmlns:a16="http://schemas.microsoft.com/office/drawing/2014/main" id="{763ABFA2-6066-6262-2C18-ED933A71E1E6}"/>
                  </a:ext>
                </a:extLst>
              </p:cNvPr>
              <p:cNvSpPr/>
              <p:nvPr/>
            </p:nvSpPr>
            <p:spPr>
              <a:xfrm>
                <a:off x="8736893" y="3462333"/>
                <a:ext cx="7825" cy="2608"/>
              </a:xfrm>
              <a:custGeom>
                <a:avLst/>
                <a:gdLst>
                  <a:gd name="connsiteX0" fmla="*/ 0 w 7825"/>
                  <a:gd name="connsiteY0" fmla="*/ 0 h 2608"/>
                  <a:gd name="connsiteX1" fmla="*/ 7825 w 7825"/>
                  <a:gd name="connsiteY1" fmla="*/ 0 h 2608"/>
                  <a:gd name="connsiteX2" fmla="*/ 7825 w 7825"/>
                  <a:gd name="connsiteY2" fmla="*/ 2609 h 2608"/>
                  <a:gd name="connsiteX3" fmla="*/ 0 w 7825"/>
                  <a:gd name="connsiteY3" fmla="*/ 2609 h 2608"/>
                </a:gdLst>
                <a:ahLst/>
                <a:cxnLst>
                  <a:cxn ang="0">
                    <a:pos x="connsiteX0" y="connsiteY0"/>
                  </a:cxn>
                  <a:cxn ang="0">
                    <a:pos x="connsiteX1" y="connsiteY1"/>
                  </a:cxn>
                  <a:cxn ang="0">
                    <a:pos x="connsiteX2" y="connsiteY2"/>
                  </a:cxn>
                  <a:cxn ang="0">
                    <a:pos x="connsiteX3" y="connsiteY3"/>
                  </a:cxn>
                </a:cxnLst>
                <a:rect l="l" t="t" r="r" b="b"/>
                <a:pathLst>
                  <a:path w="7825" h="2608">
                    <a:moveTo>
                      <a:pt x="0" y="0"/>
                    </a:moveTo>
                    <a:lnTo>
                      <a:pt x="7825" y="0"/>
                    </a:lnTo>
                    <a:lnTo>
                      <a:pt x="7825" y="2609"/>
                    </a:lnTo>
                    <a:lnTo>
                      <a:pt x="0" y="2609"/>
                    </a:lnTo>
                    <a:close/>
                  </a:path>
                </a:pathLst>
              </a:custGeom>
              <a:grpFill/>
              <a:ln w="0" cap="flat">
                <a:noFill/>
                <a:prstDash val="solid"/>
                <a:miter/>
              </a:ln>
            </p:spPr>
            <p:txBody>
              <a:bodyPr rtlCol="0" anchor="ctr"/>
              <a:lstStyle/>
              <a:p>
                <a:endParaRPr lang="en-US"/>
              </a:p>
            </p:txBody>
          </p:sp>
          <p:sp>
            <p:nvSpPr>
              <p:cNvPr id="43" name="Freeform 42">
                <a:extLst>
                  <a:ext uri="{FF2B5EF4-FFF2-40B4-BE49-F238E27FC236}">
                    <a16:creationId xmlns:a16="http://schemas.microsoft.com/office/drawing/2014/main" id="{F328CF47-4661-7F9F-58AE-99F46FF0AB0A}"/>
                  </a:ext>
                </a:extLst>
              </p:cNvPr>
              <p:cNvSpPr/>
              <p:nvPr/>
            </p:nvSpPr>
            <p:spPr>
              <a:xfrm>
                <a:off x="8800076" y="3462333"/>
                <a:ext cx="7825" cy="2608"/>
              </a:xfrm>
              <a:custGeom>
                <a:avLst/>
                <a:gdLst>
                  <a:gd name="connsiteX0" fmla="*/ 0 w 7825"/>
                  <a:gd name="connsiteY0" fmla="*/ 0 h 2608"/>
                  <a:gd name="connsiteX1" fmla="*/ 7825 w 7825"/>
                  <a:gd name="connsiteY1" fmla="*/ 0 h 2608"/>
                  <a:gd name="connsiteX2" fmla="*/ 7825 w 7825"/>
                  <a:gd name="connsiteY2" fmla="*/ 2609 h 2608"/>
                  <a:gd name="connsiteX3" fmla="*/ 0 w 7825"/>
                  <a:gd name="connsiteY3" fmla="*/ 2609 h 2608"/>
                </a:gdLst>
                <a:ahLst/>
                <a:cxnLst>
                  <a:cxn ang="0">
                    <a:pos x="connsiteX0" y="connsiteY0"/>
                  </a:cxn>
                  <a:cxn ang="0">
                    <a:pos x="connsiteX1" y="connsiteY1"/>
                  </a:cxn>
                  <a:cxn ang="0">
                    <a:pos x="connsiteX2" y="connsiteY2"/>
                  </a:cxn>
                  <a:cxn ang="0">
                    <a:pos x="connsiteX3" y="connsiteY3"/>
                  </a:cxn>
                </a:cxnLst>
                <a:rect l="l" t="t" r="r" b="b"/>
                <a:pathLst>
                  <a:path w="7825" h="2608">
                    <a:moveTo>
                      <a:pt x="0" y="0"/>
                    </a:moveTo>
                    <a:lnTo>
                      <a:pt x="7825" y="0"/>
                    </a:lnTo>
                    <a:lnTo>
                      <a:pt x="7825" y="2609"/>
                    </a:lnTo>
                    <a:lnTo>
                      <a:pt x="0" y="2609"/>
                    </a:lnTo>
                    <a:close/>
                  </a:path>
                </a:pathLst>
              </a:custGeom>
              <a:grpFill/>
              <a:ln w="0" cap="flat">
                <a:noFill/>
                <a:prstDash val="solid"/>
                <a:miter/>
              </a:ln>
            </p:spPr>
            <p:txBody>
              <a:bodyPr rtlCol="0" anchor="ctr"/>
              <a:lstStyle/>
              <a:p>
                <a:endParaRPr lang="en-US"/>
              </a:p>
            </p:txBody>
          </p:sp>
          <p:sp>
            <p:nvSpPr>
              <p:cNvPr id="44" name="Freeform 43">
                <a:extLst>
                  <a:ext uri="{FF2B5EF4-FFF2-40B4-BE49-F238E27FC236}">
                    <a16:creationId xmlns:a16="http://schemas.microsoft.com/office/drawing/2014/main" id="{C6DAC499-93E9-F045-EB93-972A11FD2B63}"/>
                  </a:ext>
                </a:extLst>
              </p:cNvPr>
              <p:cNvSpPr/>
              <p:nvPr/>
            </p:nvSpPr>
            <p:spPr>
              <a:xfrm>
                <a:off x="8752834" y="3462333"/>
                <a:ext cx="7825" cy="2608"/>
              </a:xfrm>
              <a:custGeom>
                <a:avLst/>
                <a:gdLst>
                  <a:gd name="connsiteX0" fmla="*/ 0 w 7825"/>
                  <a:gd name="connsiteY0" fmla="*/ 0 h 2608"/>
                  <a:gd name="connsiteX1" fmla="*/ 7825 w 7825"/>
                  <a:gd name="connsiteY1" fmla="*/ 0 h 2608"/>
                  <a:gd name="connsiteX2" fmla="*/ 7825 w 7825"/>
                  <a:gd name="connsiteY2" fmla="*/ 2609 h 2608"/>
                  <a:gd name="connsiteX3" fmla="*/ 0 w 7825"/>
                  <a:gd name="connsiteY3" fmla="*/ 2609 h 2608"/>
                </a:gdLst>
                <a:ahLst/>
                <a:cxnLst>
                  <a:cxn ang="0">
                    <a:pos x="connsiteX0" y="connsiteY0"/>
                  </a:cxn>
                  <a:cxn ang="0">
                    <a:pos x="connsiteX1" y="connsiteY1"/>
                  </a:cxn>
                  <a:cxn ang="0">
                    <a:pos x="connsiteX2" y="connsiteY2"/>
                  </a:cxn>
                  <a:cxn ang="0">
                    <a:pos x="connsiteX3" y="connsiteY3"/>
                  </a:cxn>
                </a:cxnLst>
                <a:rect l="l" t="t" r="r" b="b"/>
                <a:pathLst>
                  <a:path w="7825" h="2608">
                    <a:moveTo>
                      <a:pt x="0" y="0"/>
                    </a:moveTo>
                    <a:lnTo>
                      <a:pt x="7825" y="0"/>
                    </a:lnTo>
                    <a:lnTo>
                      <a:pt x="7825" y="2609"/>
                    </a:lnTo>
                    <a:lnTo>
                      <a:pt x="0" y="2609"/>
                    </a:lnTo>
                    <a:close/>
                  </a:path>
                </a:pathLst>
              </a:custGeom>
              <a:grpFill/>
              <a:ln w="0" cap="flat">
                <a:noFill/>
                <a:prstDash val="solid"/>
                <a:miter/>
              </a:ln>
            </p:spPr>
            <p:txBody>
              <a:bodyPr rtlCol="0" anchor="ctr"/>
              <a:lstStyle/>
              <a:p>
                <a:endParaRPr lang="en-US"/>
              </a:p>
            </p:txBody>
          </p:sp>
          <p:sp>
            <p:nvSpPr>
              <p:cNvPr id="45" name="Freeform 44">
                <a:extLst>
                  <a:ext uri="{FF2B5EF4-FFF2-40B4-BE49-F238E27FC236}">
                    <a16:creationId xmlns:a16="http://schemas.microsoft.com/office/drawing/2014/main" id="{48D3689A-7972-AA17-ABF3-52CA6AABA14A}"/>
                  </a:ext>
                </a:extLst>
              </p:cNvPr>
              <p:cNvSpPr/>
              <p:nvPr/>
            </p:nvSpPr>
            <p:spPr>
              <a:xfrm>
                <a:off x="8768484" y="3462333"/>
                <a:ext cx="7825" cy="2608"/>
              </a:xfrm>
              <a:custGeom>
                <a:avLst/>
                <a:gdLst>
                  <a:gd name="connsiteX0" fmla="*/ 0 w 7825"/>
                  <a:gd name="connsiteY0" fmla="*/ 0 h 2608"/>
                  <a:gd name="connsiteX1" fmla="*/ 7825 w 7825"/>
                  <a:gd name="connsiteY1" fmla="*/ 0 h 2608"/>
                  <a:gd name="connsiteX2" fmla="*/ 7825 w 7825"/>
                  <a:gd name="connsiteY2" fmla="*/ 2609 h 2608"/>
                  <a:gd name="connsiteX3" fmla="*/ 0 w 7825"/>
                  <a:gd name="connsiteY3" fmla="*/ 2609 h 2608"/>
                </a:gdLst>
                <a:ahLst/>
                <a:cxnLst>
                  <a:cxn ang="0">
                    <a:pos x="connsiteX0" y="connsiteY0"/>
                  </a:cxn>
                  <a:cxn ang="0">
                    <a:pos x="connsiteX1" y="connsiteY1"/>
                  </a:cxn>
                  <a:cxn ang="0">
                    <a:pos x="connsiteX2" y="connsiteY2"/>
                  </a:cxn>
                  <a:cxn ang="0">
                    <a:pos x="connsiteX3" y="connsiteY3"/>
                  </a:cxn>
                </a:cxnLst>
                <a:rect l="l" t="t" r="r" b="b"/>
                <a:pathLst>
                  <a:path w="7825" h="2608">
                    <a:moveTo>
                      <a:pt x="0" y="0"/>
                    </a:moveTo>
                    <a:lnTo>
                      <a:pt x="7825" y="0"/>
                    </a:lnTo>
                    <a:lnTo>
                      <a:pt x="7825" y="2609"/>
                    </a:lnTo>
                    <a:lnTo>
                      <a:pt x="0" y="2609"/>
                    </a:lnTo>
                    <a:close/>
                  </a:path>
                </a:pathLst>
              </a:custGeom>
              <a:grpFill/>
              <a:ln w="0" cap="flat">
                <a:noFill/>
                <a:prstDash val="solid"/>
                <a:miter/>
              </a:ln>
            </p:spPr>
            <p:txBody>
              <a:bodyPr rtlCol="0" anchor="ctr"/>
              <a:lstStyle/>
              <a:p>
                <a:endParaRPr lang="en-US"/>
              </a:p>
            </p:txBody>
          </p:sp>
          <p:sp>
            <p:nvSpPr>
              <p:cNvPr id="46" name="Freeform 45">
                <a:extLst>
                  <a:ext uri="{FF2B5EF4-FFF2-40B4-BE49-F238E27FC236}">
                    <a16:creationId xmlns:a16="http://schemas.microsoft.com/office/drawing/2014/main" id="{C902634D-1673-640B-36C1-BB342D19DBC7}"/>
                  </a:ext>
                </a:extLst>
              </p:cNvPr>
              <p:cNvSpPr/>
              <p:nvPr/>
            </p:nvSpPr>
            <p:spPr>
              <a:xfrm>
                <a:off x="8865576" y="3496246"/>
                <a:ext cx="5506" cy="8116"/>
              </a:xfrm>
              <a:custGeom>
                <a:avLst/>
                <a:gdLst>
                  <a:gd name="connsiteX0" fmla="*/ 2318 w 5506"/>
                  <a:gd name="connsiteY0" fmla="*/ 0 h 8116"/>
                  <a:gd name="connsiteX1" fmla="*/ 0 w 5506"/>
                  <a:gd name="connsiteY1" fmla="*/ 1159 h 8116"/>
                  <a:gd name="connsiteX2" fmla="*/ 3188 w 5506"/>
                  <a:gd name="connsiteY2" fmla="*/ 8116 h 8116"/>
                  <a:gd name="connsiteX3" fmla="*/ 5506 w 5506"/>
                  <a:gd name="connsiteY3" fmla="*/ 7246 h 8116"/>
                  <a:gd name="connsiteX4" fmla="*/ 2318 w 5506"/>
                  <a:gd name="connsiteY4" fmla="*/ 0 h 81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06" h="8116">
                    <a:moveTo>
                      <a:pt x="2318" y="0"/>
                    </a:moveTo>
                    <a:lnTo>
                      <a:pt x="0" y="1159"/>
                    </a:lnTo>
                    <a:cubicBezTo>
                      <a:pt x="1159" y="3478"/>
                      <a:pt x="2318" y="5797"/>
                      <a:pt x="3188" y="8116"/>
                    </a:cubicBezTo>
                    <a:lnTo>
                      <a:pt x="5506" y="7246"/>
                    </a:lnTo>
                    <a:cubicBezTo>
                      <a:pt x="4637" y="4638"/>
                      <a:pt x="3478" y="2319"/>
                      <a:pt x="2318" y="0"/>
                    </a:cubicBezTo>
                    <a:close/>
                  </a:path>
                </a:pathLst>
              </a:custGeom>
              <a:grpFill/>
              <a:ln w="0" cap="flat">
                <a:noFill/>
                <a:prstDash val="solid"/>
                <a:miter/>
              </a:ln>
            </p:spPr>
            <p:txBody>
              <a:bodyPr rtlCol="0" anchor="ctr"/>
              <a:lstStyle/>
              <a:p>
                <a:endParaRPr lang="en-US"/>
              </a:p>
            </p:txBody>
          </p:sp>
          <p:sp>
            <p:nvSpPr>
              <p:cNvPr id="47" name="Freeform 46">
                <a:extLst>
                  <a:ext uri="{FF2B5EF4-FFF2-40B4-BE49-F238E27FC236}">
                    <a16:creationId xmlns:a16="http://schemas.microsoft.com/office/drawing/2014/main" id="{181B4D4E-DB27-F09A-396F-5A0D678F48C8}"/>
                  </a:ext>
                </a:extLst>
              </p:cNvPr>
              <p:cNvSpPr/>
              <p:nvPr/>
            </p:nvSpPr>
            <p:spPr>
              <a:xfrm>
                <a:off x="8872532" y="3542913"/>
                <a:ext cx="2608" cy="8116"/>
              </a:xfrm>
              <a:custGeom>
                <a:avLst/>
                <a:gdLst>
                  <a:gd name="connsiteX0" fmla="*/ 0 w 2608"/>
                  <a:gd name="connsiteY0" fmla="*/ 0 h 8116"/>
                  <a:gd name="connsiteX1" fmla="*/ 0 w 2608"/>
                  <a:gd name="connsiteY1" fmla="*/ 7826 h 8116"/>
                  <a:gd name="connsiteX2" fmla="*/ 0 w 2608"/>
                  <a:gd name="connsiteY2" fmla="*/ 8116 h 8116"/>
                  <a:gd name="connsiteX3" fmla="*/ 2608 w 2608"/>
                  <a:gd name="connsiteY3" fmla="*/ 8116 h 8116"/>
                  <a:gd name="connsiteX4" fmla="*/ 2608 w 2608"/>
                  <a:gd name="connsiteY4" fmla="*/ 7826 h 8116"/>
                  <a:gd name="connsiteX5" fmla="*/ 2608 w 2608"/>
                  <a:gd name="connsiteY5" fmla="*/ 0 h 8116"/>
                  <a:gd name="connsiteX6" fmla="*/ 2608 w 2608"/>
                  <a:gd name="connsiteY6" fmla="*/ 0 h 8116"/>
                  <a:gd name="connsiteX7" fmla="*/ 0 w 2608"/>
                  <a:gd name="connsiteY7" fmla="*/ 0 h 8116"/>
                  <a:gd name="connsiteX8" fmla="*/ 0 w 2608"/>
                  <a:gd name="connsiteY8" fmla="*/ 0 h 8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08" h="8116">
                    <a:moveTo>
                      <a:pt x="0" y="0"/>
                    </a:moveTo>
                    <a:lnTo>
                      <a:pt x="0" y="7826"/>
                    </a:lnTo>
                    <a:lnTo>
                      <a:pt x="0" y="8116"/>
                    </a:lnTo>
                    <a:lnTo>
                      <a:pt x="2608" y="8116"/>
                    </a:lnTo>
                    <a:lnTo>
                      <a:pt x="2608" y="7826"/>
                    </a:lnTo>
                    <a:lnTo>
                      <a:pt x="2608" y="0"/>
                    </a:lnTo>
                    <a:lnTo>
                      <a:pt x="2608" y="0"/>
                    </a:lnTo>
                    <a:lnTo>
                      <a:pt x="0" y="0"/>
                    </a:lnTo>
                    <a:lnTo>
                      <a:pt x="0" y="0"/>
                    </a:lnTo>
                    <a:close/>
                  </a:path>
                </a:pathLst>
              </a:custGeom>
              <a:grpFill/>
              <a:ln w="0" cap="flat">
                <a:noFill/>
                <a:prstDash val="solid"/>
                <a:miter/>
              </a:ln>
            </p:spPr>
            <p:txBody>
              <a:bodyPr rtlCol="0" anchor="ctr"/>
              <a:lstStyle/>
              <a:p>
                <a:endParaRPr lang="en-US"/>
              </a:p>
            </p:txBody>
          </p:sp>
          <p:sp>
            <p:nvSpPr>
              <p:cNvPr id="48" name="Freeform 47">
                <a:extLst>
                  <a:ext uri="{FF2B5EF4-FFF2-40B4-BE49-F238E27FC236}">
                    <a16:creationId xmlns:a16="http://schemas.microsoft.com/office/drawing/2014/main" id="{73C343B0-8C2A-9D66-A518-DCB577B7BEE1}"/>
                  </a:ext>
                </a:extLst>
              </p:cNvPr>
              <p:cNvSpPr/>
              <p:nvPr/>
            </p:nvSpPr>
            <p:spPr>
              <a:xfrm>
                <a:off x="8872532" y="3558855"/>
                <a:ext cx="2608" cy="7826"/>
              </a:xfrm>
              <a:custGeom>
                <a:avLst/>
                <a:gdLst>
                  <a:gd name="connsiteX0" fmla="*/ 0 w 2608"/>
                  <a:gd name="connsiteY0" fmla="*/ 0 h 7826"/>
                  <a:gd name="connsiteX1" fmla="*/ 0 w 2608"/>
                  <a:gd name="connsiteY1" fmla="*/ 7826 h 7826"/>
                  <a:gd name="connsiteX2" fmla="*/ 0 w 2608"/>
                  <a:gd name="connsiteY2" fmla="*/ 7826 h 7826"/>
                  <a:gd name="connsiteX3" fmla="*/ 2608 w 2608"/>
                  <a:gd name="connsiteY3" fmla="*/ 7826 h 7826"/>
                  <a:gd name="connsiteX4" fmla="*/ 2608 w 2608"/>
                  <a:gd name="connsiteY4" fmla="*/ 7826 h 7826"/>
                  <a:gd name="connsiteX5" fmla="*/ 2608 w 2608"/>
                  <a:gd name="connsiteY5" fmla="*/ 0 h 7826"/>
                  <a:gd name="connsiteX6" fmla="*/ 2608 w 2608"/>
                  <a:gd name="connsiteY6" fmla="*/ 0 h 7826"/>
                  <a:gd name="connsiteX7" fmla="*/ 0 w 2608"/>
                  <a:gd name="connsiteY7" fmla="*/ 0 h 7826"/>
                  <a:gd name="connsiteX8" fmla="*/ 0 w 2608"/>
                  <a:gd name="connsiteY8" fmla="*/ 0 h 7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08" h="7826">
                    <a:moveTo>
                      <a:pt x="0" y="0"/>
                    </a:moveTo>
                    <a:lnTo>
                      <a:pt x="0" y="7826"/>
                    </a:lnTo>
                    <a:lnTo>
                      <a:pt x="0" y="7826"/>
                    </a:lnTo>
                    <a:lnTo>
                      <a:pt x="2608" y="7826"/>
                    </a:lnTo>
                    <a:lnTo>
                      <a:pt x="2608" y="7826"/>
                    </a:lnTo>
                    <a:lnTo>
                      <a:pt x="2608" y="0"/>
                    </a:lnTo>
                    <a:lnTo>
                      <a:pt x="2608" y="0"/>
                    </a:lnTo>
                    <a:lnTo>
                      <a:pt x="0" y="0"/>
                    </a:lnTo>
                    <a:lnTo>
                      <a:pt x="0" y="0"/>
                    </a:lnTo>
                    <a:close/>
                  </a:path>
                </a:pathLst>
              </a:custGeom>
              <a:grpFill/>
              <a:ln w="0" cap="flat">
                <a:noFill/>
                <a:prstDash val="solid"/>
                <a:miter/>
              </a:ln>
            </p:spPr>
            <p:txBody>
              <a:bodyPr rtlCol="0" anchor="ctr"/>
              <a:lstStyle/>
              <a:p>
                <a:endParaRPr lang="en-US"/>
              </a:p>
            </p:txBody>
          </p:sp>
          <p:sp>
            <p:nvSpPr>
              <p:cNvPr id="49" name="Freeform 48">
                <a:extLst>
                  <a:ext uri="{FF2B5EF4-FFF2-40B4-BE49-F238E27FC236}">
                    <a16:creationId xmlns:a16="http://schemas.microsoft.com/office/drawing/2014/main" id="{629021E7-2185-EF25-5220-3C563B0F5BFB}"/>
                  </a:ext>
                </a:extLst>
              </p:cNvPr>
              <p:cNvSpPr/>
              <p:nvPr/>
            </p:nvSpPr>
            <p:spPr>
              <a:xfrm>
                <a:off x="8872532" y="3527261"/>
                <a:ext cx="2608" cy="7825"/>
              </a:xfrm>
              <a:custGeom>
                <a:avLst/>
                <a:gdLst>
                  <a:gd name="connsiteX0" fmla="*/ 0 w 2608"/>
                  <a:gd name="connsiteY0" fmla="*/ 0 h 7825"/>
                  <a:gd name="connsiteX1" fmla="*/ 0 w 2608"/>
                  <a:gd name="connsiteY1" fmla="*/ 7826 h 7825"/>
                  <a:gd name="connsiteX2" fmla="*/ 0 w 2608"/>
                  <a:gd name="connsiteY2" fmla="*/ 7826 h 7825"/>
                  <a:gd name="connsiteX3" fmla="*/ 2608 w 2608"/>
                  <a:gd name="connsiteY3" fmla="*/ 7826 h 7825"/>
                  <a:gd name="connsiteX4" fmla="*/ 2608 w 2608"/>
                  <a:gd name="connsiteY4" fmla="*/ 7826 h 7825"/>
                  <a:gd name="connsiteX5" fmla="*/ 2608 w 2608"/>
                  <a:gd name="connsiteY5" fmla="*/ 0 h 7825"/>
                  <a:gd name="connsiteX6" fmla="*/ 2608 w 2608"/>
                  <a:gd name="connsiteY6" fmla="*/ 0 h 7825"/>
                  <a:gd name="connsiteX7" fmla="*/ 0 w 2608"/>
                  <a:gd name="connsiteY7" fmla="*/ 0 h 7825"/>
                  <a:gd name="connsiteX8" fmla="*/ 0 w 2608"/>
                  <a:gd name="connsiteY8" fmla="*/ 0 h 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08" h="7825">
                    <a:moveTo>
                      <a:pt x="0" y="0"/>
                    </a:moveTo>
                    <a:lnTo>
                      <a:pt x="0" y="7826"/>
                    </a:lnTo>
                    <a:lnTo>
                      <a:pt x="0" y="7826"/>
                    </a:lnTo>
                    <a:lnTo>
                      <a:pt x="2608" y="7826"/>
                    </a:lnTo>
                    <a:lnTo>
                      <a:pt x="2608" y="7826"/>
                    </a:lnTo>
                    <a:lnTo>
                      <a:pt x="2608" y="0"/>
                    </a:lnTo>
                    <a:lnTo>
                      <a:pt x="2608" y="0"/>
                    </a:lnTo>
                    <a:lnTo>
                      <a:pt x="0" y="0"/>
                    </a:lnTo>
                    <a:lnTo>
                      <a:pt x="0" y="0"/>
                    </a:lnTo>
                    <a:close/>
                  </a:path>
                </a:pathLst>
              </a:custGeom>
              <a:grpFill/>
              <a:ln w="0" cap="flat">
                <a:noFill/>
                <a:prstDash val="solid"/>
                <a:miter/>
              </a:ln>
            </p:spPr>
            <p:txBody>
              <a:bodyPr rtlCol="0" anchor="ctr"/>
              <a:lstStyle/>
              <a:p>
                <a:endParaRPr lang="en-US"/>
              </a:p>
            </p:txBody>
          </p:sp>
          <p:sp>
            <p:nvSpPr>
              <p:cNvPr id="50" name="Freeform 49">
                <a:extLst>
                  <a:ext uri="{FF2B5EF4-FFF2-40B4-BE49-F238E27FC236}">
                    <a16:creationId xmlns:a16="http://schemas.microsoft.com/office/drawing/2014/main" id="{5E393C64-3466-8473-D5A5-ECD09D049F17}"/>
                  </a:ext>
                </a:extLst>
              </p:cNvPr>
              <p:cNvSpPr/>
              <p:nvPr/>
            </p:nvSpPr>
            <p:spPr>
              <a:xfrm>
                <a:off x="8870793" y="3511319"/>
                <a:ext cx="4347" cy="8115"/>
              </a:xfrm>
              <a:custGeom>
                <a:avLst/>
                <a:gdLst>
                  <a:gd name="connsiteX0" fmla="*/ 2609 w 4347"/>
                  <a:gd name="connsiteY0" fmla="*/ 0 h 8115"/>
                  <a:gd name="connsiteX1" fmla="*/ 0 w 4347"/>
                  <a:gd name="connsiteY1" fmla="*/ 580 h 8115"/>
                  <a:gd name="connsiteX2" fmla="*/ 1160 w 4347"/>
                  <a:gd name="connsiteY2" fmla="*/ 8116 h 8115"/>
                  <a:gd name="connsiteX3" fmla="*/ 1739 w 4347"/>
                  <a:gd name="connsiteY3" fmla="*/ 8116 h 8115"/>
                  <a:gd name="connsiteX4" fmla="*/ 4347 w 4347"/>
                  <a:gd name="connsiteY4" fmla="*/ 8116 h 8115"/>
                  <a:gd name="connsiteX5" fmla="*/ 4347 w 4347"/>
                  <a:gd name="connsiteY5" fmla="*/ 290 h 8115"/>
                  <a:gd name="connsiteX6" fmla="*/ 2609 w 4347"/>
                  <a:gd name="connsiteY6" fmla="*/ 290 h 8115"/>
                  <a:gd name="connsiteX7" fmla="*/ 2609 w 4347"/>
                  <a:gd name="connsiteY7" fmla="*/ 290 h 8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47" h="8115">
                    <a:moveTo>
                      <a:pt x="2609" y="0"/>
                    </a:moveTo>
                    <a:lnTo>
                      <a:pt x="0" y="580"/>
                    </a:lnTo>
                    <a:cubicBezTo>
                      <a:pt x="580" y="3188"/>
                      <a:pt x="1160" y="5507"/>
                      <a:pt x="1160" y="8116"/>
                    </a:cubicBezTo>
                    <a:lnTo>
                      <a:pt x="1739" y="8116"/>
                    </a:lnTo>
                    <a:cubicBezTo>
                      <a:pt x="1739" y="8116"/>
                      <a:pt x="4347" y="8116"/>
                      <a:pt x="4347" y="8116"/>
                    </a:cubicBezTo>
                    <a:lnTo>
                      <a:pt x="4347" y="290"/>
                    </a:lnTo>
                    <a:lnTo>
                      <a:pt x="2609" y="290"/>
                    </a:lnTo>
                    <a:cubicBezTo>
                      <a:pt x="2609" y="290"/>
                      <a:pt x="2609" y="290"/>
                      <a:pt x="2609" y="290"/>
                    </a:cubicBezTo>
                    <a:close/>
                  </a:path>
                </a:pathLst>
              </a:custGeom>
              <a:grpFill/>
              <a:ln w="0" cap="flat">
                <a:noFill/>
                <a:prstDash val="solid"/>
                <a:miter/>
              </a:ln>
            </p:spPr>
            <p:txBody>
              <a:bodyPr rtlCol="0" anchor="ctr"/>
              <a:lstStyle/>
              <a:p>
                <a:endParaRPr lang="en-US"/>
              </a:p>
            </p:txBody>
          </p:sp>
          <p:sp>
            <p:nvSpPr>
              <p:cNvPr id="51" name="Freeform 50">
                <a:extLst>
                  <a:ext uri="{FF2B5EF4-FFF2-40B4-BE49-F238E27FC236}">
                    <a16:creationId xmlns:a16="http://schemas.microsoft.com/office/drawing/2014/main" id="{0F0919AA-249D-BD27-7FD6-5C7BC318E7F0}"/>
                  </a:ext>
                </a:extLst>
              </p:cNvPr>
              <p:cNvSpPr/>
              <p:nvPr/>
            </p:nvSpPr>
            <p:spPr>
              <a:xfrm>
                <a:off x="8872532" y="3574508"/>
                <a:ext cx="2608" cy="8116"/>
              </a:xfrm>
              <a:custGeom>
                <a:avLst/>
                <a:gdLst>
                  <a:gd name="connsiteX0" fmla="*/ 0 w 2608"/>
                  <a:gd name="connsiteY0" fmla="*/ 0 h 8116"/>
                  <a:gd name="connsiteX1" fmla="*/ 0 w 2608"/>
                  <a:gd name="connsiteY1" fmla="*/ 7826 h 8116"/>
                  <a:gd name="connsiteX2" fmla="*/ 0 w 2608"/>
                  <a:gd name="connsiteY2" fmla="*/ 8116 h 8116"/>
                  <a:gd name="connsiteX3" fmla="*/ 2608 w 2608"/>
                  <a:gd name="connsiteY3" fmla="*/ 8116 h 8116"/>
                  <a:gd name="connsiteX4" fmla="*/ 2608 w 2608"/>
                  <a:gd name="connsiteY4" fmla="*/ 7826 h 8116"/>
                  <a:gd name="connsiteX5" fmla="*/ 2608 w 2608"/>
                  <a:gd name="connsiteY5" fmla="*/ 0 h 8116"/>
                  <a:gd name="connsiteX6" fmla="*/ 2608 w 2608"/>
                  <a:gd name="connsiteY6" fmla="*/ 0 h 8116"/>
                  <a:gd name="connsiteX7" fmla="*/ 0 w 2608"/>
                  <a:gd name="connsiteY7" fmla="*/ 0 h 8116"/>
                  <a:gd name="connsiteX8" fmla="*/ 0 w 2608"/>
                  <a:gd name="connsiteY8" fmla="*/ 0 h 8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08" h="8116">
                    <a:moveTo>
                      <a:pt x="0" y="0"/>
                    </a:moveTo>
                    <a:lnTo>
                      <a:pt x="0" y="7826"/>
                    </a:lnTo>
                    <a:lnTo>
                      <a:pt x="0" y="8116"/>
                    </a:lnTo>
                    <a:lnTo>
                      <a:pt x="2608" y="8116"/>
                    </a:lnTo>
                    <a:lnTo>
                      <a:pt x="2608" y="7826"/>
                    </a:lnTo>
                    <a:lnTo>
                      <a:pt x="2608" y="0"/>
                    </a:lnTo>
                    <a:lnTo>
                      <a:pt x="2608" y="0"/>
                    </a:lnTo>
                    <a:lnTo>
                      <a:pt x="0" y="0"/>
                    </a:lnTo>
                    <a:lnTo>
                      <a:pt x="0" y="0"/>
                    </a:lnTo>
                    <a:close/>
                  </a:path>
                </a:pathLst>
              </a:custGeom>
              <a:grpFill/>
              <a:ln w="0" cap="flat">
                <a:noFill/>
                <a:prstDash val="solid"/>
                <a:miter/>
              </a:ln>
            </p:spPr>
            <p:txBody>
              <a:bodyPr rtlCol="0" anchor="ctr"/>
              <a:lstStyle/>
              <a:p>
                <a:endParaRPr lang="en-US"/>
              </a:p>
            </p:txBody>
          </p:sp>
          <p:sp>
            <p:nvSpPr>
              <p:cNvPr id="52" name="Freeform 51">
                <a:extLst>
                  <a:ext uri="{FF2B5EF4-FFF2-40B4-BE49-F238E27FC236}">
                    <a16:creationId xmlns:a16="http://schemas.microsoft.com/office/drawing/2014/main" id="{A0FC5BA2-4F0A-A7BD-7EE6-D4BF37849023}"/>
                  </a:ext>
                </a:extLst>
              </p:cNvPr>
              <p:cNvSpPr/>
              <p:nvPr/>
            </p:nvSpPr>
            <p:spPr>
              <a:xfrm>
                <a:off x="8721243" y="3462333"/>
                <a:ext cx="7825" cy="2608"/>
              </a:xfrm>
              <a:custGeom>
                <a:avLst/>
                <a:gdLst>
                  <a:gd name="connsiteX0" fmla="*/ 0 w 7825"/>
                  <a:gd name="connsiteY0" fmla="*/ 0 h 2608"/>
                  <a:gd name="connsiteX1" fmla="*/ 7825 w 7825"/>
                  <a:gd name="connsiteY1" fmla="*/ 0 h 2608"/>
                  <a:gd name="connsiteX2" fmla="*/ 7825 w 7825"/>
                  <a:gd name="connsiteY2" fmla="*/ 2609 h 2608"/>
                  <a:gd name="connsiteX3" fmla="*/ 0 w 7825"/>
                  <a:gd name="connsiteY3" fmla="*/ 2609 h 2608"/>
                </a:gdLst>
                <a:ahLst/>
                <a:cxnLst>
                  <a:cxn ang="0">
                    <a:pos x="connsiteX0" y="connsiteY0"/>
                  </a:cxn>
                  <a:cxn ang="0">
                    <a:pos x="connsiteX1" y="connsiteY1"/>
                  </a:cxn>
                  <a:cxn ang="0">
                    <a:pos x="connsiteX2" y="connsiteY2"/>
                  </a:cxn>
                  <a:cxn ang="0">
                    <a:pos x="connsiteX3" y="connsiteY3"/>
                  </a:cxn>
                </a:cxnLst>
                <a:rect l="l" t="t" r="r" b="b"/>
                <a:pathLst>
                  <a:path w="7825" h="2608">
                    <a:moveTo>
                      <a:pt x="0" y="0"/>
                    </a:moveTo>
                    <a:lnTo>
                      <a:pt x="7825" y="0"/>
                    </a:lnTo>
                    <a:lnTo>
                      <a:pt x="7825" y="2609"/>
                    </a:lnTo>
                    <a:lnTo>
                      <a:pt x="0" y="2609"/>
                    </a:lnTo>
                    <a:close/>
                  </a:path>
                </a:pathLst>
              </a:custGeom>
              <a:grpFill/>
              <a:ln w="0" cap="flat">
                <a:noFill/>
                <a:prstDash val="solid"/>
                <a:miter/>
              </a:ln>
            </p:spPr>
            <p:txBody>
              <a:bodyPr rtlCol="0" anchor="ctr"/>
              <a:lstStyle/>
              <a:p>
                <a:endParaRPr lang="en-US"/>
              </a:p>
            </p:txBody>
          </p:sp>
          <p:sp>
            <p:nvSpPr>
              <p:cNvPr id="53" name="Freeform 52">
                <a:extLst>
                  <a:ext uri="{FF2B5EF4-FFF2-40B4-BE49-F238E27FC236}">
                    <a16:creationId xmlns:a16="http://schemas.microsoft.com/office/drawing/2014/main" id="{E5800331-1A5D-B545-D9EA-63A701861FBE}"/>
                  </a:ext>
                </a:extLst>
              </p:cNvPr>
              <p:cNvSpPr/>
              <p:nvPr/>
            </p:nvSpPr>
            <p:spPr>
              <a:xfrm>
                <a:off x="8844708" y="3472478"/>
                <a:ext cx="7825" cy="6956"/>
              </a:xfrm>
              <a:custGeom>
                <a:avLst/>
                <a:gdLst>
                  <a:gd name="connsiteX0" fmla="*/ 0 w 7825"/>
                  <a:gd name="connsiteY0" fmla="*/ 2319 h 6956"/>
                  <a:gd name="connsiteX1" fmla="*/ 6087 w 7825"/>
                  <a:gd name="connsiteY1" fmla="*/ 6957 h 6956"/>
                  <a:gd name="connsiteX2" fmla="*/ 7826 w 7825"/>
                  <a:gd name="connsiteY2" fmla="*/ 4927 h 6956"/>
                  <a:gd name="connsiteX3" fmla="*/ 1449 w 7825"/>
                  <a:gd name="connsiteY3" fmla="*/ 0 h 6956"/>
                  <a:gd name="connsiteX4" fmla="*/ 0 w 7825"/>
                  <a:gd name="connsiteY4" fmla="*/ 2319 h 6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25" h="6956">
                    <a:moveTo>
                      <a:pt x="0" y="2319"/>
                    </a:moveTo>
                    <a:cubicBezTo>
                      <a:pt x="2029" y="3768"/>
                      <a:pt x="4347" y="5217"/>
                      <a:pt x="6087" y="6957"/>
                    </a:cubicBezTo>
                    <a:lnTo>
                      <a:pt x="7826" y="4927"/>
                    </a:lnTo>
                    <a:cubicBezTo>
                      <a:pt x="5797" y="3188"/>
                      <a:pt x="3478" y="1449"/>
                      <a:pt x="1449" y="0"/>
                    </a:cubicBezTo>
                    <a:lnTo>
                      <a:pt x="0" y="2319"/>
                    </a:lnTo>
                    <a:close/>
                  </a:path>
                </a:pathLst>
              </a:custGeom>
              <a:grpFill/>
              <a:ln w="0" cap="flat">
                <a:noFill/>
                <a:prstDash val="solid"/>
                <a:miter/>
              </a:ln>
            </p:spPr>
            <p:txBody>
              <a:bodyPr rtlCol="0" anchor="ctr"/>
              <a:lstStyle/>
              <a:p>
                <a:endParaRPr lang="en-US"/>
              </a:p>
            </p:txBody>
          </p:sp>
          <p:sp>
            <p:nvSpPr>
              <p:cNvPr id="54" name="Freeform 53">
                <a:extLst>
                  <a:ext uri="{FF2B5EF4-FFF2-40B4-BE49-F238E27FC236}">
                    <a16:creationId xmlns:a16="http://schemas.microsoft.com/office/drawing/2014/main" id="{DB0EFE7B-E2D1-FBCE-3F61-9090E6B6C6EC}"/>
                  </a:ext>
                </a:extLst>
              </p:cNvPr>
              <p:cNvSpPr/>
              <p:nvPr/>
            </p:nvSpPr>
            <p:spPr>
              <a:xfrm>
                <a:off x="8872532" y="3590450"/>
                <a:ext cx="2608" cy="7826"/>
              </a:xfrm>
              <a:custGeom>
                <a:avLst/>
                <a:gdLst>
                  <a:gd name="connsiteX0" fmla="*/ 0 w 2608"/>
                  <a:gd name="connsiteY0" fmla="*/ 0 h 7826"/>
                  <a:gd name="connsiteX1" fmla="*/ 0 w 2608"/>
                  <a:gd name="connsiteY1" fmla="*/ 7826 h 7826"/>
                  <a:gd name="connsiteX2" fmla="*/ 0 w 2608"/>
                  <a:gd name="connsiteY2" fmla="*/ 7826 h 7826"/>
                  <a:gd name="connsiteX3" fmla="*/ 2608 w 2608"/>
                  <a:gd name="connsiteY3" fmla="*/ 7826 h 7826"/>
                  <a:gd name="connsiteX4" fmla="*/ 2608 w 2608"/>
                  <a:gd name="connsiteY4" fmla="*/ 7826 h 7826"/>
                  <a:gd name="connsiteX5" fmla="*/ 2608 w 2608"/>
                  <a:gd name="connsiteY5" fmla="*/ 0 h 7826"/>
                  <a:gd name="connsiteX6" fmla="*/ 2608 w 2608"/>
                  <a:gd name="connsiteY6" fmla="*/ 0 h 7826"/>
                  <a:gd name="connsiteX7" fmla="*/ 0 w 2608"/>
                  <a:gd name="connsiteY7" fmla="*/ 0 h 7826"/>
                  <a:gd name="connsiteX8" fmla="*/ 0 w 2608"/>
                  <a:gd name="connsiteY8" fmla="*/ 0 h 7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08" h="7826">
                    <a:moveTo>
                      <a:pt x="0" y="0"/>
                    </a:moveTo>
                    <a:lnTo>
                      <a:pt x="0" y="7826"/>
                    </a:lnTo>
                    <a:lnTo>
                      <a:pt x="0" y="7826"/>
                    </a:lnTo>
                    <a:lnTo>
                      <a:pt x="2608" y="7826"/>
                    </a:lnTo>
                    <a:lnTo>
                      <a:pt x="2608" y="7826"/>
                    </a:lnTo>
                    <a:lnTo>
                      <a:pt x="2608" y="0"/>
                    </a:lnTo>
                    <a:lnTo>
                      <a:pt x="2608" y="0"/>
                    </a:lnTo>
                    <a:lnTo>
                      <a:pt x="0" y="0"/>
                    </a:lnTo>
                    <a:lnTo>
                      <a:pt x="0" y="0"/>
                    </a:lnTo>
                    <a:close/>
                  </a:path>
                </a:pathLst>
              </a:custGeom>
              <a:grpFill/>
              <a:ln w="0" cap="flat">
                <a:noFill/>
                <a:prstDash val="solid"/>
                <a:miter/>
              </a:ln>
            </p:spPr>
            <p:txBody>
              <a:bodyPr rtlCol="0" anchor="ctr"/>
              <a:lstStyle/>
              <a:p>
                <a:endParaRPr lang="en-US"/>
              </a:p>
            </p:txBody>
          </p:sp>
          <p:sp>
            <p:nvSpPr>
              <p:cNvPr id="55" name="Freeform 54">
                <a:extLst>
                  <a:ext uri="{FF2B5EF4-FFF2-40B4-BE49-F238E27FC236}">
                    <a16:creationId xmlns:a16="http://schemas.microsoft.com/office/drawing/2014/main" id="{6A6C5E54-7CEC-6B5E-C9D3-FB851542BD5F}"/>
                  </a:ext>
                </a:extLst>
              </p:cNvPr>
              <p:cNvSpPr/>
              <p:nvPr/>
            </p:nvSpPr>
            <p:spPr>
              <a:xfrm>
                <a:off x="8856592" y="3482913"/>
                <a:ext cx="6955" cy="7825"/>
              </a:xfrm>
              <a:custGeom>
                <a:avLst/>
                <a:gdLst>
                  <a:gd name="connsiteX0" fmla="*/ 0 w 6955"/>
                  <a:gd name="connsiteY0" fmla="*/ 1739 h 7825"/>
                  <a:gd name="connsiteX1" fmla="*/ 4927 w 6955"/>
                  <a:gd name="connsiteY1" fmla="*/ 7826 h 7825"/>
                  <a:gd name="connsiteX2" fmla="*/ 6956 w 6955"/>
                  <a:gd name="connsiteY2" fmla="*/ 6377 h 7825"/>
                  <a:gd name="connsiteX3" fmla="*/ 2029 w 6955"/>
                  <a:gd name="connsiteY3" fmla="*/ 0 h 7825"/>
                  <a:gd name="connsiteX4" fmla="*/ 0 w 6955"/>
                  <a:gd name="connsiteY4" fmla="*/ 1739 h 7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5" h="7825">
                    <a:moveTo>
                      <a:pt x="0" y="1739"/>
                    </a:moveTo>
                    <a:cubicBezTo>
                      <a:pt x="1739" y="3768"/>
                      <a:pt x="3478" y="5797"/>
                      <a:pt x="4927" y="7826"/>
                    </a:cubicBezTo>
                    <a:lnTo>
                      <a:pt x="6956" y="6377"/>
                    </a:lnTo>
                    <a:cubicBezTo>
                      <a:pt x="5506" y="4058"/>
                      <a:pt x="3768" y="2029"/>
                      <a:pt x="2029" y="0"/>
                    </a:cubicBezTo>
                    <a:lnTo>
                      <a:pt x="0" y="1739"/>
                    </a:lnTo>
                    <a:close/>
                  </a:path>
                </a:pathLst>
              </a:custGeom>
              <a:grpFill/>
              <a:ln w="0" cap="flat">
                <a:noFill/>
                <a:prstDash val="solid"/>
                <a:miter/>
              </a:ln>
            </p:spPr>
            <p:txBody>
              <a:bodyPr rtlCol="0" anchor="ctr"/>
              <a:lstStyle/>
              <a:p>
                <a:endParaRPr lang="en-US"/>
              </a:p>
            </p:txBody>
          </p:sp>
          <p:sp>
            <p:nvSpPr>
              <p:cNvPr id="56" name="Freeform 55">
                <a:extLst>
                  <a:ext uri="{FF2B5EF4-FFF2-40B4-BE49-F238E27FC236}">
                    <a16:creationId xmlns:a16="http://schemas.microsoft.com/office/drawing/2014/main" id="{DD521C29-FC68-94FC-449D-AE6635EB88AF}"/>
                  </a:ext>
                </a:extLst>
              </p:cNvPr>
              <p:cNvSpPr/>
              <p:nvPr/>
            </p:nvSpPr>
            <p:spPr>
              <a:xfrm>
                <a:off x="8872532" y="3606102"/>
                <a:ext cx="2608" cy="8116"/>
              </a:xfrm>
              <a:custGeom>
                <a:avLst/>
                <a:gdLst>
                  <a:gd name="connsiteX0" fmla="*/ 0 w 2608"/>
                  <a:gd name="connsiteY0" fmla="*/ 0 h 8116"/>
                  <a:gd name="connsiteX1" fmla="*/ 0 w 2608"/>
                  <a:gd name="connsiteY1" fmla="*/ 7826 h 8116"/>
                  <a:gd name="connsiteX2" fmla="*/ 0 w 2608"/>
                  <a:gd name="connsiteY2" fmla="*/ 8116 h 8116"/>
                  <a:gd name="connsiteX3" fmla="*/ 2608 w 2608"/>
                  <a:gd name="connsiteY3" fmla="*/ 8116 h 8116"/>
                  <a:gd name="connsiteX4" fmla="*/ 2608 w 2608"/>
                  <a:gd name="connsiteY4" fmla="*/ 7826 h 8116"/>
                  <a:gd name="connsiteX5" fmla="*/ 2608 w 2608"/>
                  <a:gd name="connsiteY5" fmla="*/ 0 h 8116"/>
                  <a:gd name="connsiteX6" fmla="*/ 2608 w 2608"/>
                  <a:gd name="connsiteY6" fmla="*/ 0 h 8116"/>
                  <a:gd name="connsiteX7" fmla="*/ 0 w 2608"/>
                  <a:gd name="connsiteY7" fmla="*/ 0 h 8116"/>
                  <a:gd name="connsiteX8" fmla="*/ 0 w 2608"/>
                  <a:gd name="connsiteY8" fmla="*/ 0 h 8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08" h="8116">
                    <a:moveTo>
                      <a:pt x="0" y="0"/>
                    </a:moveTo>
                    <a:lnTo>
                      <a:pt x="0" y="7826"/>
                    </a:lnTo>
                    <a:lnTo>
                      <a:pt x="0" y="8116"/>
                    </a:lnTo>
                    <a:lnTo>
                      <a:pt x="2608" y="8116"/>
                    </a:lnTo>
                    <a:lnTo>
                      <a:pt x="2608" y="7826"/>
                    </a:lnTo>
                    <a:lnTo>
                      <a:pt x="2608" y="0"/>
                    </a:lnTo>
                    <a:lnTo>
                      <a:pt x="2608" y="0"/>
                    </a:lnTo>
                    <a:lnTo>
                      <a:pt x="0" y="0"/>
                    </a:lnTo>
                    <a:lnTo>
                      <a:pt x="0" y="0"/>
                    </a:lnTo>
                    <a:close/>
                  </a:path>
                </a:pathLst>
              </a:custGeom>
              <a:grpFill/>
              <a:ln w="0" cap="flat">
                <a:noFill/>
                <a:prstDash val="solid"/>
                <a:miter/>
              </a:ln>
            </p:spPr>
            <p:txBody>
              <a:bodyPr rtlCol="0" anchor="ctr"/>
              <a:lstStyle/>
              <a:p>
                <a:endParaRPr lang="en-US"/>
              </a:p>
            </p:txBody>
          </p:sp>
          <p:sp>
            <p:nvSpPr>
              <p:cNvPr id="57" name="Freeform 56">
                <a:extLst>
                  <a:ext uri="{FF2B5EF4-FFF2-40B4-BE49-F238E27FC236}">
                    <a16:creationId xmlns:a16="http://schemas.microsoft.com/office/drawing/2014/main" id="{EB8A0A64-44F3-42E9-A469-FA9F50C6FD6C}"/>
                  </a:ext>
                </a:extLst>
              </p:cNvPr>
              <p:cNvSpPr/>
              <p:nvPr/>
            </p:nvSpPr>
            <p:spPr>
              <a:xfrm>
                <a:off x="8872532" y="3622044"/>
                <a:ext cx="2608" cy="4057"/>
              </a:xfrm>
              <a:custGeom>
                <a:avLst/>
                <a:gdLst>
                  <a:gd name="connsiteX0" fmla="*/ 0 w 2608"/>
                  <a:gd name="connsiteY0" fmla="*/ 0 h 4057"/>
                  <a:gd name="connsiteX1" fmla="*/ 2608 w 2608"/>
                  <a:gd name="connsiteY1" fmla="*/ 0 h 4057"/>
                  <a:gd name="connsiteX2" fmla="*/ 2608 w 2608"/>
                  <a:gd name="connsiteY2" fmla="*/ 4058 h 4057"/>
                  <a:gd name="connsiteX3" fmla="*/ 0 w 2608"/>
                  <a:gd name="connsiteY3" fmla="*/ 4058 h 4057"/>
                </a:gdLst>
                <a:ahLst/>
                <a:cxnLst>
                  <a:cxn ang="0">
                    <a:pos x="connsiteX0" y="connsiteY0"/>
                  </a:cxn>
                  <a:cxn ang="0">
                    <a:pos x="connsiteX1" y="connsiteY1"/>
                  </a:cxn>
                  <a:cxn ang="0">
                    <a:pos x="connsiteX2" y="connsiteY2"/>
                  </a:cxn>
                  <a:cxn ang="0">
                    <a:pos x="connsiteX3" y="connsiteY3"/>
                  </a:cxn>
                </a:cxnLst>
                <a:rect l="l" t="t" r="r" b="b"/>
                <a:pathLst>
                  <a:path w="2608" h="4057">
                    <a:moveTo>
                      <a:pt x="0" y="0"/>
                    </a:moveTo>
                    <a:lnTo>
                      <a:pt x="2608" y="0"/>
                    </a:lnTo>
                    <a:lnTo>
                      <a:pt x="2608" y="4058"/>
                    </a:lnTo>
                    <a:lnTo>
                      <a:pt x="0" y="4058"/>
                    </a:lnTo>
                    <a:close/>
                  </a:path>
                </a:pathLst>
              </a:custGeom>
              <a:grpFill/>
              <a:ln w="0" cap="flat">
                <a:noFill/>
                <a:prstDash val="solid"/>
                <a:miter/>
              </a:ln>
            </p:spPr>
            <p:txBody>
              <a:bodyPr rtlCol="0" anchor="ctr"/>
              <a:lstStyle/>
              <a:p>
                <a:endParaRPr lang="en-US"/>
              </a:p>
            </p:txBody>
          </p:sp>
          <p:sp>
            <p:nvSpPr>
              <p:cNvPr id="58" name="Freeform 57">
                <a:extLst>
                  <a:ext uri="{FF2B5EF4-FFF2-40B4-BE49-F238E27FC236}">
                    <a16:creationId xmlns:a16="http://schemas.microsoft.com/office/drawing/2014/main" id="{CB1BCFAB-6792-9A28-4CF6-7033B0C7E746}"/>
                  </a:ext>
                </a:extLst>
              </p:cNvPr>
              <p:cNvSpPr/>
              <p:nvPr/>
            </p:nvSpPr>
            <p:spPr>
              <a:xfrm>
                <a:off x="9018894" y="3399434"/>
                <a:ext cx="7825" cy="2608"/>
              </a:xfrm>
              <a:custGeom>
                <a:avLst/>
                <a:gdLst>
                  <a:gd name="connsiteX0" fmla="*/ 0 w 7825"/>
                  <a:gd name="connsiteY0" fmla="*/ 0 h 2608"/>
                  <a:gd name="connsiteX1" fmla="*/ 7825 w 7825"/>
                  <a:gd name="connsiteY1" fmla="*/ 0 h 2608"/>
                  <a:gd name="connsiteX2" fmla="*/ 7825 w 7825"/>
                  <a:gd name="connsiteY2" fmla="*/ 2609 h 2608"/>
                  <a:gd name="connsiteX3" fmla="*/ 0 w 7825"/>
                  <a:gd name="connsiteY3" fmla="*/ 2609 h 2608"/>
                </a:gdLst>
                <a:ahLst/>
                <a:cxnLst>
                  <a:cxn ang="0">
                    <a:pos x="connsiteX0" y="connsiteY0"/>
                  </a:cxn>
                  <a:cxn ang="0">
                    <a:pos x="connsiteX1" y="connsiteY1"/>
                  </a:cxn>
                  <a:cxn ang="0">
                    <a:pos x="connsiteX2" y="connsiteY2"/>
                  </a:cxn>
                  <a:cxn ang="0">
                    <a:pos x="connsiteX3" y="connsiteY3"/>
                  </a:cxn>
                </a:cxnLst>
                <a:rect l="l" t="t" r="r" b="b"/>
                <a:pathLst>
                  <a:path w="7825" h="2608">
                    <a:moveTo>
                      <a:pt x="0" y="0"/>
                    </a:moveTo>
                    <a:lnTo>
                      <a:pt x="7825" y="0"/>
                    </a:lnTo>
                    <a:lnTo>
                      <a:pt x="7825" y="2609"/>
                    </a:lnTo>
                    <a:lnTo>
                      <a:pt x="0" y="2609"/>
                    </a:lnTo>
                    <a:close/>
                  </a:path>
                </a:pathLst>
              </a:custGeom>
              <a:grpFill/>
              <a:ln w="0" cap="flat">
                <a:noFill/>
                <a:prstDash val="solid"/>
                <a:miter/>
              </a:ln>
            </p:spPr>
            <p:txBody>
              <a:bodyPr rtlCol="0" anchor="ctr"/>
              <a:lstStyle/>
              <a:p>
                <a:endParaRPr lang="en-US"/>
              </a:p>
            </p:txBody>
          </p:sp>
          <p:sp>
            <p:nvSpPr>
              <p:cNvPr id="59" name="Freeform 58">
                <a:extLst>
                  <a:ext uri="{FF2B5EF4-FFF2-40B4-BE49-F238E27FC236}">
                    <a16:creationId xmlns:a16="http://schemas.microsoft.com/office/drawing/2014/main" id="{AD0FE6D4-6692-F257-C007-11FF0DB88FEE}"/>
                  </a:ext>
                </a:extLst>
              </p:cNvPr>
              <p:cNvSpPr/>
              <p:nvPr/>
            </p:nvSpPr>
            <p:spPr>
              <a:xfrm>
                <a:off x="8987303" y="3399434"/>
                <a:ext cx="7825" cy="2608"/>
              </a:xfrm>
              <a:custGeom>
                <a:avLst/>
                <a:gdLst>
                  <a:gd name="connsiteX0" fmla="*/ 0 w 7825"/>
                  <a:gd name="connsiteY0" fmla="*/ 0 h 2608"/>
                  <a:gd name="connsiteX1" fmla="*/ 7825 w 7825"/>
                  <a:gd name="connsiteY1" fmla="*/ 0 h 2608"/>
                  <a:gd name="connsiteX2" fmla="*/ 7825 w 7825"/>
                  <a:gd name="connsiteY2" fmla="*/ 2609 h 2608"/>
                  <a:gd name="connsiteX3" fmla="*/ 0 w 7825"/>
                  <a:gd name="connsiteY3" fmla="*/ 2609 h 2608"/>
                </a:gdLst>
                <a:ahLst/>
                <a:cxnLst>
                  <a:cxn ang="0">
                    <a:pos x="connsiteX0" y="connsiteY0"/>
                  </a:cxn>
                  <a:cxn ang="0">
                    <a:pos x="connsiteX1" y="connsiteY1"/>
                  </a:cxn>
                  <a:cxn ang="0">
                    <a:pos x="connsiteX2" y="connsiteY2"/>
                  </a:cxn>
                  <a:cxn ang="0">
                    <a:pos x="connsiteX3" y="connsiteY3"/>
                  </a:cxn>
                </a:cxnLst>
                <a:rect l="l" t="t" r="r" b="b"/>
                <a:pathLst>
                  <a:path w="7825" h="2608">
                    <a:moveTo>
                      <a:pt x="0" y="0"/>
                    </a:moveTo>
                    <a:lnTo>
                      <a:pt x="7825" y="0"/>
                    </a:lnTo>
                    <a:lnTo>
                      <a:pt x="7825" y="2609"/>
                    </a:lnTo>
                    <a:lnTo>
                      <a:pt x="0" y="2609"/>
                    </a:lnTo>
                    <a:close/>
                  </a:path>
                </a:pathLst>
              </a:custGeom>
              <a:grpFill/>
              <a:ln w="0" cap="flat">
                <a:noFill/>
                <a:prstDash val="solid"/>
                <a:miter/>
              </a:ln>
            </p:spPr>
            <p:txBody>
              <a:bodyPr rtlCol="0" anchor="ctr"/>
              <a:lstStyle/>
              <a:p>
                <a:endParaRPr lang="en-US"/>
              </a:p>
            </p:txBody>
          </p:sp>
          <p:sp>
            <p:nvSpPr>
              <p:cNvPr id="60" name="Freeform 59">
                <a:extLst>
                  <a:ext uri="{FF2B5EF4-FFF2-40B4-BE49-F238E27FC236}">
                    <a16:creationId xmlns:a16="http://schemas.microsoft.com/office/drawing/2014/main" id="{273CD7F2-BD84-FF83-B5BA-35C5FC979932}"/>
                  </a:ext>
                </a:extLst>
              </p:cNvPr>
              <p:cNvSpPr/>
              <p:nvPr/>
            </p:nvSpPr>
            <p:spPr>
              <a:xfrm>
                <a:off x="9002954" y="3399434"/>
                <a:ext cx="7825" cy="2608"/>
              </a:xfrm>
              <a:custGeom>
                <a:avLst/>
                <a:gdLst>
                  <a:gd name="connsiteX0" fmla="*/ 0 w 7825"/>
                  <a:gd name="connsiteY0" fmla="*/ 0 h 2608"/>
                  <a:gd name="connsiteX1" fmla="*/ 7825 w 7825"/>
                  <a:gd name="connsiteY1" fmla="*/ 0 h 2608"/>
                  <a:gd name="connsiteX2" fmla="*/ 7825 w 7825"/>
                  <a:gd name="connsiteY2" fmla="*/ 2609 h 2608"/>
                  <a:gd name="connsiteX3" fmla="*/ 0 w 7825"/>
                  <a:gd name="connsiteY3" fmla="*/ 2609 h 2608"/>
                </a:gdLst>
                <a:ahLst/>
                <a:cxnLst>
                  <a:cxn ang="0">
                    <a:pos x="connsiteX0" y="connsiteY0"/>
                  </a:cxn>
                  <a:cxn ang="0">
                    <a:pos x="connsiteX1" y="connsiteY1"/>
                  </a:cxn>
                  <a:cxn ang="0">
                    <a:pos x="connsiteX2" y="connsiteY2"/>
                  </a:cxn>
                  <a:cxn ang="0">
                    <a:pos x="connsiteX3" y="connsiteY3"/>
                  </a:cxn>
                </a:cxnLst>
                <a:rect l="l" t="t" r="r" b="b"/>
                <a:pathLst>
                  <a:path w="7825" h="2608">
                    <a:moveTo>
                      <a:pt x="0" y="0"/>
                    </a:moveTo>
                    <a:lnTo>
                      <a:pt x="7825" y="0"/>
                    </a:lnTo>
                    <a:lnTo>
                      <a:pt x="7825" y="2609"/>
                    </a:lnTo>
                    <a:lnTo>
                      <a:pt x="0" y="2609"/>
                    </a:lnTo>
                    <a:close/>
                  </a:path>
                </a:pathLst>
              </a:custGeom>
              <a:grpFill/>
              <a:ln w="0" cap="flat">
                <a:noFill/>
                <a:prstDash val="solid"/>
                <a:miter/>
              </a:ln>
            </p:spPr>
            <p:txBody>
              <a:bodyPr rtlCol="0" anchor="ctr"/>
              <a:lstStyle/>
              <a:p>
                <a:endParaRPr lang="en-US"/>
              </a:p>
            </p:txBody>
          </p:sp>
          <p:sp>
            <p:nvSpPr>
              <p:cNvPr id="61" name="Freeform 60">
                <a:extLst>
                  <a:ext uri="{FF2B5EF4-FFF2-40B4-BE49-F238E27FC236}">
                    <a16:creationId xmlns:a16="http://schemas.microsoft.com/office/drawing/2014/main" id="{1F25C94D-CFCA-D6A0-F830-D4B9B0274FF9}"/>
                  </a:ext>
                </a:extLst>
              </p:cNvPr>
              <p:cNvSpPr/>
              <p:nvPr/>
            </p:nvSpPr>
            <p:spPr>
              <a:xfrm>
                <a:off x="8876589" y="3433058"/>
                <a:ext cx="5507" cy="8115"/>
              </a:xfrm>
              <a:custGeom>
                <a:avLst/>
                <a:gdLst>
                  <a:gd name="connsiteX0" fmla="*/ 0 w 5507"/>
                  <a:gd name="connsiteY0" fmla="*/ 7246 h 8115"/>
                  <a:gd name="connsiteX1" fmla="*/ 2319 w 5507"/>
                  <a:gd name="connsiteY1" fmla="*/ 8116 h 8115"/>
                  <a:gd name="connsiteX2" fmla="*/ 5507 w 5507"/>
                  <a:gd name="connsiteY2" fmla="*/ 1159 h 8115"/>
                  <a:gd name="connsiteX3" fmla="*/ 3188 w 5507"/>
                  <a:gd name="connsiteY3" fmla="*/ 0 h 8115"/>
                  <a:gd name="connsiteX4" fmla="*/ 0 w 5507"/>
                  <a:gd name="connsiteY4" fmla="*/ 7246 h 81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07" h="8115">
                    <a:moveTo>
                      <a:pt x="0" y="7246"/>
                    </a:moveTo>
                    <a:lnTo>
                      <a:pt x="2319" y="8116"/>
                    </a:lnTo>
                    <a:cubicBezTo>
                      <a:pt x="3188" y="5797"/>
                      <a:pt x="4347" y="3478"/>
                      <a:pt x="5507" y="1159"/>
                    </a:cubicBezTo>
                    <a:lnTo>
                      <a:pt x="3188" y="0"/>
                    </a:lnTo>
                    <a:cubicBezTo>
                      <a:pt x="2029" y="2319"/>
                      <a:pt x="870" y="4927"/>
                      <a:pt x="0" y="7246"/>
                    </a:cubicBezTo>
                    <a:close/>
                  </a:path>
                </a:pathLst>
              </a:custGeom>
              <a:grpFill/>
              <a:ln w="0" cap="flat">
                <a:noFill/>
                <a:prstDash val="solid"/>
                <a:miter/>
              </a:ln>
            </p:spPr>
            <p:txBody>
              <a:bodyPr rtlCol="0" anchor="ctr"/>
              <a:lstStyle/>
              <a:p>
                <a:endParaRPr lang="en-US"/>
              </a:p>
            </p:txBody>
          </p:sp>
          <p:sp>
            <p:nvSpPr>
              <p:cNvPr id="62" name="Freeform 61">
                <a:extLst>
                  <a:ext uri="{FF2B5EF4-FFF2-40B4-BE49-F238E27FC236}">
                    <a16:creationId xmlns:a16="http://schemas.microsoft.com/office/drawing/2014/main" id="{07A12E8A-ED7F-F2BA-8425-B9D734FEAA0A}"/>
                  </a:ext>
                </a:extLst>
              </p:cNvPr>
              <p:cNvSpPr/>
              <p:nvPr/>
            </p:nvSpPr>
            <p:spPr>
              <a:xfrm>
                <a:off x="8939772" y="3399434"/>
                <a:ext cx="7825" cy="2608"/>
              </a:xfrm>
              <a:custGeom>
                <a:avLst/>
                <a:gdLst>
                  <a:gd name="connsiteX0" fmla="*/ 0 w 7825"/>
                  <a:gd name="connsiteY0" fmla="*/ 0 h 2608"/>
                  <a:gd name="connsiteX1" fmla="*/ 7825 w 7825"/>
                  <a:gd name="connsiteY1" fmla="*/ 0 h 2608"/>
                  <a:gd name="connsiteX2" fmla="*/ 7825 w 7825"/>
                  <a:gd name="connsiteY2" fmla="*/ 2609 h 2608"/>
                  <a:gd name="connsiteX3" fmla="*/ 0 w 7825"/>
                  <a:gd name="connsiteY3" fmla="*/ 2609 h 2608"/>
                </a:gdLst>
                <a:ahLst/>
                <a:cxnLst>
                  <a:cxn ang="0">
                    <a:pos x="connsiteX0" y="connsiteY0"/>
                  </a:cxn>
                  <a:cxn ang="0">
                    <a:pos x="connsiteX1" y="connsiteY1"/>
                  </a:cxn>
                  <a:cxn ang="0">
                    <a:pos x="connsiteX2" y="connsiteY2"/>
                  </a:cxn>
                  <a:cxn ang="0">
                    <a:pos x="connsiteX3" y="connsiteY3"/>
                  </a:cxn>
                </a:cxnLst>
                <a:rect l="l" t="t" r="r" b="b"/>
                <a:pathLst>
                  <a:path w="7825" h="2608">
                    <a:moveTo>
                      <a:pt x="0" y="0"/>
                    </a:moveTo>
                    <a:lnTo>
                      <a:pt x="7825" y="0"/>
                    </a:lnTo>
                    <a:lnTo>
                      <a:pt x="7825" y="2609"/>
                    </a:lnTo>
                    <a:lnTo>
                      <a:pt x="0" y="2609"/>
                    </a:lnTo>
                    <a:close/>
                  </a:path>
                </a:pathLst>
              </a:custGeom>
              <a:grpFill/>
              <a:ln w="0" cap="flat">
                <a:noFill/>
                <a:prstDash val="solid"/>
                <a:miter/>
              </a:ln>
            </p:spPr>
            <p:txBody>
              <a:bodyPr rtlCol="0" anchor="ctr"/>
              <a:lstStyle/>
              <a:p>
                <a:endParaRPr lang="en-US"/>
              </a:p>
            </p:txBody>
          </p:sp>
          <p:sp>
            <p:nvSpPr>
              <p:cNvPr id="63" name="Freeform 62">
                <a:extLst>
                  <a:ext uri="{FF2B5EF4-FFF2-40B4-BE49-F238E27FC236}">
                    <a16:creationId xmlns:a16="http://schemas.microsoft.com/office/drawing/2014/main" id="{B84DDCC4-3295-3EB3-73D5-8E1D5A586D39}"/>
                  </a:ext>
                </a:extLst>
              </p:cNvPr>
              <p:cNvSpPr/>
              <p:nvPr/>
            </p:nvSpPr>
            <p:spPr>
              <a:xfrm>
                <a:off x="8884125" y="3419724"/>
                <a:ext cx="6955" cy="7826"/>
              </a:xfrm>
              <a:custGeom>
                <a:avLst/>
                <a:gdLst>
                  <a:gd name="connsiteX0" fmla="*/ 0 w 6955"/>
                  <a:gd name="connsiteY0" fmla="*/ 6377 h 7826"/>
                  <a:gd name="connsiteX1" fmla="*/ 2029 w 6955"/>
                  <a:gd name="connsiteY1" fmla="*/ 7826 h 7826"/>
                  <a:gd name="connsiteX2" fmla="*/ 6956 w 6955"/>
                  <a:gd name="connsiteY2" fmla="*/ 1739 h 7826"/>
                  <a:gd name="connsiteX3" fmla="*/ 4927 w 6955"/>
                  <a:gd name="connsiteY3" fmla="*/ 0 h 7826"/>
                  <a:gd name="connsiteX4" fmla="*/ 0 w 6955"/>
                  <a:gd name="connsiteY4" fmla="*/ 6377 h 78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5" h="7826">
                    <a:moveTo>
                      <a:pt x="0" y="6377"/>
                    </a:moveTo>
                    <a:lnTo>
                      <a:pt x="2029" y="7826"/>
                    </a:lnTo>
                    <a:cubicBezTo>
                      <a:pt x="3478" y="5797"/>
                      <a:pt x="5217" y="3768"/>
                      <a:pt x="6956" y="1739"/>
                    </a:cubicBezTo>
                    <a:lnTo>
                      <a:pt x="4927" y="0"/>
                    </a:lnTo>
                    <a:cubicBezTo>
                      <a:pt x="3188" y="2029"/>
                      <a:pt x="1449" y="4058"/>
                      <a:pt x="0" y="6377"/>
                    </a:cubicBezTo>
                    <a:close/>
                  </a:path>
                </a:pathLst>
              </a:custGeom>
              <a:grpFill/>
              <a:ln w="0" cap="flat">
                <a:noFill/>
                <a:prstDash val="solid"/>
                <a:miter/>
              </a:ln>
            </p:spPr>
            <p:txBody>
              <a:bodyPr rtlCol="0" anchor="ctr"/>
              <a:lstStyle/>
              <a:p>
                <a:endParaRPr lang="en-US"/>
              </a:p>
            </p:txBody>
          </p:sp>
          <p:sp>
            <p:nvSpPr>
              <p:cNvPr id="64" name="Freeform 63">
                <a:extLst>
                  <a:ext uri="{FF2B5EF4-FFF2-40B4-BE49-F238E27FC236}">
                    <a16:creationId xmlns:a16="http://schemas.microsoft.com/office/drawing/2014/main" id="{3DC93BA1-D3C9-0EAD-A5A6-A4FA6AA6702A}"/>
                  </a:ext>
                </a:extLst>
              </p:cNvPr>
              <p:cNvSpPr/>
              <p:nvPr/>
            </p:nvSpPr>
            <p:spPr>
              <a:xfrm>
                <a:off x="8955712" y="3399434"/>
                <a:ext cx="7825" cy="2608"/>
              </a:xfrm>
              <a:custGeom>
                <a:avLst/>
                <a:gdLst>
                  <a:gd name="connsiteX0" fmla="*/ 0 w 7825"/>
                  <a:gd name="connsiteY0" fmla="*/ 0 h 2608"/>
                  <a:gd name="connsiteX1" fmla="*/ 7825 w 7825"/>
                  <a:gd name="connsiteY1" fmla="*/ 0 h 2608"/>
                  <a:gd name="connsiteX2" fmla="*/ 7825 w 7825"/>
                  <a:gd name="connsiteY2" fmla="*/ 2609 h 2608"/>
                  <a:gd name="connsiteX3" fmla="*/ 0 w 7825"/>
                  <a:gd name="connsiteY3" fmla="*/ 2609 h 2608"/>
                </a:gdLst>
                <a:ahLst/>
                <a:cxnLst>
                  <a:cxn ang="0">
                    <a:pos x="connsiteX0" y="connsiteY0"/>
                  </a:cxn>
                  <a:cxn ang="0">
                    <a:pos x="connsiteX1" y="connsiteY1"/>
                  </a:cxn>
                  <a:cxn ang="0">
                    <a:pos x="connsiteX2" y="connsiteY2"/>
                  </a:cxn>
                  <a:cxn ang="0">
                    <a:pos x="connsiteX3" y="connsiteY3"/>
                  </a:cxn>
                </a:cxnLst>
                <a:rect l="l" t="t" r="r" b="b"/>
                <a:pathLst>
                  <a:path w="7825" h="2608">
                    <a:moveTo>
                      <a:pt x="0" y="0"/>
                    </a:moveTo>
                    <a:lnTo>
                      <a:pt x="7825" y="0"/>
                    </a:lnTo>
                    <a:lnTo>
                      <a:pt x="7825" y="2609"/>
                    </a:lnTo>
                    <a:lnTo>
                      <a:pt x="0" y="2609"/>
                    </a:lnTo>
                    <a:close/>
                  </a:path>
                </a:pathLst>
              </a:custGeom>
              <a:grpFill/>
              <a:ln w="0" cap="flat">
                <a:noFill/>
                <a:prstDash val="solid"/>
                <a:miter/>
              </a:ln>
            </p:spPr>
            <p:txBody>
              <a:bodyPr rtlCol="0" anchor="ctr"/>
              <a:lstStyle/>
              <a:p>
                <a:endParaRPr lang="en-US"/>
              </a:p>
            </p:txBody>
          </p:sp>
          <p:sp>
            <p:nvSpPr>
              <p:cNvPr id="65" name="Freeform 64">
                <a:extLst>
                  <a:ext uri="{FF2B5EF4-FFF2-40B4-BE49-F238E27FC236}">
                    <a16:creationId xmlns:a16="http://schemas.microsoft.com/office/drawing/2014/main" id="{CAE32376-F953-44F8-14B2-ECBFB9E88079}"/>
                  </a:ext>
                </a:extLst>
              </p:cNvPr>
              <p:cNvSpPr/>
              <p:nvPr/>
            </p:nvSpPr>
            <p:spPr>
              <a:xfrm>
                <a:off x="8908470" y="3402333"/>
                <a:ext cx="8405" cy="5507"/>
              </a:xfrm>
              <a:custGeom>
                <a:avLst/>
                <a:gdLst>
                  <a:gd name="connsiteX0" fmla="*/ 0 w 8405"/>
                  <a:gd name="connsiteY0" fmla="*/ 3189 h 5507"/>
                  <a:gd name="connsiteX1" fmla="*/ 1160 w 8405"/>
                  <a:gd name="connsiteY1" fmla="*/ 5507 h 5507"/>
                  <a:gd name="connsiteX2" fmla="*/ 8405 w 8405"/>
                  <a:gd name="connsiteY2" fmla="*/ 2609 h 5507"/>
                  <a:gd name="connsiteX3" fmla="*/ 7536 w 8405"/>
                  <a:gd name="connsiteY3" fmla="*/ 0 h 5507"/>
                  <a:gd name="connsiteX4" fmla="*/ 0 w 8405"/>
                  <a:gd name="connsiteY4" fmla="*/ 2899 h 55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05" h="5507">
                    <a:moveTo>
                      <a:pt x="0" y="3189"/>
                    </a:moveTo>
                    <a:lnTo>
                      <a:pt x="1160" y="5507"/>
                    </a:lnTo>
                    <a:cubicBezTo>
                      <a:pt x="3478" y="4348"/>
                      <a:pt x="5797" y="3478"/>
                      <a:pt x="8405" y="2609"/>
                    </a:cubicBezTo>
                    <a:lnTo>
                      <a:pt x="7536" y="0"/>
                    </a:lnTo>
                    <a:cubicBezTo>
                      <a:pt x="4928" y="870"/>
                      <a:pt x="2609" y="1739"/>
                      <a:pt x="0" y="2899"/>
                    </a:cubicBezTo>
                    <a:close/>
                  </a:path>
                </a:pathLst>
              </a:custGeom>
              <a:grpFill/>
              <a:ln w="0" cap="flat">
                <a:noFill/>
                <a:prstDash val="solid"/>
                <a:miter/>
              </a:ln>
            </p:spPr>
            <p:txBody>
              <a:bodyPr rtlCol="0" anchor="ctr"/>
              <a:lstStyle/>
              <a:p>
                <a:endParaRPr lang="en-US"/>
              </a:p>
            </p:txBody>
          </p:sp>
          <p:sp>
            <p:nvSpPr>
              <p:cNvPr id="66" name="Freeform 65">
                <a:extLst>
                  <a:ext uri="{FF2B5EF4-FFF2-40B4-BE49-F238E27FC236}">
                    <a16:creationId xmlns:a16="http://schemas.microsoft.com/office/drawing/2014/main" id="{0CAA2276-DA1B-D03A-F5CC-93E0F8F0C904}"/>
                  </a:ext>
                </a:extLst>
              </p:cNvPr>
              <p:cNvSpPr/>
              <p:nvPr/>
            </p:nvSpPr>
            <p:spPr>
              <a:xfrm>
                <a:off x="8895139" y="3409579"/>
                <a:ext cx="7825" cy="6956"/>
              </a:xfrm>
              <a:custGeom>
                <a:avLst/>
                <a:gdLst>
                  <a:gd name="connsiteX0" fmla="*/ 0 w 7825"/>
                  <a:gd name="connsiteY0" fmla="*/ 4928 h 6956"/>
                  <a:gd name="connsiteX1" fmla="*/ 1739 w 7825"/>
                  <a:gd name="connsiteY1" fmla="*/ 6957 h 6956"/>
                  <a:gd name="connsiteX2" fmla="*/ 7825 w 7825"/>
                  <a:gd name="connsiteY2" fmla="*/ 2319 h 6956"/>
                  <a:gd name="connsiteX3" fmla="*/ 6376 w 7825"/>
                  <a:gd name="connsiteY3" fmla="*/ 0 h 6956"/>
                  <a:gd name="connsiteX4" fmla="*/ 0 w 7825"/>
                  <a:gd name="connsiteY4" fmla="*/ 4928 h 6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25" h="6956">
                    <a:moveTo>
                      <a:pt x="0" y="4928"/>
                    </a:moveTo>
                    <a:lnTo>
                      <a:pt x="1739" y="6957"/>
                    </a:lnTo>
                    <a:cubicBezTo>
                      <a:pt x="3768" y="5218"/>
                      <a:pt x="5797" y="3768"/>
                      <a:pt x="7825" y="2319"/>
                    </a:cubicBezTo>
                    <a:lnTo>
                      <a:pt x="6376" y="0"/>
                    </a:lnTo>
                    <a:cubicBezTo>
                      <a:pt x="4057" y="1449"/>
                      <a:pt x="2029" y="3189"/>
                      <a:pt x="0" y="4928"/>
                    </a:cubicBezTo>
                    <a:close/>
                  </a:path>
                </a:pathLst>
              </a:custGeom>
              <a:grpFill/>
              <a:ln w="0" cap="flat">
                <a:noFill/>
                <a:prstDash val="solid"/>
                <a:miter/>
              </a:ln>
            </p:spPr>
            <p:txBody>
              <a:bodyPr rtlCol="0" anchor="ctr"/>
              <a:lstStyle/>
              <a:p>
                <a:endParaRPr lang="en-US"/>
              </a:p>
            </p:txBody>
          </p:sp>
          <p:sp>
            <p:nvSpPr>
              <p:cNvPr id="67" name="Freeform 66">
                <a:extLst>
                  <a:ext uri="{FF2B5EF4-FFF2-40B4-BE49-F238E27FC236}">
                    <a16:creationId xmlns:a16="http://schemas.microsoft.com/office/drawing/2014/main" id="{99DE9548-8F38-06C9-1135-7E4B2E313601}"/>
                  </a:ext>
                </a:extLst>
              </p:cNvPr>
              <p:cNvSpPr/>
              <p:nvPr/>
            </p:nvSpPr>
            <p:spPr>
              <a:xfrm>
                <a:off x="8923831" y="3399724"/>
                <a:ext cx="8115" cy="3478"/>
              </a:xfrm>
              <a:custGeom>
                <a:avLst/>
                <a:gdLst>
                  <a:gd name="connsiteX0" fmla="*/ 0 w 8115"/>
                  <a:gd name="connsiteY0" fmla="*/ 869 h 3478"/>
                  <a:gd name="connsiteX1" fmla="*/ 580 w 8115"/>
                  <a:gd name="connsiteY1" fmla="*/ 3478 h 3478"/>
                  <a:gd name="connsiteX2" fmla="*/ 8115 w 8115"/>
                  <a:gd name="connsiteY2" fmla="*/ 2608 h 3478"/>
                  <a:gd name="connsiteX3" fmla="*/ 8115 w 8115"/>
                  <a:gd name="connsiteY3" fmla="*/ 0 h 3478"/>
                  <a:gd name="connsiteX4" fmla="*/ 0 w 8115"/>
                  <a:gd name="connsiteY4" fmla="*/ 1159 h 3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15" h="3478">
                    <a:moveTo>
                      <a:pt x="0" y="869"/>
                    </a:moveTo>
                    <a:lnTo>
                      <a:pt x="580" y="3478"/>
                    </a:lnTo>
                    <a:cubicBezTo>
                      <a:pt x="3188" y="2899"/>
                      <a:pt x="5797" y="2608"/>
                      <a:pt x="8115" y="2608"/>
                    </a:cubicBezTo>
                    <a:lnTo>
                      <a:pt x="8115" y="0"/>
                    </a:lnTo>
                    <a:cubicBezTo>
                      <a:pt x="5217" y="0"/>
                      <a:pt x="2609" y="580"/>
                      <a:pt x="0" y="1159"/>
                    </a:cubicBezTo>
                    <a:close/>
                  </a:path>
                </a:pathLst>
              </a:custGeom>
              <a:grpFill/>
              <a:ln w="0"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205A35DE-9F65-FEB8-B038-17C9FB131B2C}"/>
                  </a:ext>
                </a:extLst>
              </p:cNvPr>
              <p:cNvSpPr/>
              <p:nvPr/>
            </p:nvSpPr>
            <p:spPr>
              <a:xfrm>
                <a:off x="8872532" y="3495667"/>
                <a:ext cx="2608" cy="7826"/>
              </a:xfrm>
              <a:custGeom>
                <a:avLst/>
                <a:gdLst>
                  <a:gd name="connsiteX0" fmla="*/ 0 w 2608"/>
                  <a:gd name="connsiteY0" fmla="*/ 0 h 7826"/>
                  <a:gd name="connsiteX1" fmla="*/ 2608 w 2608"/>
                  <a:gd name="connsiteY1" fmla="*/ 0 h 7826"/>
                  <a:gd name="connsiteX2" fmla="*/ 2608 w 2608"/>
                  <a:gd name="connsiteY2" fmla="*/ 7826 h 7826"/>
                  <a:gd name="connsiteX3" fmla="*/ 0 w 2608"/>
                  <a:gd name="connsiteY3" fmla="*/ 7826 h 7826"/>
                </a:gdLst>
                <a:ahLst/>
                <a:cxnLst>
                  <a:cxn ang="0">
                    <a:pos x="connsiteX0" y="connsiteY0"/>
                  </a:cxn>
                  <a:cxn ang="0">
                    <a:pos x="connsiteX1" y="connsiteY1"/>
                  </a:cxn>
                  <a:cxn ang="0">
                    <a:pos x="connsiteX2" y="connsiteY2"/>
                  </a:cxn>
                  <a:cxn ang="0">
                    <a:pos x="connsiteX3" y="connsiteY3"/>
                  </a:cxn>
                </a:cxnLst>
                <a:rect l="l" t="t" r="r" b="b"/>
                <a:pathLst>
                  <a:path w="2608" h="7826">
                    <a:moveTo>
                      <a:pt x="0" y="0"/>
                    </a:moveTo>
                    <a:lnTo>
                      <a:pt x="2608" y="0"/>
                    </a:lnTo>
                    <a:lnTo>
                      <a:pt x="2608" y="7826"/>
                    </a:lnTo>
                    <a:lnTo>
                      <a:pt x="0" y="7826"/>
                    </a:lnTo>
                    <a:close/>
                  </a:path>
                </a:pathLst>
              </a:custGeom>
              <a:grpFill/>
              <a:ln w="0" cap="flat">
                <a:noFill/>
                <a:prstDash val="solid"/>
                <a:miter/>
              </a:ln>
            </p:spPr>
            <p:txBody>
              <a:bodyPr rtlCol="0" anchor="ctr"/>
              <a:lstStyle/>
              <a:p>
                <a:endParaRPr lang="en-US"/>
              </a:p>
            </p:txBody>
          </p:sp>
          <p:sp>
            <p:nvSpPr>
              <p:cNvPr id="69" name="Freeform 68">
                <a:extLst>
                  <a:ext uri="{FF2B5EF4-FFF2-40B4-BE49-F238E27FC236}">
                    <a16:creationId xmlns:a16="http://schemas.microsoft.com/office/drawing/2014/main" id="{E9BB1CCA-3792-0C23-B18C-BC9FF318D15F}"/>
                  </a:ext>
                </a:extLst>
              </p:cNvPr>
              <p:cNvSpPr/>
              <p:nvPr/>
            </p:nvSpPr>
            <p:spPr>
              <a:xfrm>
                <a:off x="8971363" y="3399434"/>
                <a:ext cx="7825" cy="2608"/>
              </a:xfrm>
              <a:custGeom>
                <a:avLst/>
                <a:gdLst>
                  <a:gd name="connsiteX0" fmla="*/ 0 w 7825"/>
                  <a:gd name="connsiteY0" fmla="*/ 0 h 2608"/>
                  <a:gd name="connsiteX1" fmla="*/ 7825 w 7825"/>
                  <a:gd name="connsiteY1" fmla="*/ 0 h 2608"/>
                  <a:gd name="connsiteX2" fmla="*/ 7825 w 7825"/>
                  <a:gd name="connsiteY2" fmla="*/ 2609 h 2608"/>
                  <a:gd name="connsiteX3" fmla="*/ 0 w 7825"/>
                  <a:gd name="connsiteY3" fmla="*/ 2609 h 2608"/>
                </a:gdLst>
                <a:ahLst/>
                <a:cxnLst>
                  <a:cxn ang="0">
                    <a:pos x="connsiteX0" y="connsiteY0"/>
                  </a:cxn>
                  <a:cxn ang="0">
                    <a:pos x="connsiteX1" y="connsiteY1"/>
                  </a:cxn>
                  <a:cxn ang="0">
                    <a:pos x="connsiteX2" y="connsiteY2"/>
                  </a:cxn>
                  <a:cxn ang="0">
                    <a:pos x="connsiteX3" y="connsiteY3"/>
                  </a:cxn>
                </a:cxnLst>
                <a:rect l="l" t="t" r="r" b="b"/>
                <a:pathLst>
                  <a:path w="7825" h="2608">
                    <a:moveTo>
                      <a:pt x="0" y="0"/>
                    </a:moveTo>
                    <a:lnTo>
                      <a:pt x="7825" y="0"/>
                    </a:lnTo>
                    <a:lnTo>
                      <a:pt x="7825" y="2609"/>
                    </a:lnTo>
                    <a:lnTo>
                      <a:pt x="0" y="2609"/>
                    </a:lnTo>
                    <a:close/>
                  </a:path>
                </a:pathLst>
              </a:custGeom>
              <a:grpFill/>
              <a:ln w="0" cap="flat">
                <a:noFill/>
                <a:prstDash val="solid"/>
                <a:miter/>
              </a:ln>
            </p:spPr>
            <p:txBody>
              <a:bodyPr rtlCol="0" anchor="ctr"/>
              <a:lstStyle/>
              <a:p>
                <a:endParaRPr lang="en-US"/>
              </a:p>
            </p:txBody>
          </p:sp>
          <p:sp>
            <p:nvSpPr>
              <p:cNvPr id="70" name="Freeform 69">
                <a:extLst>
                  <a:ext uri="{FF2B5EF4-FFF2-40B4-BE49-F238E27FC236}">
                    <a16:creationId xmlns:a16="http://schemas.microsoft.com/office/drawing/2014/main" id="{7ADB36BC-5CA1-A4A3-3D22-41468BC91E0A}"/>
                  </a:ext>
                </a:extLst>
              </p:cNvPr>
              <p:cNvSpPr/>
              <p:nvPr/>
            </p:nvSpPr>
            <p:spPr>
              <a:xfrm>
                <a:off x="8872532" y="3480014"/>
                <a:ext cx="2608" cy="7826"/>
              </a:xfrm>
              <a:custGeom>
                <a:avLst/>
                <a:gdLst>
                  <a:gd name="connsiteX0" fmla="*/ 0 w 2608"/>
                  <a:gd name="connsiteY0" fmla="*/ 0 h 7826"/>
                  <a:gd name="connsiteX1" fmla="*/ 2608 w 2608"/>
                  <a:gd name="connsiteY1" fmla="*/ 0 h 7826"/>
                  <a:gd name="connsiteX2" fmla="*/ 2608 w 2608"/>
                  <a:gd name="connsiteY2" fmla="*/ 7826 h 7826"/>
                  <a:gd name="connsiteX3" fmla="*/ 0 w 2608"/>
                  <a:gd name="connsiteY3" fmla="*/ 7826 h 7826"/>
                </a:gdLst>
                <a:ahLst/>
                <a:cxnLst>
                  <a:cxn ang="0">
                    <a:pos x="connsiteX0" y="connsiteY0"/>
                  </a:cxn>
                  <a:cxn ang="0">
                    <a:pos x="connsiteX1" y="connsiteY1"/>
                  </a:cxn>
                  <a:cxn ang="0">
                    <a:pos x="connsiteX2" y="connsiteY2"/>
                  </a:cxn>
                  <a:cxn ang="0">
                    <a:pos x="connsiteX3" y="connsiteY3"/>
                  </a:cxn>
                </a:cxnLst>
                <a:rect l="l" t="t" r="r" b="b"/>
                <a:pathLst>
                  <a:path w="2608" h="7826">
                    <a:moveTo>
                      <a:pt x="0" y="0"/>
                    </a:moveTo>
                    <a:lnTo>
                      <a:pt x="2608" y="0"/>
                    </a:lnTo>
                    <a:lnTo>
                      <a:pt x="2608" y="7826"/>
                    </a:lnTo>
                    <a:lnTo>
                      <a:pt x="0" y="7826"/>
                    </a:lnTo>
                    <a:close/>
                  </a:path>
                </a:pathLst>
              </a:custGeom>
              <a:grpFill/>
              <a:ln w="0" cap="flat">
                <a:noFill/>
                <a:prstDash val="solid"/>
                <a:miter/>
              </a:ln>
            </p:spPr>
            <p:txBody>
              <a:bodyPr rtlCol="0" anchor="ctr"/>
              <a:lstStyle/>
              <a:p>
                <a:endParaRPr lang="en-US"/>
              </a:p>
            </p:txBody>
          </p:sp>
          <p:sp>
            <p:nvSpPr>
              <p:cNvPr id="71" name="Freeform 70">
                <a:extLst>
                  <a:ext uri="{FF2B5EF4-FFF2-40B4-BE49-F238E27FC236}">
                    <a16:creationId xmlns:a16="http://schemas.microsoft.com/office/drawing/2014/main" id="{FE076039-4179-44F4-2FCF-DCC3D72BCB87}"/>
                  </a:ext>
                </a:extLst>
              </p:cNvPr>
              <p:cNvSpPr/>
              <p:nvPr/>
            </p:nvSpPr>
            <p:spPr>
              <a:xfrm>
                <a:off x="8872532" y="3448420"/>
                <a:ext cx="4347" cy="8116"/>
              </a:xfrm>
              <a:custGeom>
                <a:avLst/>
                <a:gdLst>
                  <a:gd name="connsiteX0" fmla="*/ 870 w 4347"/>
                  <a:gd name="connsiteY0" fmla="*/ 4058 h 8116"/>
                  <a:gd name="connsiteX1" fmla="*/ 0 w 4347"/>
                  <a:gd name="connsiteY1" fmla="*/ 4058 h 8116"/>
                  <a:gd name="connsiteX2" fmla="*/ 0 w 4347"/>
                  <a:gd name="connsiteY2" fmla="*/ 8116 h 8116"/>
                  <a:gd name="connsiteX3" fmla="*/ 2898 w 4347"/>
                  <a:gd name="connsiteY3" fmla="*/ 8116 h 8116"/>
                  <a:gd name="connsiteX4" fmla="*/ 4347 w 4347"/>
                  <a:gd name="connsiteY4" fmla="*/ 580 h 8116"/>
                  <a:gd name="connsiteX5" fmla="*/ 1739 w 4347"/>
                  <a:gd name="connsiteY5" fmla="*/ 0 h 8116"/>
                  <a:gd name="connsiteX6" fmla="*/ 870 w 4347"/>
                  <a:gd name="connsiteY6" fmla="*/ 4348 h 8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47" h="8116">
                    <a:moveTo>
                      <a:pt x="870" y="4058"/>
                    </a:moveTo>
                    <a:lnTo>
                      <a:pt x="0" y="4058"/>
                    </a:lnTo>
                    <a:lnTo>
                      <a:pt x="0" y="8116"/>
                    </a:lnTo>
                    <a:lnTo>
                      <a:pt x="2898" y="8116"/>
                    </a:lnTo>
                    <a:cubicBezTo>
                      <a:pt x="2898" y="5507"/>
                      <a:pt x="3478" y="3188"/>
                      <a:pt x="4347" y="580"/>
                    </a:cubicBezTo>
                    <a:lnTo>
                      <a:pt x="1739" y="0"/>
                    </a:lnTo>
                    <a:cubicBezTo>
                      <a:pt x="1449" y="1449"/>
                      <a:pt x="1159" y="2899"/>
                      <a:pt x="870" y="4348"/>
                    </a:cubicBezTo>
                    <a:close/>
                  </a:path>
                </a:pathLst>
              </a:custGeom>
              <a:grpFill/>
              <a:ln w="0" cap="flat">
                <a:noFill/>
                <a:prstDash val="solid"/>
                <a:miter/>
              </a:ln>
            </p:spPr>
            <p:txBody>
              <a:bodyPr rtlCol="0" anchor="ctr"/>
              <a:lstStyle/>
              <a:p>
                <a:endParaRPr lang="en-US"/>
              </a:p>
            </p:txBody>
          </p:sp>
          <p:sp>
            <p:nvSpPr>
              <p:cNvPr id="72" name="Freeform 71">
                <a:extLst>
                  <a:ext uri="{FF2B5EF4-FFF2-40B4-BE49-F238E27FC236}">
                    <a16:creationId xmlns:a16="http://schemas.microsoft.com/office/drawing/2014/main" id="{FF0E59ED-AA2F-D121-99A8-19611C22619B}"/>
                  </a:ext>
                </a:extLst>
              </p:cNvPr>
              <p:cNvSpPr/>
              <p:nvPr/>
            </p:nvSpPr>
            <p:spPr>
              <a:xfrm>
                <a:off x="8872532" y="3464072"/>
                <a:ext cx="2608" cy="7826"/>
              </a:xfrm>
              <a:custGeom>
                <a:avLst/>
                <a:gdLst>
                  <a:gd name="connsiteX0" fmla="*/ 0 w 2608"/>
                  <a:gd name="connsiteY0" fmla="*/ 0 h 7826"/>
                  <a:gd name="connsiteX1" fmla="*/ 2608 w 2608"/>
                  <a:gd name="connsiteY1" fmla="*/ 0 h 7826"/>
                  <a:gd name="connsiteX2" fmla="*/ 2608 w 2608"/>
                  <a:gd name="connsiteY2" fmla="*/ 7826 h 7826"/>
                  <a:gd name="connsiteX3" fmla="*/ 0 w 2608"/>
                  <a:gd name="connsiteY3" fmla="*/ 7826 h 7826"/>
                </a:gdLst>
                <a:ahLst/>
                <a:cxnLst>
                  <a:cxn ang="0">
                    <a:pos x="connsiteX0" y="connsiteY0"/>
                  </a:cxn>
                  <a:cxn ang="0">
                    <a:pos x="connsiteX1" y="connsiteY1"/>
                  </a:cxn>
                  <a:cxn ang="0">
                    <a:pos x="connsiteX2" y="connsiteY2"/>
                  </a:cxn>
                  <a:cxn ang="0">
                    <a:pos x="connsiteX3" y="connsiteY3"/>
                  </a:cxn>
                </a:cxnLst>
                <a:rect l="l" t="t" r="r" b="b"/>
                <a:pathLst>
                  <a:path w="2608" h="7826">
                    <a:moveTo>
                      <a:pt x="0" y="0"/>
                    </a:moveTo>
                    <a:lnTo>
                      <a:pt x="2608" y="0"/>
                    </a:lnTo>
                    <a:lnTo>
                      <a:pt x="2608" y="7826"/>
                    </a:lnTo>
                    <a:lnTo>
                      <a:pt x="0" y="7826"/>
                    </a:lnTo>
                    <a:close/>
                  </a:path>
                </a:pathLst>
              </a:custGeom>
              <a:grpFill/>
              <a:ln w="0" cap="flat">
                <a:noFill/>
                <a:prstDash val="solid"/>
                <a:miter/>
              </a:ln>
            </p:spPr>
            <p:txBody>
              <a:bodyPr rtlCol="0" anchor="ctr"/>
              <a:lstStyle/>
              <a:p>
                <a:endParaRPr lang="en-US"/>
              </a:p>
            </p:txBody>
          </p:sp>
          <p:sp>
            <p:nvSpPr>
              <p:cNvPr id="73" name="Freeform 72">
                <a:extLst>
                  <a:ext uri="{FF2B5EF4-FFF2-40B4-BE49-F238E27FC236}">
                    <a16:creationId xmlns:a16="http://schemas.microsoft.com/office/drawing/2014/main" id="{5CCF3C23-DEFF-1691-B6FF-EE0BE2547526}"/>
                  </a:ext>
                </a:extLst>
              </p:cNvPr>
              <p:cNvSpPr/>
              <p:nvPr/>
            </p:nvSpPr>
            <p:spPr>
              <a:xfrm>
                <a:off x="9034545" y="3399434"/>
                <a:ext cx="4057" cy="2608"/>
              </a:xfrm>
              <a:custGeom>
                <a:avLst/>
                <a:gdLst>
                  <a:gd name="connsiteX0" fmla="*/ 0 w 4057"/>
                  <a:gd name="connsiteY0" fmla="*/ 0 h 2608"/>
                  <a:gd name="connsiteX1" fmla="*/ 4057 w 4057"/>
                  <a:gd name="connsiteY1" fmla="*/ 0 h 2608"/>
                  <a:gd name="connsiteX2" fmla="*/ 4057 w 4057"/>
                  <a:gd name="connsiteY2" fmla="*/ 2609 h 2608"/>
                  <a:gd name="connsiteX3" fmla="*/ 0 w 4057"/>
                  <a:gd name="connsiteY3" fmla="*/ 2609 h 2608"/>
                </a:gdLst>
                <a:ahLst/>
                <a:cxnLst>
                  <a:cxn ang="0">
                    <a:pos x="connsiteX0" y="connsiteY0"/>
                  </a:cxn>
                  <a:cxn ang="0">
                    <a:pos x="connsiteX1" y="connsiteY1"/>
                  </a:cxn>
                  <a:cxn ang="0">
                    <a:pos x="connsiteX2" y="connsiteY2"/>
                  </a:cxn>
                  <a:cxn ang="0">
                    <a:pos x="connsiteX3" y="connsiteY3"/>
                  </a:cxn>
                </a:cxnLst>
                <a:rect l="l" t="t" r="r" b="b"/>
                <a:pathLst>
                  <a:path w="4057" h="2608">
                    <a:moveTo>
                      <a:pt x="0" y="0"/>
                    </a:moveTo>
                    <a:lnTo>
                      <a:pt x="4057" y="0"/>
                    </a:lnTo>
                    <a:lnTo>
                      <a:pt x="4057" y="2609"/>
                    </a:lnTo>
                    <a:lnTo>
                      <a:pt x="0" y="2609"/>
                    </a:lnTo>
                    <a:close/>
                  </a:path>
                </a:pathLst>
              </a:custGeom>
              <a:grpFill/>
              <a:ln w="0" cap="flat">
                <a:noFill/>
                <a:prstDash val="solid"/>
                <a:miter/>
              </a:ln>
            </p:spPr>
            <p:txBody>
              <a:bodyPr rtlCol="0" anchor="ctr"/>
              <a:lstStyle/>
              <a:p>
                <a:endParaRPr lang="en-US"/>
              </a:p>
            </p:txBody>
          </p:sp>
        </p:grpSp>
        <p:sp>
          <p:nvSpPr>
            <p:cNvPr id="74" name="TextBox 73">
              <a:extLst>
                <a:ext uri="{FF2B5EF4-FFF2-40B4-BE49-F238E27FC236}">
                  <a16:creationId xmlns:a16="http://schemas.microsoft.com/office/drawing/2014/main" id="{A6537056-2750-80C0-09AA-99C25CF35497}"/>
                </a:ext>
              </a:extLst>
            </p:cNvPr>
            <p:cNvSpPr txBox="1"/>
            <p:nvPr/>
          </p:nvSpPr>
          <p:spPr>
            <a:xfrm rot="10800000">
              <a:off x="1824298" y="4742008"/>
              <a:ext cx="2395239" cy="511495"/>
            </a:xfrm>
            <a:prstGeom prst="rect">
              <a:avLst/>
            </a:prstGeom>
            <a:noFill/>
          </p:spPr>
          <p:txBody>
            <a:bodyPr wrap="square" lIns="0" rIns="0" rtlCol="0" anchor="b">
              <a:spAutoFit/>
            </a:bodyPr>
            <a:lstStyle/>
            <a:p>
              <a:r>
                <a:rPr lang="en-US" sz="2800" b="1" noProof="1">
                  <a:solidFill>
                    <a:schemeClr val="accent4"/>
                  </a:solidFill>
                </a:rPr>
                <a:t>Tool 4</a:t>
              </a:r>
            </a:p>
          </p:txBody>
        </p:sp>
        <p:sp>
          <p:nvSpPr>
            <p:cNvPr id="75" name="TextBox 74">
              <a:extLst>
                <a:ext uri="{FF2B5EF4-FFF2-40B4-BE49-F238E27FC236}">
                  <a16:creationId xmlns:a16="http://schemas.microsoft.com/office/drawing/2014/main" id="{DCA4E52D-C7DA-EE6B-6E24-01D5D6606BB5}"/>
                </a:ext>
              </a:extLst>
            </p:cNvPr>
            <p:cNvSpPr txBox="1"/>
            <p:nvPr/>
          </p:nvSpPr>
          <p:spPr>
            <a:xfrm rot="10800000">
              <a:off x="1824298" y="3083138"/>
              <a:ext cx="2395239" cy="523220"/>
            </a:xfrm>
            <a:prstGeom prst="rect">
              <a:avLst/>
            </a:prstGeom>
            <a:noFill/>
          </p:spPr>
          <p:txBody>
            <a:bodyPr wrap="square" lIns="0" rIns="0" rtlCol="0" anchor="b">
              <a:spAutoFit/>
            </a:bodyPr>
            <a:lstStyle/>
            <a:p>
              <a:r>
                <a:rPr lang="en-US" sz="2800" b="1" noProof="1">
                  <a:solidFill>
                    <a:schemeClr val="accent5"/>
                  </a:solidFill>
                </a:rPr>
                <a:t>Tool 3</a:t>
              </a:r>
            </a:p>
          </p:txBody>
        </p:sp>
        <p:sp>
          <p:nvSpPr>
            <p:cNvPr id="76" name="TextBox 75">
              <a:extLst>
                <a:ext uri="{FF2B5EF4-FFF2-40B4-BE49-F238E27FC236}">
                  <a16:creationId xmlns:a16="http://schemas.microsoft.com/office/drawing/2014/main" id="{B693930E-D03C-412E-93D3-FBBA99CF6A36}"/>
                </a:ext>
              </a:extLst>
            </p:cNvPr>
            <p:cNvSpPr txBox="1"/>
            <p:nvPr/>
          </p:nvSpPr>
          <p:spPr>
            <a:xfrm rot="10800000">
              <a:off x="7944368" y="3945905"/>
              <a:ext cx="2395239" cy="523220"/>
            </a:xfrm>
            <a:prstGeom prst="rect">
              <a:avLst/>
            </a:prstGeom>
            <a:noFill/>
          </p:spPr>
          <p:txBody>
            <a:bodyPr wrap="square" lIns="0" rIns="0" rtlCol="0" anchor="b">
              <a:spAutoFit/>
            </a:bodyPr>
            <a:lstStyle/>
            <a:p>
              <a:r>
                <a:rPr lang="en-US" sz="2800" b="1" noProof="1">
                  <a:solidFill>
                    <a:schemeClr val="accent1"/>
                  </a:solidFill>
                </a:rPr>
                <a:t>Tool 1</a:t>
              </a:r>
            </a:p>
          </p:txBody>
        </p:sp>
        <p:sp>
          <p:nvSpPr>
            <p:cNvPr id="77" name="TextBox 76">
              <a:extLst>
                <a:ext uri="{FF2B5EF4-FFF2-40B4-BE49-F238E27FC236}">
                  <a16:creationId xmlns:a16="http://schemas.microsoft.com/office/drawing/2014/main" id="{9278D37F-4BE5-48B1-DC0A-9F1691F03168}"/>
                </a:ext>
              </a:extLst>
            </p:cNvPr>
            <p:cNvSpPr txBox="1"/>
            <p:nvPr/>
          </p:nvSpPr>
          <p:spPr>
            <a:xfrm rot="10800000">
              <a:off x="7893036" y="2219313"/>
              <a:ext cx="2395239" cy="523220"/>
            </a:xfrm>
            <a:prstGeom prst="rect">
              <a:avLst/>
            </a:prstGeom>
            <a:noFill/>
          </p:spPr>
          <p:txBody>
            <a:bodyPr wrap="square" lIns="0" rIns="0" rtlCol="0" anchor="b">
              <a:spAutoFit/>
            </a:bodyPr>
            <a:lstStyle/>
            <a:p>
              <a:r>
                <a:rPr lang="en-US" sz="2800" b="1" noProof="1">
                  <a:solidFill>
                    <a:schemeClr val="accent2"/>
                  </a:solidFill>
                </a:rPr>
                <a:t>Tool 2</a:t>
              </a:r>
            </a:p>
          </p:txBody>
        </p:sp>
      </p:grpSp>
      <p:sp>
        <p:nvSpPr>
          <p:cNvPr id="92" name="TextBox 91">
            <a:extLst>
              <a:ext uri="{FF2B5EF4-FFF2-40B4-BE49-F238E27FC236}">
                <a16:creationId xmlns:a16="http://schemas.microsoft.com/office/drawing/2014/main" id="{EF67925B-302A-7671-A5CC-B4EB3E6D04EA}"/>
              </a:ext>
            </a:extLst>
          </p:cNvPr>
          <p:cNvSpPr txBox="1"/>
          <p:nvPr/>
        </p:nvSpPr>
        <p:spPr>
          <a:xfrm>
            <a:off x="7198767" y="384048"/>
            <a:ext cx="3125072" cy="523220"/>
          </a:xfrm>
          <a:prstGeom prst="rect">
            <a:avLst/>
          </a:prstGeom>
          <a:noFill/>
        </p:spPr>
        <p:txBody>
          <a:bodyPr wrap="square" lIns="0" rIns="0" rtlCol="0" anchor="b">
            <a:spAutoFit/>
          </a:bodyPr>
          <a:lstStyle/>
          <a:p>
            <a:r>
              <a:rPr lang="en-US" sz="2800" b="1" noProof="1">
                <a:solidFill>
                  <a:schemeClr val="accent5"/>
                </a:solidFill>
              </a:rPr>
              <a:t>Success / Failure</a:t>
            </a:r>
          </a:p>
        </p:txBody>
      </p:sp>
      <p:sp>
        <p:nvSpPr>
          <p:cNvPr id="93" name="TextBox 92">
            <a:extLst>
              <a:ext uri="{FF2B5EF4-FFF2-40B4-BE49-F238E27FC236}">
                <a16:creationId xmlns:a16="http://schemas.microsoft.com/office/drawing/2014/main" id="{3054EE27-4298-8F50-BA3E-49E3FBD918C8}"/>
              </a:ext>
            </a:extLst>
          </p:cNvPr>
          <p:cNvSpPr txBox="1"/>
          <p:nvPr/>
        </p:nvSpPr>
        <p:spPr>
          <a:xfrm>
            <a:off x="138546" y="6327363"/>
            <a:ext cx="3412024" cy="369332"/>
          </a:xfrm>
          <a:prstGeom prst="rect">
            <a:avLst/>
          </a:prstGeom>
          <a:noFill/>
        </p:spPr>
        <p:txBody>
          <a:bodyPr wrap="none" rtlCol="0">
            <a:spAutoFit/>
          </a:bodyPr>
          <a:lstStyle/>
          <a:p>
            <a:r>
              <a:rPr lang="en-US"/>
              <a:t>https://</a:t>
            </a:r>
            <a:r>
              <a:rPr lang="en-US" err="1"/>
              <a:t>arxiv.org</a:t>
            </a:r>
            <a:r>
              <a:rPr lang="en-US"/>
              <a:t>/pdf/2403.03031</a:t>
            </a:r>
          </a:p>
        </p:txBody>
      </p:sp>
      <p:sp>
        <p:nvSpPr>
          <p:cNvPr id="94" name="TextBox 93">
            <a:extLst>
              <a:ext uri="{FF2B5EF4-FFF2-40B4-BE49-F238E27FC236}">
                <a16:creationId xmlns:a16="http://schemas.microsoft.com/office/drawing/2014/main" id="{6C0D642A-2BA0-4DE5-0C67-53102D4D6363}"/>
              </a:ext>
            </a:extLst>
          </p:cNvPr>
          <p:cNvSpPr txBox="1"/>
          <p:nvPr/>
        </p:nvSpPr>
        <p:spPr>
          <a:xfrm>
            <a:off x="5384002" y="5720987"/>
            <a:ext cx="6571094" cy="646331"/>
          </a:xfrm>
          <a:prstGeom prst="rect">
            <a:avLst/>
          </a:prstGeom>
          <a:noFill/>
        </p:spPr>
        <p:txBody>
          <a:bodyPr wrap="none" rtlCol="0">
            <a:spAutoFit/>
          </a:bodyPr>
          <a:lstStyle/>
          <a:p>
            <a:r>
              <a:rPr lang="en-US"/>
              <a:t>To a human, a hammer is many things: door stop, paperweight</a:t>
            </a:r>
          </a:p>
          <a:p>
            <a:r>
              <a:rPr lang="en-US"/>
              <a:t>To an agent, a hammer is for one thing, hammering nails.</a:t>
            </a:r>
          </a:p>
        </p:txBody>
      </p:sp>
    </p:spTree>
    <p:extLst>
      <p:ext uri="{BB962C8B-B14F-4D97-AF65-F5344CB8AC3E}">
        <p14:creationId xmlns:p14="http://schemas.microsoft.com/office/powerpoint/2010/main" val="1362980260"/>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2C3119FB-FDCB-C64F-C975-871200CDA97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041E9A9-736A-A4C0-CAD0-7C8C979293E9}"/>
              </a:ext>
            </a:extLst>
          </p:cNvPr>
          <p:cNvSpPr>
            <a:spLocks noGrp="1"/>
          </p:cNvSpPr>
          <p:nvPr>
            <p:ph type="title"/>
          </p:nvPr>
        </p:nvSpPr>
        <p:spPr/>
        <p:txBody>
          <a:bodyPr/>
          <a:lstStyle/>
          <a:p>
            <a:r>
              <a:rPr lang="en-US"/>
              <a:t>Mo Tools, Mo Problems?</a:t>
            </a:r>
          </a:p>
        </p:txBody>
      </p:sp>
      <p:grpSp>
        <p:nvGrpSpPr>
          <p:cNvPr id="85" name="Group 84">
            <a:extLst>
              <a:ext uri="{FF2B5EF4-FFF2-40B4-BE49-F238E27FC236}">
                <a16:creationId xmlns:a16="http://schemas.microsoft.com/office/drawing/2014/main" id="{4FC2F056-0E1C-7B4D-58F5-0C657086B6E6}"/>
              </a:ext>
            </a:extLst>
          </p:cNvPr>
          <p:cNvGrpSpPr/>
          <p:nvPr/>
        </p:nvGrpSpPr>
        <p:grpSpPr>
          <a:xfrm>
            <a:off x="271390" y="937264"/>
            <a:ext cx="5236524" cy="5475913"/>
            <a:chOff x="332936" y="2504656"/>
            <a:chExt cx="2926080" cy="5475913"/>
          </a:xfrm>
        </p:grpSpPr>
        <p:sp>
          <p:nvSpPr>
            <p:cNvPr id="86" name="TextBox 85">
              <a:extLst>
                <a:ext uri="{FF2B5EF4-FFF2-40B4-BE49-F238E27FC236}">
                  <a16:creationId xmlns:a16="http://schemas.microsoft.com/office/drawing/2014/main" id="{740B3BBC-3EC7-040C-09EB-56C8A3308C1B}"/>
                </a:ext>
              </a:extLst>
            </p:cNvPr>
            <p:cNvSpPr txBox="1"/>
            <p:nvPr/>
          </p:nvSpPr>
          <p:spPr>
            <a:xfrm>
              <a:off x="332936" y="2504656"/>
              <a:ext cx="2926080" cy="584775"/>
            </a:xfrm>
            <a:prstGeom prst="rect">
              <a:avLst/>
            </a:prstGeom>
            <a:noFill/>
          </p:spPr>
          <p:txBody>
            <a:bodyPr wrap="square" lIns="0" rIns="0" rtlCol="0" anchor="b">
              <a:spAutoFit/>
            </a:bodyPr>
            <a:lstStyle/>
            <a:p>
              <a:pPr algn="ctr"/>
              <a:r>
                <a:rPr lang="en-US" sz="3200" b="1" noProof="1"/>
                <a:t>Tool Access Paradox</a:t>
              </a:r>
            </a:p>
          </p:txBody>
        </p:sp>
        <p:sp>
          <p:nvSpPr>
            <p:cNvPr id="87" name="TextBox 86">
              <a:extLst>
                <a:ext uri="{FF2B5EF4-FFF2-40B4-BE49-F238E27FC236}">
                  <a16:creationId xmlns:a16="http://schemas.microsoft.com/office/drawing/2014/main" id="{75D3B845-A1FF-E863-A2E7-04A6E8970D39}"/>
                </a:ext>
              </a:extLst>
            </p:cNvPr>
            <p:cNvSpPr txBox="1"/>
            <p:nvPr/>
          </p:nvSpPr>
          <p:spPr>
            <a:xfrm>
              <a:off x="332936" y="3086922"/>
              <a:ext cx="2926080" cy="4893647"/>
            </a:xfrm>
            <a:prstGeom prst="rect">
              <a:avLst/>
            </a:prstGeom>
            <a:noFill/>
          </p:spPr>
          <p:txBody>
            <a:bodyPr wrap="square" lIns="0" rIns="0" rtlCol="0" anchor="t">
              <a:spAutoFit/>
            </a:bodyPr>
            <a:lstStyle/>
            <a:p>
              <a:pPr>
                <a:spcAft>
                  <a:spcPts val="1200"/>
                </a:spcAft>
              </a:pPr>
              <a:r>
                <a:rPr lang="en-US" sz="1600" noProof="1">
                  <a:solidFill>
                    <a:schemeClr val="tx1">
                      <a:lumMod val="65000"/>
                      <a:lumOff val="35000"/>
                    </a:schemeClr>
                  </a:solidFill>
                </a:rPr>
                <a:t>Let’s dive a bit deeper. The more tools an agent has access to, the more capable it becomes.. Yet… the more problems for operational mistakes.</a:t>
              </a:r>
            </a:p>
            <a:p>
              <a:pPr>
                <a:spcAft>
                  <a:spcPts val="1200"/>
                </a:spcAft>
              </a:pPr>
              <a:r>
                <a:rPr lang="en-US" sz="1600" noProof="1">
                  <a:solidFill>
                    <a:schemeClr val="tx1">
                      <a:lumMod val="65000"/>
                      <a:lumOff val="35000"/>
                    </a:schemeClr>
                  </a:solidFill>
                </a:rPr>
                <a:t>Let’s say we defining a tool with high relisience and detailed descriptions. We train a model to know how to use the tool perfectly. We do this for 3 tools:</a:t>
              </a:r>
            </a:p>
            <a:p>
              <a:pPr marL="342900" indent="-342900">
                <a:spcAft>
                  <a:spcPts val="1200"/>
                </a:spcAft>
                <a:buFont typeface="+mj-lt"/>
                <a:buAutoNum type="arabicPeriod"/>
              </a:pPr>
              <a:r>
                <a:rPr lang="en-US" sz="1600" noProof="1">
                  <a:solidFill>
                    <a:schemeClr val="tx1">
                      <a:lumMod val="65000"/>
                      <a:lumOff val="35000"/>
                    </a:schemeClr>
                  </a:solidFill>
                </a:rPr>
                <a:t>The ability to send emails.</a:t>
              </a:r>
            </a:p>
            <a:p>
              <a:pPr marL="342900" indent="-342900">
                <a:spcAft>
                  <a:spcPts val="1200"/>
                </a:spcAft>
                <a:buFont typeface="+mj-lt"/>
                <a:buAutoNum type="arabicPeriod"/>
              </a:pPr>
              <a:r>
                <a:rPr lang="en-US" sz="1600" noProof="1">
                  <a:solidFill>
                    <a:schemeClr val="tx1">
                      <a:lumMod val="65000"/>
                      <a:lumOff val="35000"/>
                    </a:schemeClr>
                  </a:solidFill>
                </a:rPr>
                <a:t>The ability to reference specific customer service database properly provisioned with access control to view only that customers previous interactions.</a:t>
              </a:r>
            </a:p>
            <a:p>
              <a:pPr marL="342900" indent="-342900">
                <a:spcAft>
                  <a:spcPts val="1200"/>
                </a:spcAft>
                <a:buFont typeface="+mj-lt"/>
                <a:buAutoNum type="arabicPeriod"/>
              </a:pPr>
              <a:r>
                <a:rPr lang="en-US" sz="1600" noProof="1">
                  <a:solidFill>
                    <a:schemeClr val="tx1">
                      <a:lumMod val="65000"/>
                      <a:lumOff val="35000"/>
                    </a:schemeClr>
                  </a:solidFill>
                </a:rPr>
                <a:t>Connection to a data lake to populate prioritized issues.</a:t>
              </a:r>
              <a:br>
                <a:rPr lang="en-US" sz="1600" noProof="1">
                  <a:solidFill>
                    <a:schemeClr val="tx1">
                      <a:lumMod val="65000"/>
                      <a:lumOff val="35000"/>
                    </a:schemeClr>
                  </a:solidFill>
                </a:rPr>
              </a:br>
              <a:br>
                <a:rPr lang="en-US" sz="1600" noProof="1">
                  <a:solidFill>
                    <a:schemeClr val="tx1">
                      <a:lumMod val="65000"/>
                      <a:lumOff val="35000"/>
                    </a:schemeClr>
                  </a:solidFill>
                </a:rPr>
              </a:br>
              <a:r>
                <a:rPr lang="en-US" sz="1600" noProof="1">
                  <a:solidFill>
                    <a:schemeClr val="tx1">
                      <a:lumMod val="65000"/>
                      <a:lumOff val="35000"/>
                    </a:schemeClr>
                  </a:solidFill>
                </a:rPr>
                <a:t>In theory, this agent could find novel issues in customer service calls and notify the proper authority.</a:t>
              </a:r>
              <a:br>
                <a:rPr lang="en-US" sz="1600" noProof="1">
                  <a:solidFill>
                    <a:schemeClr val="tx1">
                      <a:lumMod val="65000"/>
                      <a:lumOff val="35000"/>
                    </a:schemeClr>
                  </a:solidFill>
                </a:rPr>
              </a:br>
              <a:br>
                <a:rPr lang="en-US" sz="1600" noProof="1">
                  <a:solidFill>
                    <a:schemeClr val="tx1">
                      <a:lumMod val="65000"/>
                      <a:lumOff val="35000"/>
                    </a:schemeClr>
                  </a:solidFill>
                </a:rPr>
              </a:br>
              <a:r>
                <a:rPr lang="en-US" sz="1600" i="1" u="sng" noProof="1">
                  <a:solidFill>
                    <a:schemeClr val="tx1">
                      <a:lumMod val="65000"/>
                      <a:lumOff val="35000"/>
                    </a:schemeClr>
                  </a:solidFill>
                </a:rPr>
                <a:t>Any foreseeable issues?</a:t>
              </a:r>
              <a:endParaRPr lang="en-US" sz="1600" noProof="1">
                <a:solidFill>
                  <a:schemeClr val="tx1">
                    <a:lumMod val="65000"/>
                    <a:lumOff val="35000"/>
                  </a:schemeClr>
                </a:solidFill>
              </a:endParaRPr>
            </a:p>
          </p:txBody>
        </p:sp>
      </p:grpSp>
      <p:grpSp>
        <p:nvGrpSpPr>
          <p:cNvPr id="88" name="Group 87">
            <a:extLst>
              <a:ext uri="{FF2B5EF4-FFF2-40B4-BE49-F238E27FC236}">
                <a16:creationId xmlns:a16="http://schemas.microsoft.com/office/drawing/2014/main" id="{D0AE094E-4865-6E91-A311-68AD9EEDD712}"/>
              </a:ext>
            </a:extLst>
          </p:cNvPr>
          <p:cNvGrpSpPr/>
          <p:nvPr/>
        </p:nvGrpSpPr>
        <p:grpSpPr>
          <a:xfrm>
            <a:off x="5507915" y="902537"/>
            <a:ext cx="6523691" cy="5183856"/>
            <a:chOff x="5507915" y="902537"/>
            <a:chExt cx="6523691" cy="5183856"/>
          </a:xfrm>
        </p:grpSpPr>
        <p:sp>
          <p:nvSpPr>
            <p:cNvPr id="89" name="Google Shape;95;p5">
              <a:extLst>
                <a:ext uri="{FF2B5EF4-FFF2-40B4-BE49-F238E27FC236}">
                  <a16:creationId xmlns:a16="http://schemas.microsoft.com/office/drawing/2014/main" id="{E7EC468A-BD52-4894-B475-D2D532E0CD1F}"/>
                </a:ext>
              </a:extLst>
            </p:cNvPr>
            <p:cNvSpPr/>
            <p:nvPr/>
          </p:nvSpPr>
          <p:spPr>
            <a:xfrm>
              <a:off x="6658699" y="902537"/>
              <a:ext cx="4222122" cy="4632890"/>
            </a:xfrm>
            <a:custGeom>
              <a:avLst/>
              <a:gdLst/>
              <a:ahLst/>
              <a:cxnLst/>
              <a:rect l="l" t="t" r="r" b="b"/>
              <a:pathLst>
                <a:path w="21184" h="21286" extrusionOk="0">
                  <a:moveTo>
                    <a:pt x="18899" y="4710"/>
                  </a:moveTo>
                  <a:cubicBezTo>
                    <a:pt x="18180" y="3606"/>
                    <a:pt x="17438" y="2499"/>
                    <a:pt x="16400" y="1601"/>
                  </a:cubicBezTo>
                  <a:cubicBezTo>
                    <a:pt x="15362" y="703"/>
                    <a:pt x="13984" y="30"/>
                    <a:pt x="12510" y="1"/>
                  </a:cubicBezTo>
                  <a:cubicBezTo>
                    <a:pt x="11127" y="-23"/>
                    <a:pt x="9810" y="521"/>
                    <a:pt x="8666" y="1190"/>
                  </a:cubicBezTo>
                  <a:cubicBezTo>
                    <a:pt x="7522" y="1859"/>
                    <a:pt x="6490" y="2661"/>
                    <a:pt x="5296" y="3272"/>
                  </a:cubicBezTo>
                  <a:cubicBezTo>
                    <a:pt x="3097" y="4394"/>
                    <a:pt x="659" y="5259"/>
                    <a:pt x="201" y="7709"/>
                  </a:cubicBezTo>
                  <a:cubicBezTo>
                    <a:pt x="-5" y="8807"/>
                    <a:pt x="408" y="9877"/>
                    <a:pt x="631" y="10947"/>
                  </a:cubicBezTo>
                  <a:cubicBezTo>
                    <a:pt x="837" y="11945"/>
                    <a:pt x="670" y="12967"/>
                    <a:pt x="525" y="13965"/>
                  </a:cubicBezTo>
                  <a:cubicBezTo>
                    <a:pt x="380" y="14982"/>
                    <a:pt x="229" y="15999"/>
                    <a:pt x="84" y="17016"/>
                  </a:cubicBezTo>
                  <a:cubicBezTo>
                    <a:pt x="-33" y="17823"/>
                    <a:pt x="-117" y="18731"/>
                    <a:pt x="480" y="19366"/>
                  </a:cubicBezTo>
                  <a:cubicBezTo>
                    <a:pt x="1607" y="20560"/>
                    <a:pt x="3571" y="19920"/>
                    <a:pt x="5061" y="20125"/>
                  </a:cubicBezTo>
                  <a:cubicBezTo>
                    <a:pt x="6964" y="20393"/>
                    <a:pt x="8365" y="21577"/>
                    <a:pt x="10407" y="21219"/>
                  </a:cubicBezTo>
                  <a:cubicBezTo>
                    <a:pt x="13939" y="20593"/>
                    <a:pt x="16562" y="18010"/>
                    <a:pt x="18621" y="15665"/>
                  </a:cubicBezTo>
                  <a:cubicBezTo>
                    <a:pt x="19742" y="14385"/>
                    <a:pt x="20875" y="12981"/>
                    <a:pt x="21120" y="11357"/>
                  </a:cubicBezTo>
                  <a:cubicBezTo>
                    <a:pt x="21483" y="8903"/>
                    <a:pt x="20250" y="6787"/>
                    <a:pt x="18899" y="4710"/>
                  </a:cubicBezTo>
                  <a:close/>
                </a:path>
              </a:pathLst>
            </a:custGeom>
            <a:solidFill>
              <a:schemeClr val="lt1"/>
            </a:solidFill>
            <a:ln>
              <a:noFill/>
            </a:ln>
          </p:spPr>
          <p:txBody>
            <a:bodyPr spcFirstLastPara="1" wrap="square" lIns="38100" tIns="38100" rIns="38100" bIns="381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1" name="Google Shape;98;p5">
              <a:extLst>
                <a:ext uri="{FF2B5EF4-FFF2-40B4-BE49-F238E27FC236}">
                  <a16:creationId xmlns:a16="http://schemas.microsoft.com/office/drawing/2014/main" id="{8A2355AA-E639-9B19-BE38-F78B9EAB10E5}"/>
                </a:ext>
              </a:extLst>
            </p:cNvPr>
            <p:cNvSpPr/>
            <p:nvPr/>
          </p:nvSpPr>
          <p:spPr>
            <a:xfrm>
              <a:off x="5507915" y="1167761"/>
              <a:ext cx="6523691" cy="4918632"/>
            </a:xfrm>
            <a:custGeom>
              <a:avLst/>
              <a:gdLst/>
              <a:ahLst/>
              <a:cxnLst/>
              <a:rect l="l" t="t" r="r" b="b"/>
              <a:pathLst>
                <a:path w="21579" h="21538" extrusionOk="0">
                  <a:moveTo>
                    <a:pt x="12817" y="1527"/>
                  </a:moveTo>
                  <a:cubicBezTo>
                    <a:pt x="12817" y="1522"/>
                    <a:pt x="12817" y="1522"/>
                    <a:pt x="12817" y="1527"/>
                  </a:cubicBezTo>
                  <a:cubicBezTo>
                    <a:pt x="12817" y="1522"/>
                    <a:pt x="12817" y="1522"/>
                    <a:pt x="12817" y="1527"/>
                  </a:cubicBezTo>
                  <a:lnTo>
                    <a:pt x="12817" y="1527"/>
                  </a:lnTo>
                  <a:close/>
                  <a:moveTo>
                    <a:pt x="13808" y="18457"/>
                  </a:moveTo>
                  <a:cubicBezTo>
                    <a:pt x="13808" y="18457"/>
                    <a:pt x="13804" y="18457"/>
                    <a:pt x="13808" y="18457"/>
                  </a:cubicBezTo>
                  <a:cubicBezTo>
                    <a:pt x="13804" y="18457"/>
                    <a:pt x="13804" y="18457"/>
                    <a:pt x="13808" y="18457"/>
                  </a:cubicBezTo>
                  <a:lnTo>
                    <a:pt x="13808" y="18457"/>
                  </a:lnTo>
                  <a:close/>
                  <a:moveTo>
                    <a:pt x="11123" y="11787"/>
                  </a:moveTo>
                  <a:cubicBezTo>
                    <a:pt x="11123" y="11787"/>
                    <a:pt x="11123" y="11787"/>
                    <a:pt x="11123" y="11787"/>
                  </a:cubicBezTo>
                  <a:cubicBezTo>
                    <a:pt x="11123" y="11787"/>
                    <a:pt x="11123" y="11782"/>
                    <a:pt x="11123" y="11787"/>
                  </a:cubicBezTo>
                  <a:lnTo>
                    <a:pt x="11123" y="11787"/>
                  </a:lnTo>
                  <a:close/>
                  <a:moveTo>
                    <a:pt x="21504" y="21517"/>
                  </a:moveTo>
                  <a:cubicBezTo>
                    <a:pt x="21465" y="21543"/>
                    <a:pt x="21422" y="21538"/>
                    <a:pt x="21379" y="21538"/>
                  </a:cubicBezTo>
                  <a:cubicBezTo>
                    <a:pt x="18532" y="21492"/>
                    <a:pt x="15680" y="21517"/>
                    <a:pt x="12833" y="21497"/>
                  </a:cubicBezTo>
                  <a:cubicBezTo>
                    <a:pt x="9464" y="21471"/>
                    <a:pt x="6096" y="21461"/>
                    <a:pt x="2728" y="21440"/>
                  </a:cubicBezTo>
                  <a:cubicBezTo>
                    <a:pt x="1885" y="21435"/>
                    <a:pt x="1038" y="21425"/>
                    <a:pt x="195" y="21414"/>
                  </a:cubicBezTo>
                  <a:cubicBezTo>
                    <a:pt x="102" y="21414"/>
                    <a:pt x="12" y="21409"/>
                    <a:pt x="1" y="21250"/>
                  </a:cubicBezTo>
                  <a:cubicBezTo>
                    <a:pt x="-7" y="21126"/>
                    <a:pt x="59" y="21070"/>
                    <a:pt x="199" y="21070"/>
                  </a:cubicBezTo>
                  <a:cubicBezTo>
                    <a:pt x="1069" y="21075"/>
                    <a:pt x="1939" y="21080"/>
                    <a:pt x="2806" y="21085"/>
                  </a:cubicBezTo>
                  <a:cubicBezTo>
                    <a:pt x="2856" y="21085"/>
                    <a:pt x="2903" y="21085"/>
                    <a:pt x="2961" y="21070"/>
                  </a:cubicBezTo>
                  <a:cubicBezTo>
                    <a:pt x="2701" y="20859"/>
                    <a:pt x="2670" y="20484"/>
                    <a:pt x="2588" y="20154"/>
                  </a:cubicBezTo>
                  <a:cubicBezTo>
                    <a:pt x="2048" y="18010"/>
                    <a:pt x="1508" y="15865"/>
                    <a:pt x="968" y="13721"/>
                  </a:cubicBezTo>
                  <a:cubicBezTo>
                    <a:pt x="925" y="13556"/>
                    <a:pt x="894" y="13392"/>
                    <a:pt x="910" y="13217"/>
                  </a:cubicBezTo>
                  <a:cubicBezTo>
                    <a:pt x="933" y="13006"/>
                    <a:pt x="1015" y="12867"/>
                    <a:pt x="1178" y="12831"/>
                  </a:cubicBezTo>
                  <a:cubicBezTo>
                    <a:pt x="1726" y="12702"/>
                    <a:pt x="2270" y="12584"/>
                    <a:pt x="2817" y="12461"/>
                  </a:cubicBezTo>
                  <a:cubicBezTo>
                    <a:pt x="3404" y="12332"/>
                    <a:pt x="3994" y="12204"/>
                    <a:pt x="4581" y="12070"/>
                  </a:cubicBezTo>
                  <a:cubicBezTo>
                    <a:pt x="4814" y="12018"/>
                    <a:pt x="5032" y="12024"/>
                    <a:pt x="5226" y="12234"/>
                  </a:cubicBezTo>
                  <a:cubicBezTo>
                    <a:pt x="5327" y="12348"/>
                    <a:pt x="5377" y="12497"/>
                    <a:pt x="5420" y="12656"/>
                  </a:cubicBezTo>
                  <a:cubicBezTo>
                    <a:pt x="5440" y="12723"/>
                    <a:pt x="5455" y="12790"/>
                    <a:pt x="5475" y="12857"/>
                  </a:cubicBezTo>
                  <a:cubicBezTo>
                    <a:pt x="5482" y="12908"/>
                    <a:pt x="5494" y="12954"/>
                    <a:pt x="5502" y="13006"/>
                  </a:cubicBezTo>
                  <a:cubicBezTo>
                    <a:pt x="5552" y="13196"/>
                    <a:pt x="5599" y="13381"/>
                    <a:pt x="5649" y="13572"/>
                  </a:cubicBezTo>
                  <a:cubicBezTo>
                    <a:pt x="5642" y="13618"/>
                    <a:pt x="5653" y="13654"/>
                    <a:pt x="5677" y="13690"/>
                  </a:cubicBezTo>
                  <a:cubicBezTo>
                    <a:pt x="5906" y="14662"/>
                    <a:pt x="6139" y="15634"/>
                    <a:pt x="6372" y="16606"/>
                  </a:cubicBezTo>
                  <a:cubicBezTo>
                    <a:pt x="6477" y="17043"/>
                    <a:pt x="6582" y="17480"/>
                    <a:pt x="6691" y="17917"/>
                  </a:cubicBezTo>
                  <a:cubicBezTo>
                    <a:pt x="6702" y="17969"/>
                    <a:pt x="6694" y="18046"/>
                    <a:pt x="6784" y="18000"/>
                  </a:cubicBezTo>
                  <a:cubicBezTo>
                    <a:pt x="7370" y="17691"/>
                    <a:pt x="7969" y="17444"/>
                    <a:pt x="8594" y="17280"/>
                  </a:cubicBezTo>
                  <a:cubicBezTo>
                    <a:pt x="8536" y="17115"/>
                    <a:pt x="8563" y="16956"/>
                    <a:pt x="8602" y="16796"/>
                  </a:cubicBezTo>
                  <a:cubicBezTo>
                    <a:pt x="8905" y="15567"/>
                    <a:pt x="9185" y="14322"/>
                    <a:pt x="9464" y="13083"/>
                  </a:cubicBezTo>
                  <a:cubicBezTo>
                    <a:pt x="9538" y="12759"/>
                    <a:pt x="9499" y="12430"/>
                    <a:pt x="9484" y="12101"/>
                  </a:cubicBezTo>
                  <a:cubicBezTo>
                    <a:pt x="9460" y="11597"/>
                    <a:pt x="9484" y="11098"/>
                    <a:pt x="9600" y="10614"/>
                  </a:cubicBezTo>
                  <a:cubicBezTo>
                    <a:pt x="9686" y="10254"/>
                    <a:pt x="9841" y="9977"/>
                    <a:pt x="10109" y="9812"/>
                  </a:cubicBezTo>
                  <a:cubicBezTo>
                    <a:pt x="10412" y="9622"/>
                    <a:pt x="10704" y="9401"/>
                    <a:pt x="11014" y="9185"/>
                  </a:cubicBezTo>
                  <a:cubicBezTo>
                    <a:pt x="10863" y="9056"/>
                    <a:pt x="10797" y="8871"/>
                    <a:pt x="10731" y="8686"/>
                  </a:cubicBezTo>
                  <a:cubicBezTo>
                    <a:pt x="10603" y="8326"/>
                    <a:pt x="10471" y="7966"/>
                    <a:pt x="10342" y="7606"/>
                  </a:cubicBezTo>
                  <a:cubicBezTo>
                    <a:pt x="10323" y="7544"/>
                    <a:pt x="10300" y="7508"/>
                    <a:pt x="10249" y="7488"/>
                  </a:cubicBezTo>
                  <a:cubicBezTo>
                    <a:pt x="10121" y="7446"/>
                    <a:pt x="10055" y="7308"/>
                    <a:pt x="10067" y="7153"/>
                  </a:cubicBezTo>
                  <a:cubicBezTo>
                    <a:pt x="10082" y="6968"/>
                    <a:pt x="10035" y="6814"/>
                    <a:pt x="9985" y="6660"/>
                  </a:cubicBezTo>
                  <a:cubicBezTo>
                    <a:pt x="9911" y="6428"/>
                    <a:pt x="9857" y="6186"/>
                    <a:pt x="9857" y="5934"/>
                  </a:cubicBezTo>
                  <a:cubicBezTo>
                    <a:pt x="9857" y="5790"/>
                    <a:pt x="9810" y="5688"/>
                    <a:pt x="9717" y="5626"/>
                  </a:cubicBezTo>
                  <a:cubicBezTo>
                    <a:pt x="9558" y="5513"/>
                    <a:pt x="9499" y="5328"/>
                    <a:pt x="9495" y="5101"/>
                  </a:cubicBezTo>
                  <a:cubicBezTo>
                    <a:pt x="9495" y="5014"/>
                    <a:pt x="9464" y="4978"/>
                    <a:pt x="9410" y="4932"/>
                  </a:cubicBezTo>
                  <a:cubicBezTo>
                    <a:pt x="9231" y="4762"/>
                    <a:pt x="9021" y="4685"/>
                    <a:pt x="8831" y="4546"/>
                  </a:cubicBezTo>
                  <a:cubicBezTo>
                    <a:pt x="8330" y="4181"/>
                    <a:pt x="8101" y="3322"/>
                    <a:pt x="8357" y="2715"/>
                  </a:cubicBezTo>
                  <a:cubicBezTo>
                    <a:pt x="8431" y="2535"/>
                    <a:pt x="8423" y="2401"/>
                    <a:pt x="8377" y="2237"/>
                  </a:cubicBezTo>
                  <a:cubicBezTo>
                    <a:pt x="8346" y="2134"/>
                    <a:pt x="8322" y="2026"/>
                    <a:pt x="8307" y="1918"/>
                  </a:cubicBezTo>
                  <a:cubicBezTo>
                    <a:pt x="8287" y="1789"/>
                    <a:pt x="8322" y="1702"/>
                    <a:pt x="8427" y="1671"/>
                  </a:cubicBezTo>
                  <a:cubicBezTo>
                    <a:pt x="8447" y="1666"/>
                    <a:pt x="8466" y="1645"/>
                    <a:pt x="8489" y="1650"/>
                  </a:cubicBezTo>
                  <a:cubicBezTo>
                    <a:pt x="8722" y="1666"/>
                    <a:pt x="8886" y="1491"/>
                    <a:pt x="9060" y="1321"/>
                  </a:cubicBezTo>
                  <a:cubicBezTo>
                    <a:pt x="9697" y="709"/>
                    <a:pt x="10416" y="365"/>
                    <a:pt x="11189" y="200"/>
                  </a:cubicBezTo>
                  <a:cubicBezTo>
                    <a:pt x="11426" y="149"/>
                    <a:pt x="11655" y="66"/>
                    <a:pt x="11892" y="15"/>
                  </a:cubicBezTo>
                  <a:cubicBezTo>
                    <a:pt x="12223" y="-57"/>
                    <a:pt x="12681" y="133"/>
                    <a:pt x="12798" y="642"/>
                  </a:cubicBezTo>
                  <a:cubicBezTo>
                    <a:pt x="12840" y="822"/>
                    <a:pt x="12848" y="1002"/>
                    <a:pt x="12805" y="1208"/>
                  </a:cubicBezTo>
                  <a:cubicBezTo>
                    <a:pt x="12945" y="1136"/>
                    <a:pt x="13062" y="1049"/>
                    <a:pt x="13202" y="1038"/>
                  </a:cubicBezTo>
                  <a:cubicBezTo>
                    <a:pt x="13575" y="1023"/>
                    <a:pt x="13905" y="1373"/>
                    <a:pt x="14025" y="1923"/>
                  </a:cubicBezTo>
                  <a:cubicBezTo>
                    <a:pt x="14084" y="2185"/>
                    <a:pt x="14107" y="2458"/>
                    <a:pt x="14103" y="2730"/>
                  </a:cubicBezTo>
                  <a:cubicBezTo>
                    <a:pt x="14091" y="3548"/>
                    <a:pt x="14072" y="4361"/>
                    <a:pt x="14064" y="5178"/>
                  </a:cubicBezTo>
                  <a:cubicBezTo>
                    <a:pt x="14060" y="5646"/>
                    <a:pt x="14084" y="6114"/>
                    <a:pt x="14041" y="6582"/>
                  </a:cubicBezTo>
                  <a:cubicBezTo>
                    <a:pt x="14029" y="6711"/>
                    <a:pt x="14068" y="6773"/>
                    <a:pt x="14169" y="6809"/>
                  </a:cubicBezTo>
                  <a:cubicBezTo>
                    <a:pt x="14387" y="6886"/>
                    <a:pt x="14600" y="6984"/>
                    <a:pt x="14670" y="7318"/>
                  </a:cubicBezTo>
                  <a:cubicBezTo>
                    <a:pt x="14686" y="7385"/>
                    <a:pt x="14732" y="7385"/>
                    <a:pt x="14771" y="7400"/>
                  </a:cubicBezTo>
                  <a:cubicBezTo>
                    <a:pt x="14884" y="7441"/>
                    <a:pt x="15000" y="7477"/>
                    <a:pt x="15113" y="7503"/>
                  </a:cubicBezTo>
                  <a:cubicBezTo>
                    <a:pt x="15369" y="7554"/>
                    <a:pt x="15443" y="7688"/>
                    <a:pt x="15459" y="8017"/>
                  </a:cubicBezTo>
                  <a:cubicBezTo>
                    <a:pt x="15470" y="8269"/>
                    <a:pt x="15540" y="8357"/>
                    <a:pt x="15715" y="8429"/>
                  </a:cubicBezTo>
                  <a:cubicBezTo>
                    <a:pt x="16442" y="8727"/>
                    <a:pt x="17168" y="9020"/>
                    <a:pt x="17879" y="9380"/>
                  </a:cubicBezTo>
                  <a:cubicBezTo>
                    <a:pt x="18532" y="9714"/>
                    <a:pt x="18881" y="10357"/>
                    <a:pt x="18986" y="11247"/>
                  </a:cubicBezTo>
                  <a:cubicBezTo>
                    <a:pt x="19103" y="12204"/>
                    <a:pt x="19122" y="13170"/>
                    <a:pt x="19165" y="14132"/>
                  </a:cubicBezTo>
                  <a:cubicBezTo>
                    <a:pt x="19184" y="14616"/>
                    <a:pt x="19200" y="15104"/>
                    <a:pt x="19208" y="15588"/>
                  </a:cubicBezTo>
                  <a:cubicBezTo>
                    <a:pt x="19212" y="15696"/>
                    <a:pt x="19243" y="15726"/>
                    <a:pt x="19309" y="15757"/>
                  </a:cubicBezTo>
                  <a:cubicBezTo>
                    <a:pt x="19755" y="15978"/>
                    <a:pt x="20043" y="16390"/>
                    <a:pt x="20144" y="17012"/>
                  </a:cubicBezTo>
                  <a:cubicBezTo>
                    <a:pt x="20214" y="17449"/>
                    <a:pt x="20152" y="17876"/>
                    <a:pt x="20062" y="18298"/>
                  </a:cubicBezTo>
                  <a:cubicBezTo>
                    <a:pt x="19860" y="19254"/>
                    <a:pt x="19654" y="20206"/>
                    <a:pt x="19449" y="21178"/>
                  </a:cubicBezTo>
                  <a:cubicBezTo>
                    <a:pt x="19487" y="21183"/>
                    <a:pt x="19526" y="21188"/>
                    <a:pt x="19569" y="21188"/>
                  </a:cubicBezTo>
                  <a:cubicBezTo>
                    <a:pt x="20163" y="21193"/>
                    <a:pt x="20758" y="21204"/>
                    <a:pt x="21356" y="21209"/>
                  </a:cubicBezTo>
                  <a:cubicBezTo>
                    <a:pt x="21395" y="21209"/>
                    <a:pt x="21434" y="21214"/>
                    <a:pt x="21469" y="21219"/>
                  </a:cubicBezTo>
                  <a:cubicBezTo>
                    <a:pt x="21535" y="21224"/>
                    <a:pt x="21566" y="21286"/>
                    <a:pt x="21574" y="21358"/>
                  </a:cubicBezTo>
                  <a:cubicBezTo>
                    <a:pt x="21593" y="21430"/>
                    <a:pt x="21558" y="21481"/>
                    <a:pt x="21504" y="21517"/>
                  </a:cubicBezTo>
                  <a:close/>
                  <a:moveTo>
                    <a:pt x="15253" y="11674"/>
                  </a:moveTo>
                  <a:cubicBezTo>
                    <a:pt x="15241" y="11792"/>
                    <a:pt x="15198" y="11880"/>
                    <a:pt x="15125" y="11952"/>
                  </a:cubicBezTo>
                  <a:cubicBezTo>
                    <a:pt x="15031" y="12044"/>
                    <a:pt x="14938" y="12137"/>
                    <a:pt x="14837" y="12240"/>
                  </a:cubicBezTo>
                  <a:cubicBezTo>
                    <a:pt x="14938" y="12332"/>
                    <a:pt x="15039" y="12404"/>
                    <a:pt x="15129" y="12497"/>
                  </a:cubicBezTo>
                  <a:cubicBezTo>
                    <a:pt x="15366" y="12738"/>
                    <a:pt x="15377" y="12841"/>
                    <a:pt x="15296" y="13165"/>
                  </a:cubicBezTo>
                  <a:cubicBezTo>
                    <a:pt x="15284" y="13206"/>
                    <a:pt x="15272" y="13248"/>
                    <a:pt x="15261" y="13289"/>
                  </a:cubicBezTo>
                  <a:cubicBezTo>
                    <a:pt x="14857" y="14688"/>
                    <a:pt x="14449" y="16086"/>
                    <a:pt x="14049" y="17490"/>
                  </a:cubicBezTo>
                  <a:cubicBezTo>
                    <a:pt x="13955" y="17809"/>
                    <a:pt x="13850" y="18123"/>
                    <a:pt x="13804" y="18462"/>
                  </a:cubicBezTo>
                  <a:cubicBezTo>
                    <a:pt x="13777" y="18483"/>
                    <a:pt x="13773" y="18504"/>
                    <a:pt x="13800" y="18524"/>
                  </a:cubicBezTo>
                  <a:cubicBezTo>
                    <a:pt x="14177" y="18550"/>
                    <a:pt x="14557" y="18576"/>
                    <a:pt x="14934" y="18596"/>
                  </a:cubicBezTo>
                  <a:cubicBezTo>
                    <a:pt x="15245" y="18612"/>
                    <a:pt x="15245" y="18601"/>
                    <a:pt x="15249" y="18190"/>
                  </a:cubicBezTo>
                  <a:cubicBezTo>
                    <a:pt x="15253" y="17922"/>
                    <a:pt x="15191" y="17670"/>
                    <a:pt x="15101" y="17424"/>
                  </a:cubicBezTo>
                  <a:cubicBezTo>
                    <a:pt x="15167" y="17429"/>
                    <a:pt x="15179" y="17490"/>
                    <a:pt x="15198" y="17537"/>
                  </a:cubicBezTo>
                  <a:cubicBezTo>
                    <a:pt x="15315" y="17809"/>
                    <a:pt x="15393" y="18102"/>
                    <a:pt x="15424" y="18416"/>
                  </a:cubicBezTo>
                  <a:cubicBezTo>
                    <a:pt x="15428" y="18462"/>
                    <a:pt x="15408" y="18524"/>
                    <a:pt x="15482" y="18529"/>
                  </a:cubicBezTo>
                  <a:cubicBezTo>
                    <a:pt x="15793" y="18555"/>
                    <a:pt x="16115" y="18216"/>
                    <a:pt x="16166" y="17814"/>
                  </a:cubicBezTo>
                  <a:cubicBezTo>
                    <a:pt x="16201" y="17537"/>
                    <a:pt x="16150" y="17274"/>
                    <a:pt x="16108" y="17007"/>
                  </a:cubicBezTo>
                  <a:cubicBezTo>
                    <a:pt x="16096" y="16935"/>
                    <a:pt x="16065" y="16889"/>
                    <a:pt x="16003" y="16894"/>
                  </a:cubicBezTo>
                  <a:cubicBezTo>
                    <a:pt x="15886" y="16878"/>
                    <a:pt x="15770" y="16863"/>
                    <a:pt x="15653" y="16848"/>
                  </a:cubicBezTo>
                  <a:cubicBezTo>
                    <a:pt x="15288" y="16801"/>
                    <a:pt x="14923" y="16817"/>
                    <a:pt x="14557" y="16801"/>
                  </a:cubicBezTo>
                  <a:cubicBezTo>
                    <a:pt x="14530" y="16801"/>
                    <a:pt x="14472" y="16842"/>
                    <a:pt x="14472" y="16755"/>
                  </a:cubicBezTo>
                  <a:cubicBezTo>
                    <a:pt x="14472" y="16698"/>
                    <a:pt x="14515" y="16688"/>
                    <a:pt x="14554" y="16673"/>
                  </a:cubicBezTo>
                  <a:cubicBezTo>
                    <a:pt x="14701" y="16632"/>
                    <a:pt x="14857" y="16642"/>
                    <a:pt x="15004" y="16626"/>
                  </a:cubicBezTo>
                  <a:cubicBezTo>
                    <a:pt x="15303" y="16637"/>
                    <a:pt x="15602" y="16626"/>
                    <a:pt x="15898" y="16678"/>
                  </a:cubicBezTo>
                  <a:cubicBezTo>
                    <a:pt x="16010" y="16698"/>
                    <a:pt x="16053" y="16668"/>
                    <a:pt x="16034" y="16503"/>
                  </a:cubicBezTo>
                  <a:cubicBezTo>
                    <a:pt x="16003" y="16225"/>
                    <a:pt x="16053" y="15973"/>
                    <a:pt x="16174" y="15747"/>
                  </a:cubicBezTo>
                  <a:cubicBezTo>
                    <a:pt x="16271" y="15562"/>
                    <a:pt x="16325" y="15351"/>
                    <a:pt x="16310" y="15120"/>
                  </a:cubicBezTo>
                  <a:cubicBezTo>
                    <a:pt x="16298" y="14965"/>
                    <a:pt x="16282" y="14811"/>
                    <a:pt x="16271" y="14657"/>
                  </a:cubicBezTo>
                  <a:cubicBezTo>
                    <a:pt x="16251" y="14410"/>
                    <a:pt x="16220" y="14168"/>
                    <a:pt x="16244" y="13916"/>
                  </a:cubicBezTo>
                  <a:cubicBezTo>
                    <a:pt x="16430" y="14451"/>
                    <a:pt x="16578" y="15006"/>
                    <a:pt x="16822" y="15500"/>
                  </a:cubicBezTo>
                  <a:cubicBezTo>
                    <a:pt x="16815" y="15588"/>
                    <a:pt x="16807" y="15670"/>
                    <a:pt x="16795" y="15773"/>
                  </a:cubicBezTo>
                  <a:cubicBezTo>
                    <a:pt x="16923" y="15665"/>
                    <a:pt x="17055" y="15649"/>
                    <a:pt x="17191" y="15675"/>
                  </a:cubicBezTo>
                  <a:cubicBezTo>
                    <a:pt x="17090" y="15716"/>
                    <a:pt x="16986" y="15747"/>
                    <a:pt x="16888" y="15814"/>
                  </a:cubicBezTo>
                  <a:cubicBezTo>
                    <a:pt x="16842" y="15845"/>
                    <a:pt x="16795" y="15876"/>
                    <a:pt x="16791" y="15953"/>
                  </a:cubicBezTo>
                  <a:cubicBezTo>
                    <a:pt x="16760" y="16416"/>
                    <a:pt x="16706" y="16878"/>
                    <a:pt x="16745" y="17346"/>
                  </a:cubicBezTo>
                  <a:cubicBezTo>
                    <a:pt x="16752" y="17588"/>
                    <a:pt x="16760" y="17830"/>
                    <a:pt x="16768" y="18077"/>
                  </a:cubicBezTo>
                  <a:cubicBezTo>
                    <a:pt x="16768" y="18144"/>
                    <a:pt x="16787" y="18169"/>
                    <a:pt x="16838" y="18190"/>
                  </a:cubicBezTo>
                  <a:cubicBezTo>
                    <a:pt x="16989" y="18252"/>
                    <a:pt x="17137" y="18324"/>
                    <a:pt x="17285" y="18390"/>
                  </a:cubicBezTo>
                  <a:cubicBezTo>
                    <a:pt x="17277" y="18473"/>
                    <a:pt x="17331" y="18468"/>
                    <a:pt x="17366" y="18488"/>
                  </a:cubicBezTo>
                  <a:cubicBezTo>
                    <a:pt x="17836" y="18771"/>
                    <a:pt x="18314" y="19038"/>
                    <a:pt x="18776" y="19352"/>
                  </a:cubicBezTo>
                  <a:cubicBezTo>
                    <a:pt x="18854" y="19404"/>
                    <a:pt x="18924" y="19476"/>
                    <a:pt x="19021" y="19491"/>
                  </a:cubicBezTo>
                  <a:cubicBezTo>
                    <a:pt x="19025" y="19342"/>
                    <a:pt x="19037" y="19203"/>
                    <a:pt x="19017" y="19069"/>
                  </a:cubicBezTo>
                  <a:cubicBezTo>
                    <a:pt x="19041" y="18874"/>
                    <a:pt x="19052" y="18684"/>
                    <a:pt x="19048" y="18488"/>
                  </a:cubicBezTo>
                  <a:cubicBezTo>
                    <a:pt x="19045" y="17141"/>
                    <a:pt x="18998" y="15793"/>
                    <a:pt x="18963" y="14441"/>
                  </a:cubicBezTo>
                  <a:cubicBezTo>
                    <a:pt x="18959" y="14240"/>
                    <a:pt x="18971" y="14040"/>
                    <a:pt x="18928" y="13844"/>
                  </a:cubicBezTo>
                  <a:cubicBezTo>
                    <a:pt x="18932" y="13813"/>
                    <a:pt x="18944" y="13777"/>
                    <a:pt x="18940" y="13746"/>
                  </a:cubicBezTo>
                  <a:cubicBezTo>
                    <a:pt x="18916" y="13263"/>
                    <a:pt x="18889" y="12774"/>
                    <a:pt x="18866" y="12291"/>
                  </a:cubicBezTo>
                  <a:cubicBezTo>
                    <a:pt x="18881" y="12224"/>
                    <a:pt x="18866" y="12162"/>
                    <a:pt x="18846" y="12101"/>
                  </a:cubicBezTo>
                  <a:cubicBezTo>
                    <a:pt x="18831" y="11864"/>
                    <a:pt x="18819" y="11628"/>
                    <a:pt x="18796" y="11391"/>
                  </a:cubicBezTo>
                  <a:cubicBezTo>
                    <a:pt x="18749" y="10928"/>
                    <a:pt x="18648" y="10491"/>
                    <a:pt x="18388" y="10146"/>
                  </a:cubicBezTo>
                  <a:cubicBezTo>
                    <a:pt x="18248" y="9915"/>
                    <a:pt x="18240" y="9910"/>
                    <a:pt x="18058" y="10059"/>
                  </a:cubicBezTo>
                  <a:cubicBezTo>
                    <a:pt x="17735" y="10326"/>
                    <a:pt x="17487" y="10692"/>
                    <a:pt x="17273" y="11108"/>
                  </a:cubicBezTo>
                  <a:cubicBezTo>
                    <a:pt x="17250" y="11154"/>
                    <a:pt x="17246" y="11232"/>
                    <a:pt x="17184" y="11226"/>
                  </a:cubicBezTo>
                  <a:cubicBezTo>
                    <a:pt x="17184" y="11216"/>
                    <a:pt x="17176" y="11201"/>
                    <a:pt x="17180" y="11196"/>
                  </a:cubicBezTo>
                  <a:cubicBezTo>
                    <a:pt x="17347" y="10666"/>
                    <a:pt x="17553" y="10167"/>
                    <a:pt x="17914" y="9822"/>
                  </a:cubicBezTo>
                  <a:cubicBezTo>
                    <a:pt x="17999" y="9740"/>
                    <a:pt x="17968" y="9714"/>
                    <a:pt x="17898" y="9678"/>
                  </a:cubicBezTo>
                  <a:cubicBezTo>
                    <a:pt x="17794" y="9622"/>
                    <a:pt x="17689" y="9560"/>
                    <a:pt x="17580" y="9519"/>
                  </a:cubicBezTo>
                  <a:cubicBezTo>
                    <a:pt x="17436" y="9462"/>
                    <a:pt x="17304" y="9354"/>
                    <a:pt x="17149" y="9349"/>
                  </a:cubicBezTo>
                  <a:cubicBezTo>
                    <a:pt x="16927" y="9200"/>
                    <a:pt x="16686" y="9123"/>
                    <a:pt x="16453" y="9020"/>
                  </a:cubicBezTo>
                  <a:cubicBezTo>
                    <a:pt x="16142" y="8886"/>
                    <a:pt x="15828" y="8758"/>
                    <a:pt x="15509" y="8624"/>
                  </a:cubicBezTo>
                  <a:cubicBezTo>
                    <a:pt x="15490" y="9658"/>
                    <a:pt x="15366" y="10666"/>
                    <a:pt x="15253" y="11674"/>
                  </a:cubicBezTo>
                  <a:close/>
                  <a:moveTo>
                    <a:pt x="15028" y="8228"/>
                  </a:moveTo>
                  <a:cubicBezTo>
                    <a:pt x="14647" y="9555"/>
                    <a:pt x="14418" y="10938"/>
                    <a:pt x="14169" y="12317"/>
                  </a:cubicBezTo>
                  <a:cubicBezTo>
                    <a:pt x="14142" y="12471"/>
                    <a:pt x="14091" y="12625"/>
                    <a:pt x="14126" y="12790"/>
                  </a:cubicBezTo>
                  <a:cubicBezTo>
                    <a:pt x="14060" y="12888"/>
                    <a:pt x="14056" y="13016"/>
                    <a:pt x="14037" y="13134"/>
                  </a:cubicBezTo>
                  <a:cubicBezTo>
                    <a:pt x="13784" y="14518"/>
                    <a:pt x="13532" y="15901"/>
                    <a:pt x="13287" y="17285"/>
                  </a:cubicBezTo>
                  <a:cubicBezTo>
                    <a:pt x="13237" y="17573"/>
                    <a:pt x="13167" y="17861"/>
                    <a:pt x="13151" y="18159"/>
                  </a:cubicBezTo>
                  <a:cubicBezTo>
                    <a:pt x="13136" y="18216"/>
                    <a:pt x="13124" y="18267"/>
                    <a:pt x="13108" y="18324"/>
                  </a:cubicBezTo>
                  <a:cubicBezTo>
                    <a:pt x="13085" y="18432"/>
                    <a:pt x="13085" y="18509"/>
                    <a:pt x="13202" y="18493"/>
                  </a:cubicBezTo>
                  <a:cubicBezTo>
                    <a:pt x="13291" y="18483"/>
                    <a:pt x="13380" y="18488"/>
                    <a:pt x="13466" y="18498"/>
                  </a:cubicBezTo>
                  <a:cubicBezTo>
                    <a:pt x="13547" y="18509"/>
                    <a:pt x="13582" y="18468"/>
                    <a:pt x="13610" y="18365"/>
                  </a:cubicBezTo>
                  <a:cubicBezTo>
                    <a:pt x="14122" y="16596"/>
                    <a:pt x="14635" y="14826"/>
                    <a:pt x="15152" y="13062"/>
                  </a:cubicBezTo>
                  <a:cubicBezTo>
                    <a:pt x="15195" y="12913"/>
                    <a:pt x="15179" y="12810"/>
                    <a:pt x="15078" y="12723"/>
                  </a:cubicBezTo>
                  <a:cubicBezTo>
                    <a:pt x="14954" y="12620"/>
                    <a:pt x="14833" y="12507"/>
                    <a:pt x="14713" y="12389"/>
                  </a:cubicBezTo>
                  <a:cubicBezTo>
                    <a:pt x="14592" y="12265"/>
                    <a:pt x="14592" y="12168"/>
                    <a:pt x="14709" y="12039"/>
                  </a:cubicBezTo>
                  <a:cubicBezTo>
                    <a:pt x="14787" y="11952"/>
                    <a:pt x="14868" y="11869"/>
                    <a:pt x="14954" y="11802"/>
                  </a:cubicBezTo>
                  <a:cubicBezTo>
                    <a:pt x="15074" y="11710"/>
                    <a:pt x="15109" y="11571"/>
                    <a:pt x="15125" y="11401"/>
                  </a:cubicBezTo>
                  <a:cubicBezTo>
                    <a:pt x="15160" y="10969"/>
                    <a:pt x="15202" y="10537"/>
                    <a:pt x="15237" y="10105"/>
                  </a:cubicBezTo>
                  <a:cubicBezTo>
                    <a:pt x="15288" y="9493"/>
                    <a:pt x="15319" y="8881"/>
                    <a:pt x="15296" y="8269"/>
                  </a:cubicBezTo>
                  <a:cubicBezTo>
                    <a:pt x="15292" y="8146"/>
                    <a:pt x="15268" y="8028"/>
                    <a:pt x="15253" y="7909"/>
                  </a:cubicBezTo>
                  <a:cubicBezTo>
                    <a:pt x="15249" y="7873"/>
                    <a:pt x="15241" y="7822"/>
                    <a:pt x="15206" y="7827"/>
                  </a:cubicBezTo>
                  <a:cubicBezTo>
                    <a:pt x="15187" y="7827"/>
                    <a:pt x="15164" y="7863"/>
                    <a:pt x="15152" y="7889"/>
                  </a:cubicBezTo>
                  <a:cubicBezTo>
                    <a:pt x="15094" y="7986"/>
                    <a:pt x="15062" y="8110"/>
                    <a:pt x="15028" y="8228"/>
                  </a:cubicBezTo>
                  <a:close/>
                  <a:moveTo>
                    <a:pt x="12798" y="18493"/>
                  </a:moveTo>
                  <a:cubicBezTo>
                    <a:pt x="12899" y="18509"/>
                    <a:pt x="12891" y="18421"/>
                    <a:pt x="12902" y="18344"/>
                  </a:cubicBezTo>
                  <a:cubicBezTo>
                    <a:pt x="12914" y="18272"/>
                    <a:pt x="12930" y="18205"/>
                    <a:pt x="12941" y="18133"/>
                  </a:cubicBezTo>
                  <a:cubicBezTo>
                    <a:pt x="13244" y="16452"/>
                    <a:pt x="13540" y="14770"/>
                    <a:pt x="13870" y="13098"/>
                  </a:cubicBezTo>
                  <a:cubicBezTo>
                    <a:pt x="14029" y="12286"/>
                    <a:pt x="14185" y="11468"/>
                    <a:pt x="14340" y="10656"/>
                  </a:cubicBezTo>
                  <a:cubicBezTo>
                    <a:pt x="14359" y="10635"/>
                    <a:pt x="14359" y="10609"/>
                    <a:pt x="14352" y="10584"/>
                  </a:cubicBezTo>
                  <a:cubicBezTo>
                    <a:pt x="14340" y="10599"/>
                    <a:pt x="14328" y="10609"/>
                    <a:pt x="14317" y="10625"/>
                  </a:cubicBezTo>
                  <a:cubicBezTo>
                    <a:pt x="14254" y="10743"/>
                    <a:pt x="14188" y="10861"/>
                    <a:pt x="14130" y="10980"/>
                  </a:cubicBezTo>
                  <a:cubicBezTo>
                    <a:pt x="13897" y="11442"/>
                    <a:pt x="13660" y="11900"/>
                    <a:pt x="13400" y="12337"/>
                  </a:cubicBezTo>
                  <a:cubicBezTo>
                    <a:pt x="13295" y="12512"/>
                    <a:pt x="13221" y="12497"/>
                    <a:pt x="13159" y="12286"/>
                  </a:cubicBezTo>
                  <a:cubicBezTo>
                    <a:pt x="13097" y="12075"/>
                    <a:pt x="13035" y="11859"/>
                    <a:pt x="12965" y="11617"/>
                  </a:cubicBezTo>
                  <a:cubicBezTo>
                    <a:pt x="12941" y="11684"/>
                    <a:pt x="12930" y="11720"/>
                    <a:pt x="12918" y="11761"/>
                  </a:cubicBezTo>
                  <a:cubicBezTo>
                    <a:pt x="12825" y="12070"/>
                    <a:pt x="12708" y="12363"/>
                    <a:pt x="12708" y="12713"/>
                  </a:cubicBezTo>
                  <a:cubicBezTo>
                    <a:pt x="12704" y="13433"/>
                    <a:pt x="12685" y="14153"/>
                    <a:pt x="12669" y="14873"/>
                  </a:cubicBezTo>
                  <a:cubicBezTo>
                    <a:pt x="12650" y="16025"/>
                    <a:pt x="12669" y="17172"/>
                    <a:pt x="12712" y="18324"/>
                  </a:cubicBezTo>
                  <a:cubicBezTo>
                    <a:pt x="12724" y="18390"/>
                    <a:pt x="12700" y="18478"/>
                    <a:pt x="12798" y="18493"/>
                  </a:cubicBezTo>
                  <a:close/>
                  <a:moveTo>
                    <a:pt x="12572" y="14703"/>
                  </a:moveTo>
                  <a:cubicBezTo>
                    <a:pt x="12584" y="14297"/>
                    <a:pt x="12588" y="13890"/>
                    <a:pt x="12607" y="13489"/>
                  </a:cubicBezTo>
                  <a:cubicBezTo>
                    <a:pt x="12619" y="13222"/>
                    <a:pt x="12634" y="12949"/>
                    <a:pt x="12662" y="12677"/>
                  </a:cubicBezTo>
                  <a:cubicBezTo>
                    <a:pt x="12700" y="12286"/>
                    <a:pt x="12693" y="12286"/>
                    <a:pt x="12386" y="12270"/>
                  </a:cubicBezTo>
                  <a:cubicBezTo>
                    <a:pt x="12308" y="12250"/>
                    <a:pt x="12289" y="12286"/>
                    <a:pt x="12285" y="12389"/>
                  </a:cubicBezTo>
                  <a:cubicBezTo>
                    <a:pt x="12281" y="12666"/>
                    <a:pt x="12269" y="12944"/>
                    <a:pt x="12254" y="13222"/>
                  </a:cubicBezTo>
                  <a:cubicBezTo>
                    <a:pt x="12223" y="13772"/>
                    <a:pt x="12172" y="14317"/>
                    <a:pt x="12157" y="14868"/>
                  </a:cubicBezTo>
                  <a:cubicBezTo>
                    <a:pt x="12153" y="14888"/>
                    <a:pt x="12141" y="14909"/>
                    <a:pt x="12141" y="14929"/>
                  </a:cubicBezTo>
                  <a:cubicBezTo>
                    <a:pt x="12091" y="15624"/>
                    <a:pt x="12036" y="16318"/>
                    <a:pt x="11990" y="17012"/>
                  </a:cubicBezTo>
                  <a:cubicBezTo>
                    <a:pt x="11958" y="17470"/>
                    <a:pt x="11935" y="17922"/>
                    <a:pt x="11912" y="18380"/>
                  </a:cubicBezTo>
                  <a:cubicBezTo>
                    <a:pt x="11908" y="18426"/>
                    <a:pt x="11881" y="18509"/>
                    <a:pt x="11962" y="18488"/>
                  </a:cubicBezTo>
                  <a:cubicBezTo>
                    <a:pt x="12160" y="18442"/>
                    <a:pt x="12359" y="18468"/>
                    <a:pt x="12557" y="18468"/>
                  </a:cubicBezTo>
                  <a:cubicBezTo>
                    <a:pt x="12634" y="18468"/>
                    <a:pt x="12650" y="18447"/>
                    <a:pt x="12631" y="18344"/>
                  </a:cubicBezTo>
                  <a:cubicBezTo>
                    <a:pt x="12572" y="17989"/>
                    <a:pt x="12545" y="17629"/>
                    <a:pt x="12541" y="17264"/>
                  </a:cubicBezTo>
                  <a:cubicBezTo>
                    <a:pt x="12526" y="16410"/>
                    <a:pt x="12545" y="15557"/>
                    <a:pt x="12572" y="14703"/>
                  </a:cubicBezTo>
                  <a:close/>
                  <a:moveTo>
                    <a:pt x="11865" y="16884"/>
                  </a:moveTo>
                  <a:cubicBezTo>
                    <a:pt x="11900" y="16086"/>
                    <a:pt x="11958" y="15294"/>
                    <a:pt x="12009" y="14497"/>
                  </a:cubicBezTo>
                  <a:cubicBezTo>
                    <a:pt x="12048" y="13854"/>
                    <a:pt x="12094" y="13206"/>
                    <a:pt x="12122" y="12564"/>
                  </a:cubicBezTo>
                  <a:cubicBezTo>
                    <a:pt x="12126" y="12435"/>
                    <a:pt x="12133" y="12306"/>
                    <a:pt x="12110" y="12183"/>
                  </a:cubicBezTo>
                  <a:cubicBezTo>
                    <a:pt x="12071" y="11982"/>
                    <a:pt x="12036" y="11787"/>
                    <a:pt x="11990" y="11592"/>
                  </a:cubicBezTo>
                  <a:cubicBezTo>
                    <a:pt x="11947" y="11396"/>
                    <a:pt x="11970" y="11232"/>
                    <a:pt x="12087" y="11093"/>
                  </a:cubicBezTo>
                  <a:cubicBezTo>
                    <a:pt x="12188" y="10974"/>
                    <a:pt x="12273" y="10836"/>
                    <a:pt x="12374" y="10717"/>
                  </a:cubicBezTo>
                  <a:cubicBezTo>
                    <a:pt x="12425" y="10656"/>
                    <a:pt x="12417" y="10635"/>
                    <a:pt x="12366" y="10584"/>
                  </a:cubicBezTo>
                  <a:cubicBezTo>
                    <a:pt x="12195" y="10414"/>
                    <a:pt x="12048" y="10218"/>
                    <a:pt x="11924" y="9992"/>
                  </a:cubicBezTo>
                  <a:cubicBezTo>
                    <a:pt x="11865" y="9884"/>
                    <a:pt x="11803" y="9781"/>
                    <a:pt x="11725" y="9653"/>
                  </a:cubicBezTo>
                  <a:cubicBezTo>
                    <a:pt x="11702" y="10136"/>
                    <a:pt x="11683" y="10589"/>
                    <a:pt x="11659" y="11036"/>
                  </a:cubicBezTo>
                  <a:cubicBezTo>
                    <a:pt x="11652" y="11201"/>
                    <a:pt x="11683" y="11355"/>
                    <a:pt x="11737" y="11504"/>
                  </a:cubicBezTo>
                  <a:cubicBezTo>
                    <a:pt x="11795" y="11658"/>
                    <a:pt x="11857" y="11808"/>
                    <a:pt x="11935" y="11946"/>
                  </a:cubicBezTo>
                  <a:cubicBezTo>
                    <a:pt x="11955" y="11982"/>
                    <a:pt x="11990" y="12039"/>
                    <a:pt x="11951" y="12080"/>
                  </a:cubicBezTo>
                  <a:cubicBezTo>
                    <a:pt x="11916" y="12116"/>
                    <a:pt x="11877" y="12070"/>
                    <a:pt x="11850" y="12039"/>
                  </a:cubicBezTo>
                  <a:cubicBezTo>
                    <a:pt x="11822" y="12008"/>
                    <a:pt x="11795" y="11967"/>
                    <a:pt x="11776" y="11926"/>
                  </a:cubicBezTo>
                  <a:cubicBezTo>
                    <a:pt x="11737" y="11844"/>
                    <a:pt x="11706" y="11751"/>
                    <a:pt x="11659" y="11638"/>
                  </a:cubicBezTo>
                  <a:cubicBezTo>
                    <a:pt x="11702" y="13973"/>
                    <a:pt x="11741" y="16282"/>
                    <a:pt x="11784" y="18596"/>
                  </a:cubicBezTo>
                  <a:cubicBezTo>
                    <a:pt x="11873" y="18576"/>
                    <a:pt x="11861" y="18514"/>
                    <a:pt x="11857" y="18442"/>
                  </a:cubicBezTo>
                  <a:cubicBezTo>
                    <a:pt x="11838" y="17922"/>
                    <a:pt x="11842" y="17403"/>
                    <a:pt x="11865" y="16884"/>
                  </a:cubicBezTo>
                  <a:close/>
                  <a:moveTo>
                    <a:pt x="12168" y="11566"/>
                  </a:moveTo>
                  <a:cubicBezTo>
                    <a:pt x="12160" y="11689"/>
                    <a:pt x="12215" y="11787"/>
                    <a:pt x="12234" y="11900"/>
                  </a:cubicBezTo>
                  <a:cubicBezTo>
                    <a:pt x="12254" y="12024"/>
                    <a:pt x="12281" y="12132"/>
                    <a:pt x="12397" y="12147"/>
                  </a:cubicBezTo>
                  <a:cubicBezTo>
                    <a:pt x="12495" y="12162"/>
                    <a:pt x="12588" y="12198"/>
                    <a:pt x="12681" y="12214"/>
                  </a:cubicBezTo>
                  <a:cubicBezTo>
                    <a:pt x="12704" y="12219"/>
                    <a:pt x="12712" y="12168"/>
                    <a:pt x="12724" y="12137"/>
                  </a:cubicBezTo>
                  <a:cubicBezTo>
                    <a:pt x="12786" y="11946"/>
                    <a:pt x="12852" y="11761"/>
                    <a:pt x="12918" y="11576"/>
                  </a:cubicBezTo>
                  <a:cubicBezTo>
                    <a:pt x="12937" y="11520"/>
                    <a:pt x="12945" y="11473"/>
                    <a:pt x="12918" y="11422"/>
                  </a:cubicBezTo>
                  <a:cubicBezTo>
                    <a:pt x="12848" y="11278"/>
                    <a:pt x="12786" y="11124"/>
                    <a:pt x="12693" y="11000"/>
                  </a:cubicBezTo>
                  <a:cubicBezTo>
                    <a:pt x="12662" y="10923"/>
                    <a:pt x="12638" y="10836"/>
                    <a:pt x="12580" y="10784"/>
                  </a:cubicBezTo>
                  <a:cubicBezTo>
                    <a:pt x="12432" y="10933"/>
                    <a:pt x="12312" y="11118"/>
                    <a:pt x="12188" y="11298"/>
                  </a:cubicBezTo>
                  <a:cubicBezTo>
                    <a:pt x="12122" y="11386"/>
                    <a:pt x="12110" y="11468"/>
                    <a:pt x="12168" y="11566"/>
                  </a:cubicBezTo>
                  <a:close/>
                  <a:moveTo>
                    <a:pt x="14767" y="7822"/>
                  </a:moveTo>
                  <a:cubicBezTo>
                    <a:pt x="14771" y="7837"/>
                    <a:pt x="14775" y="7853"/>
                    <a:pt x="14779" y="7868"/>
                  </a:cubicBezTo>
                  <a:cubicBezTo>
                    <a:pt x="14798" y="8043"/>
                    <a:pt x="14818" y="8223"/>
                    <a:pt x="14841" y="8398"/>
                  </a:cubicBezTo>
                  <a:cubicBezTo>
                    <a:pt x="14907" y="8202"/>
                    <a:pt x="15004" y="8043"/>
                    <a:pt x="15016" y="7837"/>
                  </a:cubicBezTo>
                  <a:cubicBezTo>
                    <a:pt x="15051" y="7832"/>
                    <a:pt x="15090" y="7822"/>
                    <a:pt x="15094" y="7770"/>
                  </a:cubicBezTo>
                  <a:cubicBezTo>
                    <a:pt x="15097" y="7719"/>
                    <a:pt x="15051" y="7724"/>
                    <a:pt x="15028" y="7714"/>
                  </a:cubicBezTo>
                  <a:cubicBezTo>
                    <a:pt x="14977" y="7688"/>
                    <a:pt x="14923" y="7678"/>
                    <a:pt x="14872" y="7662"/>
                  </a:cubicBezTo>
                  <a:cubicBezTo>
                    <a:pt x="14725" y="7621"/>
                    <a:pt x="14721" y="7626"/>
                    <a:pt x="14767" y="7822"/>
                  </a:cubicBezTo>
                  <a:close/>
                  <a:moveTo>
                    <a:pt x="14142" y="7009"/>
                  </a:moveTo>
                  <a:cubicBezTo>
                    <a:pt x="14169" y="7292"/>
                    <a:pt x="14185" y="7344"/>
                    <a:pt x="14274" y="7354"/>
                  </a:cubicBezTo>
                  <a:cubicBezTo>
                    <a:pt x="14394" y="7369"/>
                    <a:pt x="14421" y="7482"/>
                    <a:pt x="14441" y="7606"/>
                  </a:cubicBezTo>
                  <a:cubicBezTo>
                    <a:pt x="14460" y="7740"/>
                    <a:pt x="14425" y="7858"/>
                    <a:pt x="14371" y="7971"/>
                  </a:cubicBezTo>
                  <a:cubicBezTo>
                    <a:pt x="13936" y="8886"/>
                    <a:pt x="13419" y="9714"/>
                    <a:pt x="12844" y="10476"/>
                  </a:cubicBezTo>
                  <a:cubicBezTo>
                    <a:pt x="12700" y="10666"/>
                    <a:pt x="12693" y="10656"/>
                    <a:pt x="12813" y="10882"/>
                  </a:cubicBezTo>
                  <a:cubicBezTo>
                    <a:pt x="12844" y="10938"/>
                    <a:pt x="12871" y="10990"/>
                    <a:pt x="12895" y="11046"/>
                  </a:cubicBezTo>
                  <a:cubicBezTo>
                    <a:pt x="13058" y="11396"/>
                    <a:pt x="13182" y="11772"/>
                    <a:pt x="13299" y="12178"/>
                  </a:cubicBezTo>
                  <a:cubicBezTo>
                    <a:pt x="13326" y="12142"/>
                    <a:pt x="13341" y="12121"/>
                    <a:pt x="13353" y="12101"/>
                  </a:cubicBezTo>
                  <a:cubicBezTo>
                    <a:pt x="13683" y="11509"/>
                    <a:pt x="14014" y="10918"/>
                    <a:pt x="14383" y="10368"/>
                  </a:cubicBezTo>
                  <a:cubicBezTo>
                    <a:pt x="14429" y="10296"/>
                    <a:pt x="14449" y="10213"/>
                    <a:pt x="14468" y="10131"/>
                  </a:cubicBezTo>
                  <a:cubicBezTo>
                    <a:pt x="14561" y="9714"/>
                    <a:pt x="14655" y="9293"/>
                    <a:pt x="14752" y="8876"/>
                  </a:cubicBezTo>
                  <a:cubicBezTo>
                    <a:pt x="14771" y="8789"/>
                    <a:pt x="14783" y="8701"/>
                    <a:pt x="14767" y="8614"/>
                  </a:cubicBezTo>
                  <a:cubicBezTo>
                    <a:pt x="14717" y="8285"/>
                    <a:pt x="14674" y="7945"/>
                    <a:pt x="14604" y="7621"/>
                  </a:cubicBezTo>
                  <a:cubicBezTo>
                    <a:pt x="14495" y="7107"/>
                    <a:pt x="14585" y="7179"/>
                    <a:pt x="14161" y="7004"/>
                  </a:cubicBezTo>
                  <a:cubicBezTo>
                    <a:pt x="14153" y="6999"/>
                    <a:pt x="14146" y="7004"/>
                    <a:pt x="14142" y="7009"/>
                  </a:cubicBezTo>
                  <a:close/>
                  <a:moveTo>
                    <a:pt x="8761" y="1949"/>
                  </a:moveTo>
                  <a:cubicBezTo>
                    <a:pt x="8773" y="1954"/>
                    <a:pt x="8785" y="1964"/>
                    <a:pt x="8796" y="1974"/>
                  </a:cubicBezTo>
                  <a:cubicBezTo>
                    <a:pt x="8936" y="2088"/>
                    <a:pt x="9014" y="2077"/>
                    <a:pt x="9134" y="1949"/>
                  </a:cubicBezTo>
                  <a:cubicBezTo>
                    <a:pt x="9010" y="1933"/>
                    <a:pt x="8886" y="1938"/>
                    <a:pt x="8761" y="1949"/>
                  </a:cubicBezTo>
                  <a:close/>
                  <a:moveTo>
                    <a:pt x="8750" y="3065"/>
                  </a:moveTo>
                  <a:cubicBezTo>
                    <a:pt x="8656" y="2977"/>
                    <a:pt x="8590" y="2874"/>
                    <a:pt x="8513" y="2761"/>
                  </a:cubicBezTo>
                  <a:cubicBezTo>
                    <a:pt x="8388" y="3065"/>
                    <a:pt x="8388" y="3348"/>
                    <a:pt x="8493" y="3651"/>
                  </a:cubicBezTo>
                  <a:cubicBezTo>
                    <a:pt x="8575" y="3445"/>
                    <a:pt x="8575" y="3198"/>
                    <a:pt x="8750" y="3065"/>
                  </a:cubicBezTo>
                  <a:close/>
                  <a:moveTo>
                    <a:pt x="8936" y="3198"/>
                  </a:moveTo>
                  <a:cubicBezTo>
                    <a:pt x="8777" y="3132"/>
                    <a:pt x="8746" y="3152"/>
                    <a:pt x="8680" y="3312"/>
                  </a:cubicBezTo>
                  <a:cubicBezTo>
                    <a:pt x="8610" y="3486"/>
                    <a:pt x="8602" y="3636"/>
                    <a:pt x="8664" y="3893"/>
                  </a:cubicBezTo>
                  <a:cubicBezTo>
                    <a:pt x="8703" y="3620"/>
                    <a:pt x="8757" y="3378"/>
                    <a:pt x="8936" y="3198"/>
                  </a:cubicBezTo>
                  <a:close/>
                  <a:moveTo>
                    <a:pt x="9099" y="4222"/>
                  </a:moveTo>
                  <a:cubicBezTo>
                    <a:pt x="9088" y="4078"/>
                    <a:pt x="9088" y="3965"/>
                    <a:pt x="9025" y="3872"/>
                  </a:cubicBezTo>
                  <a:cubicBezTo>
                    <a:pt x="9037" y="3985"/>
                    <a:pt x="9037" y="4098"/>
                    <a:pt x="9099" y="4222"/>
                  </a:cubicBezTo>
                  <a:close/>
                  <a:moveTo>
                    <a:pt x="9177" y="4062"/>
                  </a:moveTo>
                  <a:cubicBezTo>
                    <a:pt x="9216" y="4356"/>
                    <a:pt x="9278" y="4638"/>
                    <a:pt x="9460" y="4854"/>
                  </a:cubicBezTo>
                  <a:cubicBezTo>
                    <a:pt x="9507" y="4494"/>
                    <a:pt x="9394" y="4242"/>
                    <a:pt x="9177" y="4062"/>
                  </a:cubicBezTo>
                  <a:close/>
                  <a:moveTo>
                    <a:pt x="9958" y="2777"/>
                  </a:moveTo>
                  <a:cubicBezTo>
                    <a:pt x="9647" y="2813"/>
                    <a:pt x="9352" y="2766"/>
                    <a:pt x="9080" y="2556"/>
                  </a:cubicBezTo>
                  <a:cubicBezTo>
                    <a:pt x="9072" y="2550"/>
                    <a:pt x="9056" y="2550"/>
                    <a:pt x="9045" y="2550"/>
                  </a:cubicBezTo>
                  <a:cubicBezTo>
                    <a:pt x="9053" y="2494"/>
                    <a:pt x="9014" y="2473"/>
                    <a:pt x="8990" y="2448"/>
                  </a:cubicBezTo>
                  <a:cubicBezTo>
                    <a:pt x="8889" y="2334"/>
                    <a:pt x="8808" y="2206"/>
                    <a:pt x="8746" y="2052"/>
                  </a:cubicBezTo>
                  <a:cubicBezTo>
                    <a:pt x="8734" y="2021"/>
                    <a:pt x="8691" y="1995"/>
                    <a:pt x="8734" y="1959"/>
                  </a:cubicBezTo>
                  <a:cubicBezTo>
                    <a:pt x="8734" y="1959"/>
                    <a:pt x="8738" y="1959"/>
                    <a:pt x="8738" y="1954"/>
                  </a:cubicBezTo>
                  <a:cubicBezTo>
                    <a:pt x="8707" y="1959"/>
                    <a:pt x="8680" y="1959"/>
                    <a:pt x="8649" y="1964"/>
                  </a:cubicBezTo>
                  <a:cubicBezTo>
                    <a:pt x="8532" y="1980"/>
                    <a:pt x="8520" y="1995"/>
                    <a:pt x="8567" y="2144"/>
                  </a:cubicBezTo>
                  <a:cubicBezTo>
                    <a:pt x="8575" y="2170"/>
                    <a:pt x="8586" y="2190"/>
                    <a:pt x="8598" y="2216"/>
                  </a:cubicBezTo>
                  <a:cubicBezTo>
                    <a:pt x="8598" y="2581"/>
                    <a:pt x="8878" y="3054"/>
                    <a:pt x="9142" y="3106"/>
                  </a:cubicBezTo>
                  <a:cubicBezTo>
                    <a:pt x="9445" y="3157"/>
                    <a:pt x="9701" y="2972"/>
                    <a:pt x="9958" y="2777"/>
                  </a:cubicBezTo>
                  <a:close/>
                  <a:moveTo>
                    <a:pt x="10012" y="5821"/>
                  </a:moveTo>
                  <a:cubicBezTo>
                    <a:pt x="10051" y="5878"/>
                    <a:pt x="10101" y="5857"/>
                    <a:pt x="10152" y="5852"/>
                  </a:cubicBezTo>
                  <a:cubicBezTo>
                    <a:pt x="10160" y="5852"/>
                    <a:pt x="10171" y="5832"/>
                    <a:pt x="10171" y="5821"/>
                  </a:cubicBezTo>
                  <a:cubicBezTo>
                    <a:pt x="10168" y="5749"/>
                    <a:pt x="10117" y="5744"/>
                    <a:pt x="10082" y="5724"/>
                  </a:cubicBezTo>
                  <a:cubicBezTo>
                    <a:pt x="10035" y="5698"/>
                    <a:pt x="9981" y="5682"/>
                    <a:pt x="9919" y="5657"/>
                  </a:cubicBezTo>
                  <a:cubicBezTo>
                    <a:pt x="9954" y="5724"/>
                    <a:pt x="9981" y="5775"/>
                    <a:pt x="10012" y="5821"/>
                  </a:cubicBezTo>
                  <a:close/>
                  <a:moveTo>
                    <a:pt x="10020" y="6063"/>
                  </a:moveTo>
                  <a:cubicBezTo>
                    <a:pt x="10039" y="6258"/>
                    <a:pt x="10101" y="6438"/>
                    <a:pt x="10152" y="6634"/>
                  </a:cubicBezTo>
                  <a:cubicBezTo>
                    <a:pt x="10160" y="6557"/>
                    <a:pt x="10168" y="6495"/>
                    <a:pt x="10171" y="6438"/>
                  </a:cubicBezTo>
                  <a:cubicBezTo>
                    <a:pt x="10175" y="6377"/>
                    <a:pt x="10183" y="6315"/>
                    <a:pt x="10183" y="6253"/>
                  </a:cubicBezTo>
                  <a:cubicBezTo>
                    <a:pt x="10191" y="6042"/>
                    <a:pt x="10187" y="6042"/>
                    <a:pt x="10020" y="6063"/>
                  </a:cubicBezTo>
                  <a:close/>
                  <a:moveTo>
                    <a:pt x="10486" y="7467"/>
                  </a:moveTo>
                  <a:cubicBezTo>
                    <a:pt x="10525" y="7575"/>
                    <a:pt x="10560" y="7668"/>
                    <a:pt x="10599" y="7760"/>
                  </a:cubicBezTo>
                  <a:cubicBezTo>
                    <a:pt x="10560" y="7668"/>
                    <a:pt x="10688" y="7457"/>
                    <a:pt x="10486" y="7467"/>
                  </a:cubicBezTo>
                  <a:close/>
                  <a:moveTo>
                    <a:pt x="11298" y="9056"/>
                  </a:moveTo>
                  <a:cubicBezTo>
                    <a:pt x="11496" y="9102"/>
                    <a:pt x="11675" y="9072"/>
                    <a:pt x="11842" y="8933"/>
                  </a:cubicBezTo>
                  <a:cubicBezTo>
                    <a:pt x="12293" y="8557"/>
                    <a:pt x="12724" y="8156"/>
                    <a:pt x="12934" y="7467"/>
                  </a:cubicBezTo>
                  <a:cubicBezTo>
                    <a:pt x="12972" y="7344"/>
                    <a:pt x="13023" y="7230"/>
                    <a:pt x="13077" y="7112"/>
                  </a:cubicBezTo>
                  <a:cubicBezTo>
                    <a:pt x="13155" y="6937"/>
                    <a:pt x="13221" y="6747"/>
                    <a:pt x="13330" y="6562"/>
                  </a:cubicBezTo>
                  <a:cubicBezTo>
                    <a:pt x="13326" y="6618"/>
                    <a:pt x="13322" y="6644"/>
                    <a:pt x="13318" y="6670"/>
                  </a:cubicBezTo>
                  <a:cubicBezTo>
                    <a:pt x="13213" y="7184"/>
                    <a:pt x="13027" y="7647"/>
                    <a:pt x="12868" y="8130"/>
                  </a:cubicBezTo>
                  <a:cubicBezTo>
                    <a:pt x="12677" y="8701"/>
                    <a:pt x="12456" y="9257"/>
                    <a:pt x="12316" y="9858"/>
                  </a:cubicBezTo>
                  <a:cubicBezTo>
                    <a:pt x="12269" y="10059"/>
                    <a:pt x="12277" y="10203"/>
                    <a:pt x="12417" y="10342"/>
                  </a:cubicBezTo>
                  <a:cubicBezTo>
                    <a:pt x="12561" y="10486"/>
                    <a:pt x="12553" y="10506"/>
                    <a:pt x="12685" y="10332"/>
                  </a:cubicBezTo>
                  <a:cubicBezTo>
                    <a:pt x="13209" y="9642"/>
                    <a:pt x="13679" y="8892"/>
                    <a:pt x="14118" y="8105"/>
                  </a:cubicBezTo>
                  <a:cubicBezTo>
                    <a:pt x="14157" y="8033"/>
                    <a:pt x="14157" y="7971"/>
                    <a:pt x="14138" y="7889"/>
                  </a:cubicBezTo>
                  <a:cubicBezTo>
                    <a:pt x="14021" y="7374"/>
                    <a:pt x="13897" y="6860"/>
                    <a:pt x="13831" y="6330"/>
                  </a:cubicBezTo>
                  <a:cubicBezTo>
                    <a:pt x="13819" y="6228"/>
                    <a:pt x="13784" y="6130"/>
                    <a:pt x="13742" y="6042"/>
                  </a:cubicBezTo>
                  <a:cubicBezTo>
                    <a:pt x="13664" y="5883"/>
                    <a:pt x="13648" y="5878"/>
                    <a:pt x="13540" y="6012"/>
                  </a:cubicBezTo>
                  <a:cubicBezTo>
                    <a:pt x="13439" y="6135"/>
                    <a:pt x="13334" y="6243"/>
                    <a:pt x="13182" y="6145"/>
                  </a:cubicBezTo>
                  <a:cubicBezTo>
                    <a:pt x="13190" y="6130"/>
                    <a:pt x="13190" y="6114"/>
                    <a:pt x="13198" y="6109"/>
                  </a:cubicBezTo>
                  <a:cubicBezTo>
                    <a:pt x="13687" y="5724"/>
                    <a:pt x="13780" y="5101"/>
                    <a:pt x="13761" y="4422"/>
                  </a:cubicBezTo>
                  <a:cubicBezTo>
                    <a:pt x="13749" y="4109"/>
                    <a:pt x="13532" y="3954"/>
                    <a:pt x="13314" y="4078"/>
                  </a:cubicBezTo>
                  <a:cubicBezTo>
                    <a:pt x="13182" y="4155"/>
                    <a:pt x="13093" y="4294"/>
                    <a:pt x="13031" y="4464"/>
                  </a:cubicBezTo>
                  <a:cubicBezTo>
                    <a:pt x="12953" y="4680"/>
                    <a:pt x="12926" y="4921"/>
                    <a:pt x="12879" y="5153"/>
                  </a:cubicBezTo>
                  <a:cubicBezTo>
                    <a:pt x="12852" y="5286"/>
                    <a:pt x="12829" y="5425"/>
                    <a:pt x="12735" y="5518"/>
                  </a:cubicBezTo>
                  <a:cubicBezTo>
                    <a:pt x="12677" y="5415"/>
                    <a:pt x="12650" y="5297"/>
                    <a:pt x="12623" y="5184"/>
                  </a:cubicBezTo>
                  <a:cubicBezTo>
                    <a:pt x="12530" y="4782"/>
                    <a:pt x="12347" y="4500"/>
                    <a:pt x="12040" y="4356"/>
                  </a:cubicBezTo>
                  <a:cubicBezTo>
                    <a:pt x="11784" y="4232"/>
                    <a:pt x="11788" y="4217"/>
                    <a:pt x="11811" y="3852"/>
                  </a:cubicBezTo>
                  <a:cubicBezTo>
                    <a:pt x="11819" y="3733"/>
                    <a:pt x="11838" y="3620"/>
                    <a:pt x="11838" y="3502"/>
                  </a:cubicBezTo>
                  <a:cubicBezTo>
                    <a:pt x="11838" y="3420"/>
                    <a:pt x="11854" y="3368"/>
                    <a:pt x="11908" y="3327"/>
                  </a:cubicBezTo>
                  <a:cubicBezTo>
                    <a:pt x="11935" y="3389"/>
                    <a:pt x="11966" y="3342"/>
                    <a:pt x="11993" y="3327"/>
                  </a:cubicBezTo>
                  <a:cubicBezTo>
                    <a:pt x="12110" y="3260"/>
                    <a:pt x="12223" y="3183"/>
                    <a:pt x="12335" y="3116"/>
                  </a:cubicBezTo>
                  <a:cubicBezTo>
                    <a:pt x="12502" y="3013"/>
                    <a:pt x="12666" y="2910"/>
                    <a:pt x="12856" y="2941"/>
                  </a:cubicBezTo>
                  <a:cubicBezTo>
                    <a:pt x="12666" y="3044"/>
                    <a:pt x="12479" y="3157"/>
                    <a:pt x="12308" y="3306"/>
                  </a:cubicBezTo>
                  <a:cubicBezTo>
                    <a:pt x="12219" y="3389"/>
                    <a:pt x="12195" y="3492"/>
                    <a:pt x="12250" y="3610"/>
                  </a:cubicBezTo>
                  <a:cubicBezTo>
                    <a:pt x="12471" y="4098"/>
                    <a:pt x="12483" y="4140"/>
                    <a:pt x="12860" y="3888"/>
                  </a:cubicBezTo>
                  <a:cubicBezTo>
                    <a:pt x="12891" y="3867"/>
                    <a:pt x="12922" y="3846"/>
                    <a:pt x="12949" y="3821"/>
                  </a:cubicBezTo>
                  <a:cubicBezTo>
                    <a:pt x="13171" y="3615"/>
                    <a:pt x="13404" y="3569"/>
                    <a:pt x="13648" y="3749"/>
                  </a:cubicBezTo>
                  <a:cubicBezTo>
                    <a:pt x="13711" y="3795"/>
                    <a:pt x="13726" y="3769"/>
                    <a:pt x="13734" y="3687"/>
                  </a:cubicBezTo>
                  <a:cubicBezTo>
                    <a:pt x="13757" y="3456"/>
                    <a:pt x="13769" y="3219"/>
                    <a:pt x="13815" y="2993"/>
                  </a:cubicBezTo>
                  <a:cubicBezTo>
                    <a:pt x="13854" y="2797"/>
                    <a:pt x="13796" y="2710"/>
                    <a:pt x="13683" y="2622"/>
                  </a:cubicBezTo>
                  <a:cubicBezTo>
                    <a:pt x="13474" y="2458"/>
                    <a:pt x="13256" y="2334"/>
                    <a:pt x="13004" y="2324"/>
                  </a:cubicBezTo>
                  <a:cubicBezTo>
                    <a:pt x="13077" y="2273"/>
                    <a:pt x="13155" y="2252"/>
                    <a:pt x="13237" y="2273"/>
                  </a:cubicBezTo>
                  <a:cubicBezTo>
                    <a:pt x="13446" y="2319"/>
                    <a:pt x="13625" y="2458"/>
                    <a:pt x="13780" y="2638"/>
                  </a:cubicBezTo>
                  <a:cubicBezTo>
                    <a:pt x="13843" y="2710"/>
                    <a:pt x="13862" y="2694"/>
                    <a:pt x="13889" y="2597"/>
                  </a:cubicBezTo>
                  <a:cubicBezTo>
                    <a:pt x="13994" y="2196"/>
                    <a:pt x="13901" y="1733"/>
                    <a:pt x="13656" y="1460"/>
                  </a:cubicBezTo>
                  <a:cubicBezTo>
                    <a:pt x="13509" y="1296"/>
                    <a:pt x="13341" y="1213"/>
                    <a:pt x="13155" y="1311"/>
                  </a:cubicBezTo>
                  <a:cubicBezTo>
                    <a:pt x="13070" y="1352"/>
                    <a:pt x="12988" y="1398"/>
                    <a:pt x="12902" y="1429"/>
                  </a:cubicBezTo>
                  <a:cubicBezTo>
                    <a:pt x="12868" y="1445"/>
                    <a:pt x="12840" y="1470"/>
                    <a:pt x="12825" y="1512"/>
                  </a:cubicBezTo>
                  <a:cubicBezTo>
                    <a:pt x="12809" y="1517"/>
                    <a:pt x="12794" y="1517"/>
                    <a:pt x="12798" y="1548"/>
                  </a:cubicBezTo>
                  <a:lnTo>
                    <a:pt x="12798" y="1542"/>
                  </a:lnTo>
                  <a:cubicBezTo>
                    <a:pt x="12681" y="1620"/>
                    <a:pt x="12619" y="1769"/>
                    <a:pt x="12530" y="1887"/>
                  </a:cubicBezTo>
                  <a:cubicBezTo>
                    <a:pt x="12475" y="1964"/>
                    <a:pt x="12421" y="2098"/>
                    <a:pt x="12335" y="1892"/>
                  </a:cubicBezTo>
                  <a:cubicBezTo>
                    <a:pt x="12328" y="2005"/>
                    <a:pt x="12320" y="2082"/>
                    <a:pt x="12316" y="2160"/>
                  </a:cubicBezTo>
                  <a:cubicBezTo>
                    <a:pt x="12277" y="2016"/>
                    <a:pt x="12331" y="1856"/>
                    <a:pt x="12246" y="1733"/>
                  </a:cubicBezTo>
                  <a:cubicBezTo>
                    <a:pt x="12195" y="1409"/>
                    <a:pt x="12126" y="1100"/>
                    <a:pt x="11947" y="853"/>
                  </a:cubicBezTo>
                  <a:cubicBezTo>
                    <a:pt x="12005" y="822"/>
                    <a:pt x="12036" y="874"/>
                    <a:pt x="12071" y="915"/>
                  </a:cubicBezTo>
                  <a:cubicBezTo>
                    <a:pt x="12195" y="1054"/>
                    <a:pt x="12261" y="1234"/>
                    <a:pt x="12324" y="1429"/>
                  </a:cubicBezTo>
                  <a:cubicBezTo>
                    <a:pt x="12362" y="1548"/>
                    <a:pt x="12351" y="1764"/>
                    <a:pt x="12440" y="1764"/>
                  </a:cubicBezTo>
                  <a:cubicBezTo>
                    <a:pt x="12537" y="1764"/>
                    <a:pt x="12584" y="1568"/>
                    <a:pt x="12634" y="1440"/>
                  </a:cubicBezTo>
                  <a:cubicBezTo>
                    <a:pt x="12642" y="1414"/>
                    <a:pt x="12654" y="1388"/>
                    <a:pt x="12662" y="1362"/>
                  </a:cubicBezTo>
                  <a:cubicBezTo>
                    <a:pt x="12794" y="807"/>
                    <a:pt x="12669" y="344"/>
                    <a:pt x="12265" y="221"/>
                  </a:cubicBezTo>
                  <a:cubicBezTo>
                    <a:pt x="12122" y="174"/>
                    <a:pt x="11970" y="200"/>
                    <a:pt x="11826" y="252"/>
                  </a:cubicBezTo>
                  <a:cubicBezTo>
                    <a:pt x="11558" y="344"/>
                    <a:pt x="11286" y="416"/>
                    <a:pt x="11011" y="478"/>
                  </a:cubicBezTo>
                  <a:cubicBezTo>
                    <a:pt x="10579" y="576"/>
                    <a:pt x="10156" y="735"/>
                    <a:pt x="9760" y="992"/>
                  </a:cubicBezTo>
                  <a:cubicBezTo>
                    <a:pt x="9596" y="1100"/>
                    <a:pt x="9449" y="1239"/>
                    <a:pt x="9336" y="1429"/>
                  </a:cubicBezTo>
                  <a:cubicBezTo>
                    <a:pt x="9313" y="1470"/>
                    <a:pt x="9258" y="1542"/>
                    <a:pt x="9359" y="1548"/>
                  </a:cubicBezTo>
                  <a:cubicBezTo>
                    <a:pt x="9729" y="1568"/>
                    <a:pt x="10101" y="1594"/>
                    <a:pt x="10467" y="1645"/>
                  </a:cubicBezTo>
                  <a:cubicBezTo>
                    <a:pt x="10785" y="1774"/>
                    <a:pt x="10972" y="1964"/>
                    <a:pt x="11030" y="2226"/>
                  </a:cubicBezTo>
                  <a:cubicBezTo>
                    <a:pt x="10925" y="2103"/>
                    <a:pt x="10828" y="1995"/>
                    <a:pt x="10704" y="1944"/>
                  </a:cubicBezTo>
                  <a:cubicBezTo>
                    <a:pt x="10377" y="1810"/>
                    <a:pt x="10090" y="1964"/>
                    <a:pt x="9806" y="2144"/>
                  </a:cubicBezTo>
                  <a:cubicBezTo>
                    <a:pt x="9725" y="2154"/>
                    <a:pt x="9678" y="2262"/>
                    <a:pt x="9593" y="2278"/>
                  </a:cubicBezTo>
                  <a:cubicBezTo>
                    <a:pt x="9589" y="2190"/>
                    <a:pt x="9635" y="2144"/>
                    <a:pt x="9647" y="2082"/>
                  </a:cubicBezTo>
                  <a:cubicBezTo>
                    <a:pt x="9721" y="2016"/>
                    <a:pt x="9795" y="1954"/>
                    <a:pt x="9868" y="1887"/>
                  </a:cubicBezTo>
                  <a:cubicBezTo>
                    <a:pt x="9713" y="1851"/>
                    <a:pt x="9569" y="1805"/>
                    <a:pt x="9457" y="2005"/>
                  </a:cubicBezTo>
                  <a:cubicBezTo>
                    <a:pt x="9422" y="2062"/>
                    <a:pt x="9352" y="2093"/>
                    <a:pt x="9293" y="2113"/>
                  </a:cubicBezTo>
                  <a:cubicBezTo>
                    <a:pt x="9200" y="2144"/>
                    <a:pt x="9107" y="2154"/>
                    <a:pt x="9010" y="2180"/>
                  </a:cubicBezTo>
                  <a:cubicBezTo>
                    <a:pt x="8952" y="2196"/>
                    <a:pt x="9010" y="2216"/>
                    <a:pt x="9010" y="2237"/>
                  </a:cubicBezTo>
                  <a:cubicBezTo>
                    <a:pt x="9041" y="2298"/>
                    <a:pt x="9088" y="2340"/>
                    <a:pt x="9130" y="2381"/>
                  </a:cubicBezTo>
                  <a:cubicBezTo>
                    <a:pt x="9387" y="2607"/>
                    <a:pt x="9670" y="2602"/>
                    <a:pt x="9958" y="2530"/>
                  </a:cubicBezTo>
                  <a:cubicBezTo>
                    <a:pt x="10144" y="2484"/>
                    <a:pt x="10327" y="2412"/>
                    <a:pt x="10513" y="2365"/>
                  </a:cubicBezTo>
                  <a:cubicBezTo>
                    <a:pt x="10820" y="2293"/>
                    <a:pt x="11038" y="2617"/>
                    <a:pt x="10960" y="3018"/>
                  </a:cubicBezTo>
                  <a:cubicBezTo>
                    <a:pt x="10937" y="3132"/>
                    <a:pt x="10882" y="3224"/>
                    <a:pt x="10832" y="3348"/>
                  </a:cubicBezTo>
                  <a:cubicBezTo>
                    <a:pt x="11038" y="3188"/>
                    <a:pt x="11158" y="2972"/>
                    <a:pt x="11213" y="2694"/>
                  </a:cubicBezTo>
                  <a:cubicBezTo>
                    <a:pt x="11251" y="2566"/>
                    <a:pt x="11236" y="2432"/>
                    <a:pt x="11189" y="2324"/>
                  </a:cubicBezTo>
                  <a:cubicBezTo>
                    <a:pt x="11026" y="1969"/>
                    <a:pt x="10832" y="1645"/>
                    <a:pt x="10498" y="1553"/>
                  </a:cubicBezTo>
                  <a:cubicBezTo>
                    <a:pt x="10447" y="1481"/>
                    <a:pt x="10366" y="1532"/>
                    <a:pt x="10311" y="1470"/>
                  </a:cubicBezTo>
                  <a:cubicBezTo>
                    <a:pt x="10346" y="1404"/>
                    <a:pt x="10401" y="1414"/>
                    <a:pt x="10447" y="1409"/>
                  </a:cubicBezTo>
                  <a:cubicBezTo>
                    <a:pt x="10933" y="1383"/>
                    <a:pt x="11391" y="1887"/>
                    <a:pt x="11457" y="2530"/>
                  </a:cubicBezTo>
                  <a:cubicBezTo>
                    <a:pt x="11477" y="2725"/>
                    <a:pt x="11488" y="2741"/>
                    <a:pt x="11632" y="2664"/>
                  </a:cubicBezTo>
                  <a:cubicBezTo>
                    <a:pt x="11920" y="2509"/>
                    <a:pt x="12032" y="2196"/>
                    <a:pt x="12063" y="1810"/>
                  </a:cubicBezTo>
                  <a:cubicBezTo>
                    <a:pt x="12079" y="1640"/>
                    <a:pt x="12067" y="1470"/>
                    <a:pt x="12044" y="1301"/>
                  </a:cubicBezTo>
                  <a:cubicBezTo>
                    <a:pt x="12149" y="1429"/>
                    <a:pt x="12164" y="1614"/>
                    <a:pt x="12219" y="1774"/>
                  </a:cubicBezTo>
                  <a:cubicBezTo>
                    <a:pt x="12223" y="1974"/>
                    <a:pt x="12227" y="2175"/>
                    <a:pt x="12192" y="2370"/>
                  </a:cubicBezTo>
                  <a:cubicBezTo>
                    <a:pt x="12110" y="2818"/>
                    <a:pt x="11951" y="3168"/>
                    <a:pt x="11574" y="3240"/>
                  </a:cubicBezTo>
                  <a:cubicBezTo>
                    <a:pt x="11438" y="3265"/>
                    <a:pt x="11286" y="3306"/>
                    <a:pt x="11166" y="3214"/>
                  </a:cubicBezTo>
                  <a:cubicBezTo>
                    <a:pt x="11104" y="3168"/>
                    <a:pt x="11088" y="3188"/>
                    <a:pt x="11053" y="3229"/>
                  </a:cubicBezTo>
                  <a:cubicBezTo>
                    <a:pt x="10878" y="3414"/>
                    <a:pt x="10680" y="3522"/>
                    <a:pt x="10459" y="3564"/>
                  </a:cubicBezTo>
                  <a:cubicBezTo>
                    <a:pt x="10191" y="3615"/>
                    <a:pt x="9927" y="3589"/>
                    <a:pt x="9655" y="3533"/>
                  </a:cubicBezTo>
                  <a:cubicBezTo>
                    <a:pt x="9616" y="4026"/>
                    <a:pt x="9639" y="4510"/>
                    <a:pt x="9662" y="4993"/>
                  </a:cubicBezTo>
                  <a:cubicBezTo>
                    <a:pt x="9674" y="5199"/>
                    <a:pt x="9748" y="5286"/>
                    <a:pt x="9892" y="5338"/>
                  </a:cubicBezTo>
                  <a:cubicBezTo>
                    <a:pt x="10144" y="5436"/>
                    <a:pt x="10335" y="5662"/>
                    <a:pt x="10323" y="6078"/>
                  </a:cubicBezTo>
                  <a:cubicBezTo>
                    <a:pt x="10315" y="6382"/>
                    <a:pt x="10300" y="6680"/>
                    <a:pt x="10249" y="6973"/>
                  </a:cubicBezTo>
                  <a:cubicBezTo>
                    <a:pt x="10234" y="7061"/>
                    <a:pt x="10179" y="7179"/>
                    <a:pt x="10265" y="7251"/>
                  </a:cubicBezTo>
                  <a:cubicBezTo>
                    <a:pt x="10342" y="7318"/>
                    <a:pt x="10436" y="7349"/>
                    <a:pt x="10529" y="7287"/>
                  </a:cubicBezTo>
                  <a:cubicBezTo>
                    <a:pt x="10634" y="7215"/>
                    <a:pt x="10739" y="7153"/>
                    <a:pt x="10851" y="7117"/>
                  </a:cubicBezTo>
                  <a:cubicBezTo>
                    <a:pt x="10910" y="7097"/>
                    <a:pt x="10933" y="7045"/>
                    <a:pt x="10925" y="6968"/>
                  </a:cubicBezTo>
                  <a:cubicBezTo>
                    <a:pt x="10921" y="6891"/>
                    <a:pt x="10886" y="6845"/>
                    <a:pt x="10828" y="6840"/>
                  </a:cubicBezTo>
                  <a:cubicBezTo>
                    <a:pt x="10789" y="6834"/>
                    <a:pt x="10750" y="6840"/>
                    <a:pt x="10700" y="6840"/>
                  </a:cubicBezTo>
                  <a:cubicBezTo>
                    <a:pt x="10781" y="6762"/>
                    <a:pt x="10859" y="6752"/>
                    <a:pt x="10929" y="6819"/>
                  </a:cubicBezTo>
                  <a:cubicBezTo>
                    <a:pt x="10999" y="6886"/>
                    <a:pt x="11007" y="6984"/>
                    <a:pt x="10987" y="7092"/>
                  </a:cubicBezTo>
                  <a:cubicBezTo>
                    <a:pt x="10964" y="7210"/>
                    <a:pt x="10906" y="7266"/>
                    <a:pt x="10812" y="7261"/>
                  </a:cubicBezTo>
                  <a:cubicBezTo>
                    <a:pt x="10785" y="7261"/>
                    <a:pt x="10754" y="7277"/>
                    <a:pt x="10727" y="7282"/>
                  </a:cubicBezTo>
                  <a:cubicBezTo>
                    <a:pt x="10684" y="7287"/>
                    <a:pt x="10680" y="7313"/>
                    <a:pt x="10696" y="7359"/>
                  </a:cubicBezTo>
                  <a:cubicBezTo>
                    <a:pt x="10731" y="7472"/>
                    <a:pt x="10719" y="7590"/>
                    <a:pt x="10715" y="7709"/>
                  </a:cubicBezTo>
                  <a:cubicBezTo>
                    <a:pt x="10711" y="7770"/>
                    <a:pt x="10723" y="7796"/>
                    <a:pt x="10774" y="7796"/>
                  </a:cubicBezTo>
                  <a:cubicBezTo>
                    <a:pt x="10941" y="7796"/>
                    <a:pt x="11108" y="7812"/>
                    <a:pt x="11275" y="7745"/>
                  </a:cubicBezTo>
                  <a:cubicBezTo>
                    <a:pt x="11341" y="7719"/>
                    <a:pt x="11415" y="7668"/>
                    <a:pt x="11488" y="7709"/>
                  </a:cubicBezTo>
                  <a:cubicBezTo>
                    <a:pt x="11492" y="7760"/>
                    <a:pt x="11465" y="7776"/>
                    <a:pt x="11450" y="7796"/>
                  </a:cubicBezTo>
                  <a:cubicBezTo>
                    <a:pt x="11271" y="8007"/>
                    <a:pt x="11053" y="8012"/>
                    <a:pt x="10832" y="8007"/>
                  </a:cubicBezTo>
                  <a:cubicBezTo>
                    <a:pt x="10785" y="8007"/>
                    <a:pt x="10711" y="7997"/>
                    <a:pt x="10700" y="8058"/>
                  </a:cubicBezTo>
                  <a:cubicBezTo>
                    <a:pt x="10684" y="8141"/>
                    <a:pt x="10746" y="8192"/>
                    <a:pt x="10797" y="8238"/>
                  </a:cubicBezTo>
                  <a:cubicBezTo>
                    <a:pt x="10816" y="8254"/>
                    <a:pt x="10844" y="8259"/>
                    <a:pt x="10867" y="8269"/>
                  </a:cubicBezTo>
                  <a:cubicBezTo>
                    <a:pt x="10983" y="8341"/>
                    <a:pt x="11104" y="8264"/>
                    <a:pt x="11236" y="8269"/>
                  </a:cubicBezTo>
                  <a:cubicBezTo>
                    <a:pt x="11115" y="8444"/>
                    <a:pt x="10968" y="8403"/>
                    <a:pt x="10832" y="8403"/>
                  </a:cubicBezTo>
                  <a:cubicBezTo>
                    <a:pt x="10913" y="8717"/>
                    <a:pt x="11014" y="8994"/>
                    <a:pt x="11298" y="9056"/>
                  </a:cubicBezTo>
                  <a:close/>
                  <a:moveTo>
                    <a:pt x="9732" y="12574"/>
                  </a:moveTo>
                  <a:cubicBezTo>
                    <a:pt x="9760" y="12816"/>
                    <a:pt x="9783" y="13057"/>
                    <a:pt x="9822" y="13294"/>
                  </a:cubicBezTo>
                  <a:cubicBezTo>
                    <a:pt x="9899" y="13752"/>
                    <a:pt x="10039" y="14189"/>
                    <a:pt x="10152" y="14631"/>
                  </a:cubicBezTo>
                  <a:cubicBezTo>
                    <a:pt x="10160" y="14826"/>
                    <a:pt x="10222" y="15006"/>
                    <a:pt x="10261" y="15197"/>
                  </a:cubicBezTo>
                  <a:cubicBezTo>
                    <a:pt x="10513" y="16385"/>
                    <a:pt x="10746" y="17583"/>
                    <a:pt x="11022" y="18766"/>
                  </a:cubicBezTo>
                  <a:cubicBezTo>
                    <a:pt x="11034" y="18822"/>
                    <a:pt x="11042" y="18894"/>
                    <a:pt x="11088" y="18920"/>
                  </a:cubicBezTo>
                  <a:cubicBezTo>
                    <a:pt x="11228" y="19002"/>
                    <a:pt x="11360" y="19090"/>
                    <a:pt x="11516" y="19110"/>
                  </a:cubicBezTo>
                  <a:cubicBezTo>
                    <a:pt x="11624" y="19121"/>
                    <a:pt x="11655" y="19074"/>
                    <a:pt x="11648" y="18936"/>
                  </a:cubicBezTo>
                  <a:cubicBezTo>
                    <a:pt x="11574" y="17634"/>
                    <a:pt x="11578" y="16323"/>
                    <a:pt x="11551" y="15022"/>
                  </a:cubicBezTo>
                  <a:cubicBezTo>
                    <a:pt x="11531" y="14158"/>
                    <a:pt x="11519" y="13294"/>
                    <a:pt x="11508" y="12425"/>
                  </a:cubicBezTo>
                  <a:cubicBezTo>
                    <a:pt x="11508" y="12353"/>
                    <a:pt x="11508" y="12286"/>
                    <a:pt x="11461" y="12224"/>
                  </a:cubicBezTo>
                  <a:cubicBezTo>
                    <a:pt x="11360" y="12090"/>
                    <a:pt x="11271" y="11941"/>
                    <a:pt x="11154" y="11828"/>
                  </a:cubicBezTo>
                  <a:cubicBezTo>
                    <a:pt x="11143" y="11818"/>
                    <a:pt x="11135" y="11802"/>
                    <a:pt x="11123" y="11792"/>
                  </a:cubicBezTo>
                  <a:cubicBezTo>
                    <a:pt x="11115" y="11782"/>
                    <a:pt x="11104" y="11766"/>
                    <a:pt x="11096" y="11756"/>
                  </a:cubicBezTo>
                  <a:cubicBezTo>
                    <a:pt x="11096" y="11756"/>
                    <a:pt x="11096" y="11756"/>
                    <a:pt x="11096" y="11756"/>
                  </a:cubicBezTo>
                  <a:cubicBezTo>
                    <a:pt x="10812" y="11376"/>
                    <a:pt x="10494" y="11077"/>
                    <a:pt x="10094" y="10954"/>
                  </a:cubicBezTo>
                  <a:cubicBezTo>
                    <a:pt x="10059" y="10918"/>
                    <a:pt x="10016" y="10918"/>
                    <a:pt x="9973" y="10908"/>
                  </a:cubicBezTo>
                  <a:cubicBezTo>
                    <a:pt x="9736" y="10841"/>
                    <a:pt x="9736" y="10841"/>
                    <a:pt x="9701" y="11160"/>
                  </a:cubicBezTo>
                  <a:cubicBezTo>
                    <a:pt x="9694" y="11221"/>
                    <a:pt x="9686" y="11278"/>
                    <a:pt x="9682" y="11340"/>
                  </a:cubicBezTo>
                  <a:cubicBezTo>
                    <a:pt x="9666" y="11751"/>
                    <a:pt x="9670" y="12162"/>
                    <a:pt x="9732" y="12574"/>
                  </a:cubicBezTo>
                  <a:close/>
                  <a:moveTo>
                    <a:pt x="9841" y="17161"/>
                  </a:moveTo>
                  <a:cubicBezTo>
                    <a:pt x="9814" y="17110"/>
                    <a:pt x="9775" y="17094"/>
                    <a:pt x="9732" y="17094"/>
                  </a:cubicBezTo>
                  <a:cubicBezTo>
                    <a:pt x="9534" y="17084"/>
                    <a:pt x="9336" y="17074"/>
                    <a:pt x="9138" y="17069"/>
                  </a:cubicBezTo>
                  <a:cubicBezTo>
                    <a:pt x="9029" y="17069"/>
                    <a:pt x="9033" y="17208"/>
                    <a:pt x="8998" y="17295"/>
                  </a:cubicBezTo>
                  <a:cubicBezTo>
                    <a:pt x="8983" y="17331"/>
                    <a:pt x="8940" y="17382"/>
                    <a:pt x="8990" y="17424"/>
                  </a:cubicBezTo>
                  <a:cubicBezTo>
                    <a:pt x="9068" y="17490"/>
                    <a:pt x="9138" y="17578"/>
                    <a:pt x="9235" y="17583"/>
                  </a:cubicBezTo>
                  <a:cubicBezTo>
                    <a:pt x="9511" y="17588"/>
                    <a:pt x="9791" y="17583"/>
                    <a:pt x="10098" y="17629"/>
                  </a:cubicBezTo>
                  <a:cubicBezTo>
                    <a:pt x="9997" y="17449"/>
                    <a:pt x="9919" y="17305"/>
                    <a:pt x="9841" y="17161"/>
                  </a:cubicBezTo>
                  <a:close/>
                  <a:moveTo>
                    <a:pt x="8874" y="16930"/>
                  </a:moveTo>
                  <a:cubicBezTo>
                    <a:pt x="9099" y="16981"/>
                    <a:pt x="9317" y="16914"/>
                    <a:pt x="9538" y="16909"/>
                  </a:cubicBezTo>
                  <a:cubicBezTo>
                    <a:pt x="9596" y="16914"/>
                    <a:pt x="9674" y="16950"/>
                    <a:pt x="9705" y="16894"/>
                  </a:cubicBezTo>
                  <a:cubicBezTo>
                    <a:pt x="9740" y="16827"/>
                    <a:pt x="9674" y="16755"/>
                    <a:pt x="9643" y="16688"/>
                  </a:cubicBezTo>
                  <a:cubicBezTo>
                    <a:pt x="9406" y="16122"/>
                    <a:pt x="9262" y="15541"/>
                    <a:pt x="9363" y="14878"/>
                  </a:cubicBezTo>
                  <a:cubicBezTo>
                    <a:pt x="9391" y="14708"/>
                    <a:pt x="9418" y="14528"/>
                    <a:pt x="9367" y="14338"/>
                  </a:cubicBezTo>
                  <a:cubicBezTo>
                    <a:pt x="9297" y="14662"/>
                    <a:pt x="9224" y="14981"/>
                    <a:pt x="9154" y="15305"/>
                  </a:cubicBezTo>
                  <a:cubicBezTo>
                    <a:pt x="9056" y="15804"/>
                    <a:pt x="8940" y="16292"/>
                    <a:pt x="8808" y="16770"/>
                  </a:cubicBezTo>
                  <a:cubicBezTo>
                    <a:pt x="8777" y="16889"/>
                    <a:pt x="8792" y="16914"/>
                    <a:pt x="8874" y="16930"/>
                  </a:cubicBezTo>
                  <a:close/>
                  <a:moveTo>
                    <a:pt x="7374" y="19728"/>
                  </a:moveTo>
                  <a:cubicBezTo>
                    <a:pt x="7304" y="19676"/>
                    <a:pt x="7316" y="19573"/>
                    <a:pt x="7300" y="19496"/>
                  </a:cubicBezTo>
                  <a:cubicBezTo>
                    <a:pt x="7203" y="19085"/>
                    <a:pt x="7052" y="18714"/>
                    <a:pt x="6827" y="18401"/>
                  </a:cubicBezTo>
                  <a:cubicBezTo>
                    <a:pt x="6939" y="18894"/>
                    <a:pt x="7056" y="19383"/>
                    <a:pt x="7176" y="19872"/>
                  </a:cubicBezTo>
                  <a:cubicBezTo>
                    <a:pt x="7238" y="20118"/>
                    <a:pt x="7246" y="20124"/>
                    <a:pt x="7452" y="20077"/>
                  </a:cubicBezTo>
                  <a:cubicBezTo>
                    <a:pt x="7363" y="19969"/>
                    <a:pt x="7378" y="19856"/>
                    <a:pt x="7429" y="19733"/>
                  </a:cubicBezTo>
                  <a:cubicBezTo>
                    <a:pt x="7518" y="19661"/>
                    <a:pt x="7611" y="19599"/>
                    <a:pt x="7689" y="19501"/>
                  </a:cubicBezTo>
                  <a:cubicBezTo>
                    <a:pt x="7973" y="19152"/>
                    <a:pt x="8260" y="18807"/>
                    <a:pt x="8544" y="18457"/>
                  </a:cubicBezTo>
                  <a:cubicBezTo>
                    <a:pt x="8645" y="18334"/>
                    <a:pt x="8753" y="18262"/>
                    <a:pt x="8893" y="18272"/>
                  </a:cubicBezTo>
                  <a:cubicBezTo>
                    <a:pt x="9018" y="18282"/>
                    <a:pt x="9146" y="18272"/>
                    <a:pt x="9270" y="18267"/>
                  </a:cubicBezTo>
                  <a:cubicBezTo>
                    <a:pt x="9406" y="18267"/>
                    <a:pt x="9538" y="18267"/>
                    <a:pt x="9674" y="18267"/>
                  </a:cubicBezTo>
                  <a:cubicBezTo>
                    <a:pt x="9674" y="18252"/>
                    <a:pt x="9674" y="18231"/>
                    <a:pt x="9674" y="18216"/>
                  </a:cubicBezTo>
                  <a:cubicBezTo>
                    <a:pt x="9616" y="18154"/>
                    <a:pt x="9558" y="18097"/>
                    <a:pt x="9499" y="18036"/>
                  </a:cubicBezTo>
                  <a:cubicBezTo>
                    <a:pt x="9332" y="17845"/>
                    <a:pt x="9154" y="17670"/>
                    <a:pt x="8955" y="17542"/>
                  </a:cubicBezTo>
                  <a:cubicBezTo>
                    <a:pt x="8870" y="17485"/>
                    <a:pt x="8781" y="17470"/>
                    <a:pt x="8695" y="17547"/>
                  </a:cubicBezTo>
                  <a:cubicBezTo>
                    <a:pt x="8656" y="17552"/>
                    <a:pt x="8621" y="17573"/>
                    <a:pt x="8590" y="17609"/>
                  </a:cubicBezTo>
                  <a:cubicBezTo>
                    <a:pt x="8555" y="17557"/>
                    <a:pt x="8513" y="17573"/>
                    <a:pt x="8474" y="17583"/>
                  </a:cubicBezTo>
                  <a:cubicBezTo>
                    <a:pt x="8245" y="17660"/>
                    <a:pt x="8011" y="17727"/>
                    <a:pt x="7786" y="17814"/>
                  </a:cubicBezTo>
                  <a:cubicBezTo>
                    <a:pt x="7522" y="17917"/>
                    <a:pt x="7262" y="18036"/>
                    <a:pt x="6986" y="18154"/>
                  </a:cubicBezTo>
                  <a:cubicBezTo>
                    <a:pt x="7048" y="18210"/>
                    <a:pt x="7091" y="18246"/>
                    <a:pt x="7130" y="18288"/>
                  </a:cubicBezTo>
                  <a:cubicBezTo>
                    <a:pt x="7401" y="18689"/>
                    <a:pt x="7537" y="19131"/>
                    <a:pt x="7378" y="19666"/>
                  </a:cubicBezTo>
                  <a:cubicBezTo>
                    <a:pt x="7374" y="19692"/>
                    <a:pt x="7374" y="19712"/>
                    <a:pt x="7374" y="19728"/>
                  </a:cubicBezTo>
                  <a:close/>
                  <a:moveTo>
                    <a:pt x="4305" y="20864"/>
                  </a:moveTo>
                  <a:cubicBezTo>
                    <a:pt x="4523" y="20844"/>
                    <a:pt x="4744" y="20864"/>
                    <a:pt x="4958" y="20808"/>
                  </a:cubicBezTo>
                  <a:cubicBezTo>
                    <a:pt x="4981" y="20808"/>
                    <a:pt x="5008" y="20813"/>
                    <a:pt x="5032" y="20813"/>
                  </a:cubicBezTo>
                  <a:cubicBezTo>
                    <a:pt x="5634" y="20766"/>
                    <a:pt x="6240" y="20725"/>
                    <a:pt x="6842" y="20679"/>
                  </a:cubicBezTo>
                  <a:cubicBezTo>
                    <a:pt x="6959" y="20669"/>
                    <a:pt x="7013" y="20576"/>
                    <a:pt x="7032" y="20432"/>
                  </a:cubicBezTo>
                  <a:cubicBezTo>
                    <a:pt x="7060" y="20309"/>
                    <a:pt x="7032" y="20190"/>
                    <a:pt x="7001" y="20077"/>
                  </a:cubicBezTo>
                  <a:cubicBezTo>
                    <a:pt x="6477" y="17922"/>
                    <a:pt x="5956" y="15768"/>
                    <a:pt x="5432" y="13613"/>
                  </a:cubicBezTo>
                  <a:cubicBezTo>
                    <a:pt x="5346" y="13258"/>
                    <a:pt x="5273" y="12893"/>
                    <a:pt x="5156" y="12548"/>
                  </a:cubicBezTo>
                  <a:cubicBezTo>
                    <a:pt x="5140" y="12507"/>
                    <a:pt x="5125" y="12461"/>
                    <a:pt x="5090" y="12445"/>
                  </a:cubicBezTo>
                  <a:cubicBezTo>
                    <a:pt x="4942" y="12276"/>
                    <a:pt x="4768" y="12306"/>
                    <a:pt x="4600" y="12342"/>
                  </a:cubicBezTo>
                  <a:cubicBezTo>
                    <a:pt x="3524" y="12574"/>
                    <a:pt x="2444" y="12805"/>
                    <a:pt x="1368" y="13047"/>
                  </a:cubicBezTo>
                  <a:cubicBezTo>
                    <a:pt x="1275" y="13068"/>
                    <a:pt x="1155" y="13042"/>
                    <a:pt x="1096" y="13196"/>
                  </a:cubicBezTo>
                  <a:cubicBezTo>
                    <a:pt x="1054" y="13273"/>
                    <a:pt x="1065" y="13356"/>
                    <a:pt x="1081" y="13438"/>
                  </a:cubicBezTo>
                  <a:cubicBezTo>
                    <a:pt x="1158" y="13844"/>
                    <a:pt x="1271" y="14235"/>
                    <a:pt x="1372" y="14631"/>
                  </a:cubicBezTo>
                  <a:cubicBezTo>
                    <a:pt x="1850" y="16544"/>
                    <a:pt x="2332" y="18457"/>
                    <a:pt x="2813" y="20365"/>
                  </a:cubicBezTo>
                  <a:cubicBezTo>
                    <a:pt x="2845" y="20494"/>
                    <a:pt x="2868" y="20638"/>
                    <a:pt x="2957" y="20730"/>
                  </a:cubicBezTo>
                  <a:cubicBezTo>
                    <a:pt x="3054" y="20916"/>
                    <a:pt x="3198" y="20936"/>
                    <a:pt x="3346" y="20931"/>
                  </a:cubicBezTo>
                  <a:cubicBezTo>
                    <a:pt x="3668" y="20905"/>
                    <a:pt x="3987" y="20895"/>
                    <a:pt x="4305" y="20864"/>
                  </a:cubicBezTo>
                  <a:close/>
                  <a:moveTo>
                    <a:pt x="9853" y="21111"/>
                  </a:moveTo>
                  <a:cubicBezTo>
                    <a:pt x="9736" y="21101"/>
                    <a:pt x="9620" y="21090"/>
                    <a:pt x="9507" y="21080"/>
                  </a:cubicBezTo>
                  <a:cubicBezTo>
                    <a:pt x="9293" y="21065"/>
                    <a:pt x="9076" y="21049"/>
                    <a:pt x="8862" y="21034"/>
                  </a:cubicBezTo>
                  <a:cubicBezTo>
                    <a:pt x="8198" y="20977"/>
                    <a:pt x="7534" y="20910"/>
                    <a:pt x="6865" y="20936"/>
                  </a:cubicBezTo>
                  <a:cubicBezTo>
                    <a:pt x="6209" y="20962"/>
                    <a:pt x="5552" y="21008"/>
                    <a:pt x="4892" y="21049"/>
                  </a:cubicBezTo>
                  <a:cubicBezTo>
                    <a:pt x="4818" y="21044"/>
                    <a:pt x="4744" y="21044"/>
                    <a:pt x="4678" y="21106"/>
                  </a:cubicBezTo>
                  <a:cubicBezTo>
                    <a:pt x="4966" y="21106"/>
                    <a:pt x="5253" y="21106"/>
                    <a:pt x="5541" y="21106"/>
                  </a:cubicBezTo>
                  <a:cubicBezTo>
                    <a:pt x="6652" y="21111"/>
                    <a:pt x="7763" y="21116"/>
                    <a:pt x="8874" y="21116"/>
                  </a:cubicBezTo>
                  <a:cubicBezTo>
                    <a:pt x="9200" y="21142"/>
                    <a:pt x="9527" y="21142"/>
                    <a:pt x="9853" y="21111"/>
                  </a:cubicBezTo>
                  <a:close/>
                  <a:moveTo>
                    <a:pt x="11216" y="20982"/>
                  </a:moveTo>
                  <a:cubicBezTo>
                    <a:pt x="11135" y="20900"/>
                    <a:pt x="11077" y="20885"/>
                    <a:pt x="11014" y="20864"/>
                  </a:cubicBezTo>
                  <a:cubicBezTo>
                    <a:pt x="10676" y="20756"/>
                    <a:pt x="10331" y="20761"/>
                    <a:pt x="9989" y="20705"/>
                  </a:cubicBezTo>
                  <a:cubicBezTo>
                    <a:pt x="9600" y="20643"/>
                    <a:pt x="9208" y="20617"/>
                    <a:pt x="8816" y="20576"/>
                  </a:cubicBezTo>
                  <a:cubicBezTo>
                    <a:pt x="8617" y="20556"/>
                    <a:pt x="8447" y="20376"/>
                    <a:pt x="8233" y="20412"/>
                  </a:cubicBezTo>
                  <a:cubicBezTo>
                    <a:pt x="8140" y="20427"/>
                    <a:pt x="8039" y="20381"/>
                    <a:pt x="7945" y="20381"/>
                  </a:cubicBezTo>
                  <a:cubicBezTo>
                    <a:pt x="7739" y="20370"/>
                    <a:pt x="7534" y="20365"/>
                    <a:pt x="7324" y="20360"/>
                  </a:cubicBezTo>
                  <a:cubicBezTo>
                    <a:pt x="7192" y="20355"/>
                    <a:pt x="7223" y="20520"/>
                    <a:pt x="7203" y="20607"/>
                  </a:cubicBezTo>
                  <a:cubicBezTo>
                    <a:pt x="7188" y="20684"/>
                    <a:pt x="7269" y="20658"/>
                    <a:pt x="7308" y="20658"/>
                  </a:cubicBezTo>
                  <a:cubicBezTo>
                    <a:pt x="7611" y="20674"/>
                    <a:pt x="7914" y="20679"/>
                    <a:pt x="8217" y="20725"/>
                  </a:cubicBezTo>
                  <a:cubicBezTo>
                    <a:pt x="8610" y="20761"/>
                    <a:pt x="9002" y="20792"/>
                    <a:pt x="9398" y="20828"/>
                  </a:cubicBezTo>
                  <a:cubicBezTo>
                    <a:pt x="9690" y="20854"/>
                    <a:pt x="9981" y="20874"/>
                    <a:pt x="10272" y="20895"/>
                  </a:cubicBezTo>
                  <a:cubicBezTo>
                    <a:pt x="10575" y="20962"/>
                    <a:pt x="10882" y="20936"/>
                    <a:pt x="11216" y="20982"/>
                  </a:cubicBezTo>
                  <a:close/>
                  <a:moveTo>
                    <a:pt x="12335" y="19512"/>
                  </a:moveTo>
                  <a:cubicBezTo>
                    <a:pt x="12312" y="19429"/>
                    <a:pt x="12273" y="19393"/>
                    <a:pt x="12203" y="19393"/>
                  </a:cubicBezTo>
                  <a:cubicBezTo>
                    <a:pt x="11990" y="19398"/>
                    <a:pt x="11772" y="19393"/>
                    <a:pt x="11558" y="19398"/>
                  </a:cubicBezTo>
                  <a:cubicBezTo>
                    <a:pt x="11485" y="19398"/>
                    <a:pt x="11415" y="19388"/>
                    <a:pt x="11349" y="19347"/>
                  </a:cubicBezTo>
                  <a:cubicBezTo>
                    <a:pt x="11014" y="19116"/>
                    <a:pt x="10638" y="19008"/>
                    <a:pt x="10304" y="18786"/>
                  </a:cubicBezTo>
                  <a:cubicBezTo>
                    <a:pt x="9938" y="18545"/>
                    <a:pt x="9561" y="18488"/>
                    <a:pt x="9169" y="18514"/>
                  </a:cubicBezTo>
                  <a:cubicBezTo>
                    <a:pt x="9091" y="18519"/>
                    <a:pt x="9018" y="18529"/>
                    <a:pt x="8940" y="18524"/>
                  </a:cubicBezTo>
                  <a:cubicBezTo>
                    <a:pt x="8843" y="18519"/>
                    <a:pt x="8769" y="18565"/>
                    <a:pt x="8699" y="18642"/>
                  </a:cubicBezTo>
                  <a:cubicBezTo>
                    <a:pt x="8318" y="19095"/>
                    <a:pt x="7973" y="19599"/>
                    <a:pt x="7530" y="19954"/>
                  </a:cubicBezTo>
                  <a:cubicBezTo>
                    <a:pt x="7553" y="19969"/>
                    <a:pt x="7565" y="19985"/>
                    <a:pt x="7580" y="19995"/>
                  </a:cubicBezTo>
                  <a:cubicBezTo>
                    <a:pt x="7743" y="20077"/>
                    <a:pt x="7794" y="20057"/>
                    <a:pt x="7879" y="19866"/>
                  </a:cubicBezTo>
                  <a:cubicBezTo>
                    <a:pt x="7899" y="19825"/>
                    <a:pt x="7926" y="19805"/>
                    <a:pt x="7957" y="19784"/>
                  </a:cubicBezTo>
                  <a:cubicBezTo>
                    <a:pt x="8132" y="19656"/>
                    <a:pt x="8291" y="19506"/>
                    <a:pt x="8447" y="19342"/>
                  </a:cubicBezTo>
                  <a:cubicBezTo>
                    <a:pt x="9033" y="18740"/>
                    <a:pt x="9033" y="18740"/>
                    <a:pt x="9573" y="18766"/>
                  </a:cubicBezTo>
                  <a:cubicBezTo>
                    <a:pt x="9589" y="18766"/>
                    <a:pt x="9608" y="18766"/>
                    <a:pt x="9624" y="18771"/>
                  </a:cubicBezTo>
                  <a:cubicBezTo>
                    <a:pt x="9748" y="18807"/>
                    <a:pt x="9884" y="18786"/>
                    <a:pt x="10008" y="18889"/>
                  </a:cubicBezTo>
                  <a:cubicBezTo>
                    <a:pt x="9791" y="18920"/>
                    <a:pt x="9585" y="18946"/>
                    <a:pt x="9379" y="18972"/>
                  </a:cubicBezTo>
                  <a:cubicBezTo>
                    <a:pt x="9208" y="18992"/>
                    <a:pt x="9056" y="19059"/>
                    <a:pt x="8920" y="19208"/>
                  </a:cubicBezTo>
                  <a:cubicBezTo>
                    <a:pt x="8664" y="19486"/>
                    <a:pt x="8400" y="19758"/>
                    <a:pt x="8105" y="19964"/>
                  </a:cubicBezTo>
                  <a:cubicBezTo>
                    <a:pt x="8074" y="19985"/>
                    <a:pt x="8023" y="19995"/>
                    <a:pt x="8027" y="20052"/>
                  </a:cubicBezTo>
                  <a:cubicBezTo>
                    <a:pt x="8031" y="20098"/>
                    <a:pt x="8074" y="20129"/>
                    <a:pt x="8109" y="20144"/>
                  </a:cubicBezTo>
                  <a:cubicBezTo>
                    <a:pt x="8248" y="20216"/>
                    <a:pt x="8373" y="20149"/>
                    <a:pt x="8493" y="20062"/>
                  </a:cubicBezTo>
                  <a:cubicBezTo>
                    <a:pt x="8715" y="19902"/>
                    <a:pt x="8932" y="19733"/>
                    <a:pt x="9138" y="19542"/>
                  </a:cubicBezTo>
                  <a:cubicBezTo>
                    <a:pt x="9212" y="19476"/>
                    <a:pt x="9290" y="19424"/>
                    <a:pt x="9383" y="19424"/>
                  </a:cubicBezTo>
                  <a:cubicBezTo>
                    <a:pt x="9608" y="19429"/>
                    <a:pt x="9830" y="19424"/>
                    <a:pt x="10055" y="19440"/>
                  </a:cubicBezTo>
                  <a:cubicBezTo>
                    <a:pt x="10168" y="19445"/>
                    <a:pt x="10276" y="19481"/>
                    <a:pt x="10373" y="19589"/>
                  </a:cubicBezTo>
                  <a:cubicBezTo>
                    <a:pt x="9748" y="19558"/>
                    <a:pt x="9177" y="19764"/>
                    <a:pt x="8687" y="20288"/>
                  </a:cubicBezTo>
                  <a:cubicBezTo>
                    <a:pt x="8843" y="20386"/>
                    <a:pt x="8998" y="20365"/>
                    <a:pt x="9161" y="20268"/>
                  </a:cubicBezTo>
                  <a:cubicBezTo>
                    <a:pt x="9585" y="20010"/>
                    <a:pt x="10008" y="19949"/>
                    <a:pt x="10447" y="20232"/>
                  </a:cubicBezTo>
                  <a:cubicBezTo>
                    <a:pt x="10719" y="20406"/>
                    <a:pt x="10999" y="20561"/>
                    <a:pt x="11314" y="20607"/>
                  </a:cubicBezTo>
                  <a:cubicBezTo>
                    <a:pt x="11652" y="20653"/>
                    <a:pt x="11986" y="20751"/>
                    <a:pt x="12324" y="20787"/>
                  </a:cubicBezTo>
                  <a:cubicBezTo>
                    <a:pt x="12386" y="20792"/>
                    <a:pt x="12405" y="20766"/>
                    <a:pt x="12417" y="20700"/>
                  </a:cubicBezTo>
                  <a:cubicBezTo>
                    <a:pt x="12464" y="20288"/>
                    <a:pt x="12452" y="19892"/>
                    <a:pt x="12335" y="19512"/>
                  </a:cubicBezTo>
                  <a:close/>
                  <a:moveTo>
                    <a:pt x="19006" y="19861"/>
                  </a:moveTo>
                  <a:cubicBezTo>
                    <a:pt x="19013" y="19681"/>
                    <a:pt x="18971" y="19594"/>
                    <a:pt x="18854" y="19537"/>
                  </a:cubicBezTo>
                  <a:cubicBezTo>
                    <a:pt x="18718" y="19465"/>
                    <a:pt x="18586" y="19378"/>
                    <a:pt x="18450" y="19301"/>
                  </a:cubicBezTo>
                  <a:cubicBezTo>
                    <a:pt x="18147" y="19126"/>
                    <a:pt x="17840" y="18966"/>
                    <a:pt x="17526" y="18822"/>
                  </a:cubicBezTo>
                  <a:cubicBezTo>
                    <a:pt x="17386" y="18678"/>
                    <a:pt x="17211" y="18632"/>
                    <a:pt x="17052" y="18540"/>
                  </a:cubicBezTo>
                  <a:cubicBezTo>
                    <a:pt x="16838" y="18416"/>
                    <a:pt x="16834" y="18426"/>
                    <a:pt x="16717" y="18704"/>
                  </a:cubicBezTo>
                  <a:cubicBezTo>
                    <a:pt x="16570" y="18920"/>
                    <a:pt x="16407" y="19064"/>
                    <a:pt x="16170" y="19049"/>
                  </a:cubicBezTo>
                  <a:cubicBezTo>
                    <a:pt x="15579" y="18997"/>
                    <a:pt x="14993" y="18966"/>
                    <a:pt x="14402" y="18930"/>
                  </a:cubicBezTo>
                  <a:cubicBezTo>
                    <a:pt x="14196" y="18920"/>
                    <a:pt x="13990" y="18905"/>
                    <a:pt x="13784" y="18925"/>
                  </a:cubicBezTo>
                  <a:cubicBezTo>
                    <a:pt x="13326" y="18884"/>
                    <a:pt x="12864" y="18894"/>
                    <a:pt x="12401" y="18889"/>
                  </a:cubicBezTo>
                  <a:cubicBezTo>
                    <a:pt x="12118" y="18812"/>
                    <a:pt x="11958" y="18869"/>
                    <a:pt x="11889" y="19085"/>
                  </a:cubicBezTo>
                  <a:cubicBezTo>
                    <a:pt x="11997" y="19085"/>
                    <a:pt x="12106" y="19085"/>
                    <a:pt x="12211" y="19085"/>
                  </a:cubicBezTo>
                  <a:cubicBezTo>
                    <a:pt x="12261" y="19090"/>
                    <a:pt x="12316" y="19090"/>
                    <a:pt x="12366" y="19095"/>
                  </a:cubicBezTo>
                  <a:cubicBezTo>
                    <a:pt x="12483" y="19218"/>
                    <a:pt x="12541" y="19388"/>
                    <a:pt x="12584" y="19573"/>
                  </a:cubicBezTo>
                  <a:cubicBezTo>
                    <a:pt x="12689" y="20046"/>
                    <a:pt x="12689" y="20520"/>
                    <a:pt x="12561" y="20988"/>
                  </a:cubicBezTo>
                  <a:cubicBezTo>
                    <a:pt x="12526" y="21116"/>
                    <a:pt x="12541" y="21142"/>
                    <a:pt x="12642" y="21142"/>
                  </a:cubicBezTo>
                  <a:cubicBezTo>
                    <a:pt x="14472" y="21147"/>
                    <a:pt x="16302" y="21157"/>
                    <a:pt x="18135" y="21173"/>
                  </a:cubicBezTo>
                  <a:cubicBezTo>
                    <a:pt x="18326" y="21173"/>
                    <a:pt x="18481" y="21096"/>
                    <a:pt x="18625" y="20946"/>
                  </a:cubicBezTo>
                  <a:cubicBezTo>
                    <a:pt x="18897" y="20674"/>
                    <a:pt x="18986" y="20298"/>
                    <a:pt x="19006" y="19861"/>
                  </a:cubicBezTo>
                  <a:close/>
                  <a:moveTo>
                    <a:pt x="19390" y="20216"/>
                  </a:moveTo>
                  <a:cubicBezTo>
                    <a:pt x="19569" y="19342"/>
                    <a:pt x="19798" y="18483"/>
                    <a:pt x="19922" y="17588"/>
                  </a:cubicBezTo>
                  <a:cubicBezTo>
                    <a:pt x="20004" y="16976"/>
                    <a:pt x="19779" y="16390"/>
                    <a:pt x="19359" y="16122"/>
                  </a:cubicBezTo>
                  <a:cubicBezTo>
                    <a:pt x="19239" y="16045"/>
                    <a:pt x="19227" y="16050"/>
                    <a:pt x="19235" y="16225"/>
                  </a:cubicBezTo>
                  <a:cubicBezTo>
                    <a:pt x="19270" y="17465"/>
                    <a:pt x="19297" y="18699"/>
                    <a:pt x="19231" y="19938"/>
                  </a:cubicBezTo>
                  <a:cubicBezTo>
                    <a:pt x="19204" y="20412"/>
                    <a:pt x="19091" y="20828"/>
                    <a:pt x="18796" y="21173"/>
                  </a:cubicBezTo>
                  <a:cubicBezTo>
                    <a:pt x="18909" y="21173"/>
                    <a:pt x="18998" y="21162"/>
                    <a:pt x="19083" y="21178"/>
                  </a:cubicBezTo>
                  <a:cubicBezTo>
                    <a:pt x="19157" y="21188"/>
                    <a:pt x="19184" y="21147"/>
                    <a:pt x="19204" y="21060"/>
                  </a:cubicBezTo>
                  <a:cubicBezTo>
                    <a:pt x="19262" y="20777"/>
                    <a:pt x="19332" y="20499"/>
                    <a:pt x="19390" y="20216"/>
                  </a:cubicBezTo>
                  <a:close/>
                  <a:moveTo>
                    <a:pt x="17654" y="13083"/>
                  </a:moveTo>
                  <a:cubicBezTo>
                    <a:pt x="17401" y="13253"/>
                    <a:pt x="17149" y="13422"/>
                    <a:pt x="16989" y="13762"/>
                  </a:cubicBezTo>
                  <a:cubicBezTo>
                    <a:pt x="17533" y="13222"/>
                    <a:pt x="18182" y="12949"/>
                    <a:pt x="18776" y="12533"/>
                  </a:cubicBezTo>
                  <a:cubicBezTo>
                    <a:pt x="18400" y="12713"/>
                    <a:pt x="18011" y="12841"/>
                    <a:pt x="17654" y="13083"/>
                  </a:cubicBezTo>
                  <a:close/>
                  <a:moveTo>
                    <a:pt x="11733" y="5153"/>
                  </a:moveTo>
                  <a:cubicBezTo>
                    <a:pt x="11741" y="5153"/>
                    <a:pt x="11753" y="5142"/>
                    <a:pt x="11772" y="5132"/>
                  </a:cubicBezTo>
                  <a:cubicBezTo>
                    <a:pt x="11624" y="5060"/>
                    <a:pt x="11488" y="4947"/>
                    <a:pt x="11345" y="4968"/>
                  </a:cubicBezTo>
                  <a:cubicBezTo>
                    <a:pt x="11065" y="5004"/>
                    <a:pt x="10801" y="5137"/>
                    <a:pt x="10537" y="5256"/>
                  </a:cubicBezTo>
                  <a:cubicBezTo>
                    <a:pt x="10490" y="5276"/>
                    <a:pt x="10463" y="5333"/>
                    <a:pt x="10467" y="5400"/>
                  </a:cubicBezTo>
                  <a:cubicBezTo>
                    <a:pt x="10471" y="5456"/>
                    <a:pt x="10498" y="5508"/>
                    <a:pt x="10533" y="5533"/>
                  </a:cubicBezTo>
                  <a:cubicBezTo>
                    <a:pt x="10583" y="5574"/>
                    <a:pt x="10630" y="5523"/>
                    <a:pt x="10676" y="5508"/>
                  </a:cubicBezTo>
                  <a:cubicBezTo>
                    <a:pt x="11026" y="5384"/>
                    <a:pt x="11352" y="5117"/>
                    <a:pt x="11733" y="5153"/>
                  </a:cubicBezTo>
                  <a:close/>
                  <a:moveTo>
                    <a:pt x="13198" y="4834"/>
                  </a:moveTo>
                  <a:cubicBezTo>
                    <a:pt x="13392" y="5019"/>
                    <a:pt x="13419" y="5256"/>
                    <a:pt x="13283" y="5523"/>
                  </a:cubicBezTo>
                  <a:cubicBezTo>
                    <a:pt x="13268" y="5554"/>
                    <a:pt x="13233" y="5580"/>
                    <a:pt x="13260" y="5641"/>
                  </a:cubicBezTo>
                  <a:cubicBezTo>
                    <a:pt x="13380" y="5508"/>
                    <a:pt x="13454" y="5348"/>
                    <a:pt x="13462" y="5142"/>
                  </a:cubicBezTo>
                  <a:cubicBezTo>
                    <a:pt x="13470" y="4937"/>
                    <a:pt x="13384" y="4803"/>
                    <a:pt x="13237" y="4726"/>
                  </a:cubicBezTo>
                  <a:cubicBezTo>
                    <a:pt x="13283" y="4659"/>
                    <a:pt x="13318" y="4602"/>
                    <a:pt x="13353" y="4551"/>
                  </a:cubicBezTo>
                  <a:cubicBezTo>
                    <a:pt x="13454" y="4407"/>
                    <a:pt x="13462" y="4407"/>
                    <a:pt x="13540" y="4566"/>
                  </a:cubicBezTo>
                  <a:cubicBezTo>
                    <a:pt x="13555" y="4386"/>
                    <a:pt x="13474" y="4289"/>
                    <a:pt x="13349" y="4356"/>
                  </a:cubicBezTo>
                  <a:cubicBezTo>
                    <a:pt x="13272" y="4397"/>
                    <a:pt x="13209" y="4474"/>
                    <a:pt x="13159" y="4566"/>
                  </a:cubicBezTo>
                  <a:cubicBezTo>
                    <a:pt x="13108" y="4674"/>
                    <a:pt x="13112" y="4757"/>
                    <a:pt x="13198" y="4834"/>
                  </a:cubicBezTo>
                  <a:close/>
                  <a:moveTo>
                    <a:pt x="11566" y="5636"/>
                  </a:moveTo>
                  <a:cubicBezTo>
                    <a:pt x="11516" y="5610"/>
                    <a:pt x="11488" y="5626"/>
                    <a:pt x="11461" y="5636"/>
                  </a:cubicBezTo>
                  <a:cubicBezTo>
                    <a:pt x="11306" y="5682"/>
                    <a:pt x="11147" y="5734"/>
                    <a:pt x="10987" y="5708"/>
                  </a:cubicBezTo>
                  <a:cubicBezTo>
                    <a:pt x="10871" y="5693"/>
                    <a:pt x="10820" y="5760"/>
                    <a:pt x="10758" y="5873"/>
                  </a:cubicBezTo>
                  <a:cubicBezTo>
                    <a:pt x="11065" y="5950"/>
                    <a:pt x="11337" y="5965"/>
                    <a:pt x="11566" y="5636"/>
                  </a:cubicBezTo>
                  <a:close/>
                  <a:moveTo>
                    <a:pt x="13244" y="5626"/>
                  </a:moveTo>
                  <a:cubicBezTo>
                    <a:pt x="13198" y="5693"/>
                    <a:pt x="13171" y="5734"/>
                    <a:pt x="13136" y="5780"/>
                  </a:cubicBezTo>
                  <a:cubicBezTo>
                    <a:pt x="13186" y="5754"/>
                    <a:pt x="13221" y="5724"/>
                    <a:pt x="13244" y="5626"/>
                  </a:cubicBezTo>
                  <a:close/>
                  <a:moveTo>
                    <a:pt x="10890" y="13381"/>
                  </a:moveTo>
                  <a:cubicBezTo>
                    <a:pt x="10933" y="14096"/>
                    <a:pt x="10968" y="14811"/>
                    <a:pt x="11022" y="15526"/>
                  </a:cubicBezTo>
                  <a:cubicBezTo>
                    <a:pt x="11065" y="16112"/>
                    <a:pt x="11131" y="16693"/>
                    <a:pt x="11185" y="17274"/>
                  </a:cubicBezTo>
                  <a:cubicBezTo>
                    <a:pt x="11189" y="17331"/>
                    <a:pt x="11193" y="17382"/>
                    <a:pt x="11197" y="17439"/>
                  </a:cubicBezTo>
                  <a:cubicBezTo>
                    <a:pt x="11294" y="17686"/>
                    <a:pt x="11282" y="17974"/>
                    <a:pt x="11364" y="18262"/>
                  </a:cubicBezTo>
                  <a:cubicBezTo>
                    <a:pt x="11387" y="18097"/>
                    <a:pt x="11372" y="17974"/>
                    <a:pt x="11364" y="17850"/>
                  </a:cubicBezTo>
                  <a:cubicBezTo>
                    <a:pt x="11298" y="17017"/>
                    <a:pt x="11232" y="16184"/>
                    <a:pt x="11174" y="15351"/>
                  </a:cubicBezTo>
                  <a:cubicBezTo>
                    <a:pt x="11127" y="14693"/>
                    <a:pt x="11088" y="14040"/>
                    <a:pt x="11057" y="13381"/>
                  </a:cubicBezTo>
                  <a:cubicBezTo>
                    <a:pt x="11026" y="12821"/>
                    <a:pt x="10983" y="12260"/>
                    <a:pt x="10991" y="11694"/>
                  </a:cubicBezTo>
                  <a:cubicBezTo>
                    <a:pt x="10968" y="11658"/>
                    <a:pt x="10945" y="11617"/>
                    <a:pt x="10902" y="11612"/>
                  </a:cubicBezTo>
                  <a:cubicBezTo>
                    <a:pt x="10871" y="11746"/>
                    <a:pt x="10871" y="11885"/>
                    <a:pt x="10871" y="12029"/>
                  </a:cubicBezTo>
                  <a:cubicBezTo>
                    <a:pt x="10878" y="12481"/>
                    <a:pt x="10886" y="12934"/>
                    <a:pt x="10890" y="13381"/>
                  </a:cubicBezTo>
                  <a:close/>
                </a:path>
              </a:pathLst>
            </a:custGeom>
            <a:solidFill>
              <a:schemeClr val="dk1"/>
            </a:solidFill>
            <a:ln>
              <a:noFill/>
            </a:ln>
          </p:spPr>
          <p:txBody>
            <a:bodyPr spcFirstLastPara="1" wrap="square" lIns="38100" tIns="38100" rIns="38100" bIns="381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5" name="Google Shape;99;p5">
              <a:extLst>
                <a:ext uri="{FF2B5EF4-FFF2-40B4-BE49-F238E27FC236}">
                  <a16:creationId xmlns:a16="http://schemas.microsoft.com/office/drawing/2014/main" id="{B35F69B4-796C-69C6-D749-2458F20D6BF0}"/>
                </a:ext>
              </a:extLst>
            </p:cNvPr>
            <p:cNvSpPr/>
            <p:nvPr/>
          </p:nvSpPr>
          <p:spPr>
            <a:xfrm>
              <a:off x="5836767" y="1214740"/>
              <a:ext cx="5731012" cy="4787988"/>
            </a:xfrm>
            <a:custGeom>
              <a:avLst/>
              <a:gdLst/>
              <a:ahLst/>
              <a:cxnLst/>
              <a:rect l="l" t="t" r="r" b="b"/>
              <a:pathLst>
                <a:path w="21585" h="21577" extrusionOk="0">
                  <a:moveTo>
                    <a:pt x="9699" y="8525"/>
                  </a:moveTo>
                  <a:cubicBezTo>
                    <a:pt x="9469" y="8530"/>
                    <a:pt x="9487" y="8472"/>
                    <a:pt x="9482" y="8779"/>
                  </a:cubicBezTo>
                  <a:cubicBezTo>
                    <a:pt x="9482" y="8959"/>
                    <a:pt x="9478" y="9134"/>
                    <a:pt x="9482" y="9314"/>
                  </a:cubicBezTo>
                  <a:cubicBezTo>
                    <a:pt x="9487" y="9419"/>
                    <a:pt x="9465" y="9451"/>
                    <a:pt x="9372" y="9451"/>
                  </a:cubicBezTo>
                  <a:cubicBezTo>
                    <a:pt x="9142" y="9441"/>
                    <a:pt x="8912" y="9456"/>
                    <a:pt x="8682" y="9446"/>
                  </a:cubicBezTo>
                  <a:cubicBezTo>
                    <a:pt x="8558" y="9441"/>
                    <a:pt x="8531" y="9488"/>
                    <a:pt x="8531" y="9631"/>
                  </a:cubicBezTo>
                  <a:cubicBezTo>
                    <a:pt x="8536" y="11558"/>
                    <a:pt x="8531" y="13484"/>
                    <a:pt x="8527" y="15411"/>
                  </a:cubicBezTo>
                  <a:cubicBezTo>
                    <a:pt x="8527" y="15490"/>
                    <a:pt x="8580" y="15633"/>
                    <a:pt x="8478" y="15638"/>
                  </a:cubicBezTo>
                  <a:cubicBezTo>
                    <a:pt x="8403" y="15644"/>
                    <a:pt x="8438" y="15496"/>
                    <a:pt x="8438" y="15416"/>
                  </a:cubicBezTo>
                  <a:cubicBezTo>
                    <a:pt x="8438" y="14945"/>
                    <a:pt x="8438" y="14474"/>
                    <a:pt x="8443" y="14003"/>
                  </a:cubicBezTo>
                  <a:cubicBezTo>
                    <a:pt x="8443" y="13902"/>
                    <a:pt x="8421" y="13855"/>
                    <a:pt x="8332" y="13855"/>
                  </a:cubicBezTo>
                  <a:cubicBezTo>
                    <a:pt x="7315" y="13855"/>
                    <a:pt x="6293" y="13834"/>
                    <a:pt x="5276" y="13860"/>
                  </a:cubicBezTo>
                  <a:cubicBezTo>
                    <a:pt x="5267" y="13860"/>
                    <a:pt x="5258" y="13865"/>
                    <a:pt x="5249" y="13871"/>
                  </a:cubicBezTo>
                  <a:cubicBezTo>
                    <a:pt x="5222" y="13834"/>
                    <a:pt x="5214" y="13797"/>
                    <a:pt x="5218" y="13749"/>
                  </a:cubicBezTo>
                  <a:cubicBezTo>
                    <a:pt x="6240" y="13749"/>
                    <a:pt x="7266" y="13754"/>
                    <a:pt x="8288" y="13760"/>
                  </a:cubicBezTo>
                  <a:cubicBezTo>
                    <a:pt x="8403" y="13760"/>
                    <a:pt x="8443" y="13728"/>
                    <a:pt x="8443" y="13580"/>
                  </a:cubicBezTo>
                  <a:cubicBezTo>
                    <a:pt x="8438" y="12267"/>
                    <a:pt x="8438" y="10960"/>
                    <a:pt x="8443" y="9647"/>
                  </a:cubicBezTo>
                  <a:cubicBezTo>
                    <a:pt x="8443" y="9499"/>
                    <a:pt x="8416" y="9446"/>
                    <a:pt x="8284" y="9451"/>
                  </a:cubicBezTo>
                  <a:cubicBezTo>
                    <a:pt x="7996" y="9462"/>
                    <a:pt x="7708" y="9451"/>
                    <a:pt x="7421" y="9451"/>
                  </a:cubicBezTo>
                  <a:cubicBezTo>
                    <a:pt x="7372" y="9451"/>
                    <a:pt x="7315" y="9467"/>
                    <a:pt x="7266" y="9409"/>
                  </a:cubicBezTo>
                  <a:cubicBezTo>
                    <a:pt x="7310" y="9345"/>
                    <a:pt x="7368" y="9366"/>
                    <a:pt x="7412" y="9366"/>
                  </a:cubicBezTo>
                  <a:cubicBezTo>
                    <a:pt x="7708" y="9361"/>
                    <a:pt x="8009" y="9361"/>
                    <a:pt x="8306" y="9366"/>
                  </a:cubicBezTo>
                  <a:cubicBezTo>
                    <a:pt x="8403" y="9366"/>
                    <a:pt x="8447" y="9340"/>
                    <a:pt x="8438" y="9213"/>
                  </a:cubicBezTo>
                  <a:cubicBezTo>
                    <a:pt x="8429" y="9086"/>
                    <a:pt x="8434" y="8959"/>
                    <a:pt x="8438" y="8832"/>
                  </a:cubicBezTo>
                  <a:cubicBezTo>
                    <a:pt x="8438" y="8800"/>
                    <a:pt x="8434" y="8737"/>
                    <a:pt x="8483" y="8747"/>
                  </a:cubicBezTo>
                  <a:cubicBezTo>
                    <a:pt x="8518" y="8752"/>
                    <a:pt x="8531" y="8795"/>
                    <a:pt x="8531" y="8842"/>
                  </a:cubicBezTo>
                  <a:cubicBezTo>
                    <a:pt x="8531" y="8975"/>
                    <a:pt x="8536" y="9107"/>
                    <a:pt x="8531" y="9239"/>
                  </a:cubicBezTo>
                  <a:cubicBezTo>
                    <a:pt x="8527" y="9340"/>
                    <a:pt x="8562" y="9372"/>
                    <a:pt x="8642" y="9366"/>
                  </a:cubicBezTo>
                  <a:cubicBezTo>
                    <a:pt x="8863" y="9361"/>
                    <a:pt x="9084" y="9361"/>
                    <a:pt x="9305" y="9366"/>
                  </a:cubicBezTo>
                  <a:cubicBezTo>
                    <a:pt x="9381" y="9366"/>
                    <a:pt x="9407" y="9335"/>
                    <a:pt x="9403" y="9245"/>
                  </a:cubicBezTo>
                  <a:cubicBezTo>
                    <a:pt x="9398" y="9054"/>
                    <a:pt x="9394" y="8864"/>
                    <a:pt x="9403" y="8673"/>
                  </a:cubicBezTo>
                  <a:cubicBezTo>
                    <a:pt x="9407" y="8546"/>
                    <a:pt x="9363" y="8520"/>
                    <a:pt x="9270" y="8520"/>
                  </a:cubicBezTo>
                  <a:cubicBezTo>
                    <a:pt x="8735" y="8525"/>
                    <a:pt x="8204" y="8520"/>
                    <a:pt x="7669" y="8520"/>
                  </a:cubicBezTo>
                  <a:cubicBezTo>
                    <a:pt x="7616" y="8520"/>
                    <a:pt x="7554" y="8546"/>
                    <a:pt x="7505" y="8483"/>
                  </a:cubicBezTo>
                  <a:cubicBezTo>
                    <a:pt x="7554" y="8408"/>
                    <a:pt x="7620" y="8435"/>
                    <a:pt x="7677" y="8435"/>
                  </a:cubicBezTo>
                  <a:cubicBezTo>
                    <a:pt x="8199" y="8435"/>
                    <a:pt x="8726" y="8430"/>
                    <a:pt x="9248" y="8440"/>
                  </a:cubicBezTo>
                  <a:cubicBezTo>
                    <a:pt x="9367" y="8440"/>
                    <a:pt x="9407" y="8403"/>
                    <a:pt x="9403" y="8260"/>
                  </a:cubicBezTo>
                  <a:cubicBezTo>
                    <a:pt x="9394" y="8064"/>
                    <a:pt x="9389" y="7869"/>
                    <a:pt x="9403" y="7673"/>
                  </a:cubicBezTo>
                  <a:cubicBezTo>
                    <a:pt x="9407" y="7535"/>
                    <a:pt x="9381" y="7488"/>
                    <a:pt x="9257" y="7488"/>
                  </a:cubicBezTo>
                  <a:cubicBezTo>
                    <a:pt x="8850" y="7498"/>
                    <a:pt x="8438" y="7493"/>
                    <a:pt x="8031" y="7493"/>
                  </a:cubicBezTo>
                  <a:cubicBezTo>
                    <a:pt x="7987" y="7493"/>
                    <a:pt x="7943" y="7498"/>
                    <a:pt x="7903" y="7493"/>
                  </a:cubicBezTo>
                  <a:cubicBezTo>
                    <a:pt x="7872" y="7488"/>
                    <a:pt x="7810" y="7519"/>
                    <a:pt x="7815" y="7445"/>
                  </a:cubicBezTo>
                  <a:cubicBezTo>
                    <a:pt x="7819" y="7387"/>
                    <a:pt x="7872" y="7403"/>
                    <a:pt x="7912" y="7403"/>
                  </a:cubicBezTo>
                  <a:cubicBezTo>
                    <a:pt x="8359" y="7403"/>
                    <a:pt x="8805" y="7398"/>
                    <a:pt x="9252" y="7403"/>
                  </a:cubicBezTo>
                  <a:cubicBezTo>
                    <a:pt x="9381" y="7408"/>
                    <a:pt x="9416" y="7360"/>
                    <a:pt x="9407" y="7212"/>
                  </a:cubicBezTo>
                  <a:cubicBezTo>
                    <a:pt x="9394" y="6995"/>
                    <a:pt x="9398" y="6773"/>
                    <a:pt x="9407" y="6556"/>
                  </a:cubicBezTo>
                  <a:cubicBezTo>
                    <a:pt x="9411" y="6434"/>
                    <a:pt x="9376" y="6397"/>
                    <a:pt x="9279" y="6397"/>
                  </a:cubicBezTo>
                  <a:cubicBezTo>
                    <a:pt x="9000" y="6402"/>
                    <a:pt x="8721" y="6392"/>
                    <a:pt x="8443" y="6397"/>
                  </a:cubicBezTo>
                  <a:cubicBezTo>
                    <a:pt x="7576" y="6397"/>
                    <a:pt x="6713" y="6402"/>
                    <a:pt x="5846" y="6402"/>
                  </a:cubicBezTo>
                  <a:cubicBezTo>
                    <a:pt x="5784" y="6402"/>
                    <a:pt x="5674" y="6434"/>
                    <a:pt x="5674" y="6344"/>
                  </a:cubicBezTo>
                  <a:cubicBezTo>
                    <a:pt x="5669" y="6254"/>
                    <a:pt x="5780" y="6275"/>
                    <a:pt x="5842" y="6275"/>
                  </a:cubicBezTo>
                  <a:cubicBezTo>
                    <a:pt x="7014" y="6275"/>
                    <a:pt x="8186" y="6286"/>
                    <a:pt x="9358" y="6286"/>
                  </a:cubicBezTo>
                  <a:cubicBezTo>
                    <a:pt x="9465" y="6286"/>
                    <a:pt x="9496" y="6318"/>
                    <a:pt x="9491" y="6450"/>
                  </a:cubicBezTo>
                  <a:cubicBezTo>
                    <a:pt x="9482" y="6678"/>
                    <a:pt x="9487" y="6911"/>
                    <a:pt x="9487" y="7138"/>
                  </a:cubicBezTo>
                  <a:cubicBezTo>
                    <a:pt x="9487" y="7403"/>
                    <a:pt x="9487" y="7403"/>
                    <a:pt x="9703" y="7403"/>
                  </a:cubicBezTo>
                  <a:cubicBezTo>
                    <a:pt x="9801" y="7403"/>
                    <a:pt x="9894" y="7403"/>
                    <a:pt x="9991" y="7403"/>
                  </a:cubicBezTo>
                  <a:cubicBezTo>
                    <a:pt x="10022" y="7403"/>
                    <a:pt x="10057" y="7408"/>
                    <a:pt x="10057" y="7450"/>
                  </a:cubicBezTo>
                  <a:cubicBezTo>
                    <a:pt x="10057" y="7498"/>
                    <a:pt x="10018" y="7493"/>
                    <a:pt x="9991" y="7493"/>
                  </a:cubicBezTo>
                  <a:cubicBezTo>
                    <a:pt x="9858" y="7498"/>
                    <a:pt x="9721" y="7498"/>
                    <a:pt x="9588" y="7498"/>
                  </a:cubicBezTo>
                  <a:cubicBezTo>
                    <a:pt x="9513" y="7498"/>
                    <a:pt x="9487" y="7525"/>
                    <a:pt x="9487" y="7615"/>
                  </a:cubicBezTo>
                  <a:cubicBezTo>
                    <a:pt x="9491" y="7853"/>
                    <a:pt x="9491" y="8086"/>
                    <a:pt x="9487" y="8324"/>
                  </a:cubicBezTo>
                  <a:cubicBezTo>
                    <a:pt x="9482" y="8424"/>
                    <a:pt x="9518" y="8451"/>
                    <a:pt x="9597" y="8446"/>
                  </a:cubicBezTo>
                  <a:cubicBezTo>
                    <a:pt x="9743" y="8440"/>
                    <a:pt x="9885" y="8440"/>
                    <a:pt x="10031" y="8446"/>
                  </a:cubicBezTo>
                  <a:cubicBezTo>
                    <a:pt x="10079" y="8446"/>
                    <a:pt x="10137" y="8424"/>
                    <a:pt x="10190" y="8535"/>
                  </a:cubicBezTo>
                  <a:cubicBezTo>
                    <a:pt x="10009" y="8525"/>
                    <a:pt x="9854" y="8525"/>
                    <a:pt x="9699" y="8525"/>
                  </a:cubicBezTo>
                  <a:close/>
                  <a:moveTo>
                    <a:pt x="17745" y="6413"/>
                  </a:moveTo>
                  <a:cubicBezTo>
                    <a:pt x="17728" y="6434"/>
                    <a:pt x="17710" y="6455"/>
                    <a:pt x="17692" y="6477"/>
                  </a:cubicBezTo>
                  <a:cubicBezTo>
                    <a:pt x="18971" y="7969"/>
                    <a:pt x="20249" y="9456"/>
                    <a:pt x="21532" y="10949"/>
                  </a:cubicBezTo>
                  <a:cubicBezTo>
                    <a:pt x="21550" y="10928"/>
                    <a:pt x="21567" y="10907"/>
                    <a:pt x="21585" y="10886"/>
                  </a:cubicBezTo>
                  <a:cubicBezTo>
                    <a:pt x="20311" y="9388"/>
                    <a:pt x="19028" y="7900"/>
                    <a:pt x="17745" y="6413"/>
                  </a:cubicBezTo>
                  <a:close/>
                  <a:moveTo>
                    <a:pt x="2944" y="11245"/>
                  </a:moveTo>
                  <a:cubicBezTo>
                    <a:pt x="4439" y="11245"/>
                    <a:pt x="5908" y="11245"/>
                    <a:pt x="7381" y="11245"/>
                  </a:cubicBezTo>
                  <a:cubicBezTo>
                    <a:pt x="7240" y="11134"/>
                    <a:pt x="3064" y="11145"/>
                    <a:pt x="2944" y="11245"/>
                  </a:cubicBezTo>
                  <a:close/>
                  <a:moveTo>
                    <a:pt x="5023" y="5175"/>
                  </a:moveTo>
                  <a:cubicBezTo>
                    <a:pt x="5045" y="5175"/>
                    <a:pt x="5072" y="5175"/>
                    <a:pt x="5094" y="5175"/>
                  </a:cubicBezTo>
                  <a:cubicBezTo>
                    <a:pt x="5700" y="5175"/>
                    <a:pt x="6302" y="5175"/>
                    <a:pt x="6908" y="5175"/>
                  </a:cubicBezTo>
                  <a:cubicBezTo>
                    <a:pt x="6908" y="5175"/>
                    <a:pt x="6908" y="5175"/>
                    <a:pt x="6908" y="5175"/>
                  </a:cubicBezTo>
                  <a:cubicBezTo>
                    <a:pt x="7523" y="5175"/>
                    <a:pt x="8138" y="5175"/>
                    <a:pt x="8752" y="5175"/>
                  </a:cubicBezTo>
                  <a:cubicBezTo>
                    <a:pt x="8775" y="5175"/>
                    <a:pt x="8801" y="5175"/>
                    <a:pt x="8823" y="5175"/>
                  </a:cubicBezTo>
                  <a:cubicBezTo>
                    <a:pt x="8859" y="5169"/>
                    <a:pt x="8894" y="5153"/>
                    <a:pt x="8890" y="5106"/>
                  </a:cubicBezTo>
                  <a:cubicBezTo>
                    <a:pt x="8885" y="5058"/>
                    <a:pt x="8854" y="5048"/>
                    <a:pt x="8814" y="5048"/>
                  </a:cubicBezTo>
                  <a:cubicBezTo>
                    <a:pt x="8792" y="5048"/>
                    <a:pt x="8766" y="5048"/>
                    <a:pt x="8744" y="5048"/>
                  </a:cubicBezTo>
                  <a:cubicBezTo>
                    <a:pt x="7536" y="5048"/>
                    <a:pt x="6324" y="5048"/>
                    <a:pt x="5116" y="5048"/>
                  </a:cubicBezTo>
                  <a:cubicBezTo>
                    <a:pt x="5081" y="5048"/>
                    <a:pt x="5050" y="5048"/>
                    <a:pt x="5015" y="5053"/>
                  </a:cubicBezTo>
                  <a:cubicBezTo>
                    <a:pt x="4979" y="5053"/>
                    <a:pt x="4944" y="5069"/>
                    <a:pt x="4948" y="5122"/>
                  </a:cubicBezTo>
                  <a:cubicBezTo>
                    <a:pt x="4953" y="5159"/>
                    <a:pt x="4984" y="5175"/>
                    <a:pt x="5023" y="5175"/>
                  </a:cubicBezTo>
                  <a:close/>
                  <a:moveTo>
                    <a:pt x="8173" y="4412"/>
                  </a:moveTo>
                  <a:cubicBezTo>
                    <a:pt x="8173" y="4397"/>
                    <a:pt x="8173" y="4381"/>
                    <a:pt x="8173" y="4365"/>
                  </a:cubicBezTo>
                  <a:cubicBezTo>
                    <a:pt x="7257" y="4365"/>
                    <a:pt x="6342" y="4365"/>
                    <a:pt x="5426" y="4365"/>
                  </a:cubicBezTo>
                  <a:cubicBezTo>
                    <a:pt x="5426" y="4381"/>
                    <a:pt x="5426" y="4397"/>
                    <a:pt x="5426" y="4412"/>
                  </a:cubicBezTo>
                  <a:cubicBezTo>
                    <a:pt x="6342" y="4412"/>
                    <a:pt x="7257" y="4412"/>
                    <a:pt x="8173" y="4412"/>
                  </a:cubicBezTo>
                  <a:close/>
                  <a:moveTo>
                    <a:pt x="16715" y="6694"/>
                  </a:moveTo>
                  <a:cubicBezTo>
                    <a:pt x="16923" y="6937"/>
                    <a:pt x="17131" y="7186"/>
                    <a:pt x="17343" y="7429"/>
                  </a:cubicBezTo>
                  <a:cubicBezTo>
                    <a:pt x="17754" y="7906"/>
                    <a:pt x="18161" y="8377"/>
                    <a:pt x="18573" y="8853"/>
                  </a:cubicBezTo>
                  <a:cubicBezTo>
                    <a:pt x="18608" y="8890"/>
                    <a:pt x="18657" y="8975"/>
                    <a:pt x="18701" y="8917"/>
                  </a:cubicBezTo>
                  <a:cubicBezTo>
                    <a:pt x="18750" y="8853"/>
                    <a:pt x="18670" y="8811"/>
                    <a:pt x="18639" y="8774"/>
                  </a:cubicBezTo>
                  <a:cubicBezTo>
                    <a:pt x="18378" y="8467"/>
                    <a:pt x="18117" y="8165"/>
                    <a:pt x="17852" y="7863"/>
                  </a:cubicBezTo>
                  <a:cubicBezTo>
                    <a:pt x="17511" y="7472"/>
                    <a:pt x="17170" y="7075"/>
                    <a:pt x="16825" y="6683"/>
                  </a:cubicBezTo>
                  <a:cubicBezTo>
                    <a:pt x="16790" y="6646"/>
                    <a:pt x="16750" y="6614"/>
                    <a:pt x="16710" y="6577"/>
                  </a:cubicBezTo>
                  <a:cubicBezTo>
                    <a:pt x="16697" y="6588"/>
                    <a:pt x="16679" y="6588"/>
                    <a:pt x="16675" y="6604"/>
                  </a:cubicBezTo>
                  <a:cubicBezTo>
                    <a:pt x="16662" y="6641"/>
                    <a:pt x="16693" y="6667"/>
                    <a:pt x="16715" y="6694"/>
                  </a:cubicBezTo>
                  <a:close/>
                  <a:moveTo>
                    <a:pt x="5780" y="3370"/>
                  </a:moveTo>
                  <a:cubicBezTo>
                    <a:pt x="6483" y="3370"/>
                    <a:pt x="7164" y="3370"/>
                    <a:pt x="7850" y="3370"/>
                  </a:cubicBezTo>
                  <a:cubicBezTo>
                    <a:pt x="7722" y="3264"/>
                    <a:pt x="5895" y="3274"/>
                    <a:pt x="5780" y="3370"/>
                  </a:cubicBezTo>
                  <a:close/>
                  <a:moveTo>
                    <a:pt x="6218" y="13135"/>
                  </a:moveTo>
                  <a:cubicBezTo>
                    <a:pt x="6271" y="13135"/>
                    <a:pt x="6324" y="13130"/>
                    <a:pt x="6377" y="13124"/>
                  </a:cubicBezTo>
                  <a:cubicBezTo>
                    <a:pt x="6399" y="13119"/>
                    <a:pt x="6426" y="13108"/>
                    <a:pt x="6426" y="13071"/>
                  </a:cubicBezTo>
                  <a:cubicBezTo>
                    <a:pt x="6426" y="13034"/>
                    <a:pt x="6404" y="13024"/>
                    <a:pt x="6377" y="13019"/>
                  </a:cubicBezTo>
                  <a:cubicBezTo>
                    <a:pt x="6328" y="13013"/>
                    <a:pt x="6280" y="13013"/>
                    <a:pt x="6235" y="13013"/>
                  </a:cubicBezTo>
                  <a:cubicBezTo>
                    <a:pt x="5833" y="13013"/>
                    <a:pt x="5430" y="13013"/>
                    <a:pt x="5028" y="13013"/>
                  </a:cubicBezTo>
                  <a:cubicBezTo>
                    <a:pt x="5037" y="13066"/>
                    <a:pt x="5050" y="13114"/>
                    <a:pt x="5059" y="13167"/>
                  </a:cubicBezTo>
                  <a:cubicBezTo>
                    <a:pt x="5439" y="13119"/>
                    <a:pt x="5828" y="13146"/>
                    <a:pt x="6218" y="13135"/>
                  </a:cubicBezTo>
                  <a:close/>
                  <a:moveTo>
                    <a:pt x="6492" y="20233"/>
                  </a:moveTo>
                  <a:cubicBezTo>
                    <a:pt x="5859" y="17861"/>
                    <a:pt x="5227" y="15490"/>
                    <a:pt x="4594" y="13119"/>
                  </a:cubicBezTo>
                  <a:cubicBezTo>
                    <a:pt x="4554" y="12966"/>
                    <a:pt x="4475" y="12796"/>
                    <a:pt x="4656" y="12685"/>
                  </a:cubicBezTo>
                  <a:cubicBezTo>
                    <a:pt x="4639" y="12643"/>
                    <a:pt x="4621" y="12595"/>
                    <a:pt x="4581" y="12579"/>
                  </a:cubicBezTo>
                  <a:cubicBezTo>
                    <a:pt x="3878" y="12717"/>
                    <a:pt x="3174" y="12860"/>
                    <a:pt x="2471" y="12992"/>
                  </a:cubicBezTo>
                  <a:cubicBezTo>
                    <a:pt x="1728" y="13135"/>
                    <a:pt x="989" y="13278"/>
                    <a:pt x="246" y="13415"/>
                  </a:cubicBezTo>
                  <a:cubicBezTo>
                    <a:pt x="166" y="13431"/>
                    <a:pt x="96" y="13415"/>
                    <a:pt x="34" y="13347"/>
                  </a:cubicBezTo>
                  <a:cubicBezTo>
                    <a:pt x="-15" y="13426"/>
                    <a:pt x="-2" y="13511"/>
                    <a:pt x="16" y="13595"/>
                  </a:cubicBezTo>
                  <a:cubicBezTo>
                    <a:pt x="104" y="14014"/>
                    <a:pt x="233" y="14416"/>
                    <a:pt x="348" y="14823"/>
                  </a:cubicBezTo>
                  <a:cubicBezTo>
                    <a:pt x="892" y="16792"/>
                    <a:pt x="1440" y="18761"/>
                    <a:pt x="1989" y="20725"/>
                  </a:cubicBezTo>
                  <a:cubicBezTo>
                    <a:pt x="2024" y="20857"/>
                    <a:pt x="2051" y="21005"/>
                    <a:pt x="2153" y="21101"/>
                  </a:cubicBezTo>
                  <a:cubicBezTo>
                    <a:pt x="2219" y="21058"/>
                    <a:pt x="2290" y="21058"/>
                    <a:pt x="2365" y="21058"/>
                  </a:cubicBezTo>
                  <a:cubicBezTo>
                    <a:pt x="3002" y="21058"/>
                    <a:pt x="3639" y="21058"/>
                    <a:pt x="4280" y="21058"/>
                  </a:cubicBezTo>
                  <a:cubicBezTo>
                    <a:pt x="4360" y="21058"/>
                    <a:pt x="4444" y="21048"/>
                    <a:pt x="4435" y="21191"/>
                  </a:cubicBezTo>
                  <a:cubicBezTo>
                    <a:pt x="4462" y="21191"/>
                    <a:pt x="4493" y="21196"/>
                    <a:pt x="4519" y="21196"/>
                  </a:cubicBezTo>
                  <a:cubicBezTo>
                    <a:pt x="5205" y="21148"/>
                    <a:pt x="5895" y="21106"/>
                    <a:pt x="6580" y="21058"/>
                  </a:cubicBezTo>
                  <a:cubicBezTo>
                    <a:pt x="6713" y="21048"/>
                    <a:pt x="6775" y="20952"/>
                    <a:pt x="6797" y="20804"/>
                  </a:cubicBezTo>
                  <a:cubicBezTo>
                    <a:pt x="6629" y="20661"/>
                    <a:pt x="6554" y="20455"/>
                    <a:pt x="6492" y="20233"/>
                  </a:cubicBezTo>
                  <a:close/>
                  <a:moveTo>
                    <a:pt x="20435" y="19407"/>
                  </a:moveTo>
                  <a:cubicBezTo>
                    <a:pt x="20457" y="19550"/>
                    <a:pt x="20444" y="19693"/>
                    <a:pt x="20439" y="19841"/>
                  </a:cubicBezTo>
                  <a:cubicBezTo>
                    <a:pt x="20333" y="19825"/>
                    <a:pt x="20249" y="19751"/>
                    <a:pt x="20161" y="19698"/>
                  </a:cubicBezTo>
                  <a:cubicBezTo>
                    <a:pt x="19634" y="19375"/>
                    <a:pt x="19095" y="19100"/>
                    <a:pt x="18555" y="18809"/>
                  </a:cubicBezTo>
                  <a:cubicBezTo>
                    <a:pt x="18515" y="18788"/>
                    <a:pt x="18458" y="18788"/>
                    <a:pt x="18466" y="18708"/>
                  </a:cubicBezTo>
                  <a:cubicBezTo>
                    <a:pt x="18568" y="18740"/>
                    <a:pt x="18670" y="18772"/>
                    <a:pt x="18772" y="18798"/>
                  </a:cubicBezTo>
                  <a:cubicBezTo>
                    <a:pt x="18993" y="18862"/>
                    <a:pt x="19205" y="18978"/>
                    <a:pt x="19435" y="18984"/>
                  </a:cubicBezTo>
                  <a:cubicBezTo>
                    <a:pt x="19409" y="18968"/>
                    <a:pt x="19378" y="18946"/>
                    <a:pt x="19351" y="18936"/>
                  </a:cubicBezTo>
                  <a:cubicBezTo>
                    <a:pt x="18962" y="18804"/>
                    <a:pt x="18604" y="18571"/>
                    <a:pt x="18232" y="18380"/>
                  </a:cubicBezTo>
                  <a:cubicBezTo>
                    <a:pt x="18104" y="18317"/>
                    <a:pt x="18024" y="18216"/>
                    <a:pt x="17993" y="18047"/>
                  </a:cubicBezTo>
                  <a:cubicBezTo>
                    <a:pt x="17962" y="17904"/>
                    <a:pt x="17927" y="17761"/>
                    <a:pt x="17856" y="17639"/>
                  </a:cubicBezTo>
                  <a:cubicBezTo>
                    <a:pt x="17812" y="17157"/>
                    <a:pt x="17874" y="16681"/>
                    <a:pt x="17909" y="16205"/>
                  </a:cubicBezTo>
                  <a:cubicBezTo>
                    <a:pt x="17913" y="16125"/>
                    <a:pt x="17971" y="16094"/>
                    <a:pt x="18020" y="16062"/>
                  </a:cubicBezTo>
                  <a:cubicBezTo>
                    <a:pt x="18130" y="15993"/>
                    <a:pt x="18250" y="15961"/>
                    <a:pt x="18365" y="15919"/>
                  </a:cubicBezTo>
                  <a:cubicBezTo>
                    <a:pt x="18489" y="15908"/>
                    <a:pt x="18608" y="15893"/>
                    <a:pt x="18732" y="15882"/>
                  </a:cubicBezTo>
                  <a:cubicBezTo>
                    <a:pt x="18918" y="15866"/>
                    <a:pt x="18993" y="15850"/>
                    <a:pt x="19090" y="15776"/>
                  </a:cubicBezTo>
                  <a:cubicBezTo>
                    <a:pt x="18696" y="15845"/>
                    <a:pt x="18320" y="15813"/>
                    <a:pt x="17944" y="15739"/>
                  </a:cubicBezTo>
                  <a:cubicBezTo>
                    <a:pt x="17666" y="15231"/>
                    <a:pt x="17498" y="14659"/>
                    <a:pt x="17285" y="14109"/>
                  </a:cubicBezTo>
                  <a:cubicBezTo>
                    <a:pt x="17259" y="14368"/>
                    <a:pt x="17290" y="14622"/>
                    <a:pt x="17316" y="14871"/>
                  </a:cubicBezTo>
                  <a:cubicBezTo>
                    <a:pt x="17330" y="15030"/>
                    <a:pt x="17347" y="15189"/>
                    <a:pt x="17361" y="15347"/>
                  </a:cubicBezTo>
                  <a:cubicBezTo>
                    <a:pt x="17383" y="15586"/>
                    <a:pt x="17321" y="15803"/>
                    <a:pt x="17206" y="15993"/>
                  </a:cubicBezTo>
                  <a:cubicBezTo>
                    <a:pt x="17069" y="16231"/>
                    <a:pt x="17007" y="16491"/>
                    <a:pt x="17046" y="16771"/>
                  </a:cubicBezTo>
                  <a:cubicBezTo>
                    <a:pt x="17069" y="16935"/>
                    <a:pt x="17020" y="16967"/>
                    <a:pt x="16892" y="16951"/>
                  </a:cubicBezTo>
                  <a:cubicBezTo>
                    <a:pt x="16555" y="16898"/>
                    <a:pt x="16215" y="16909"/>
                    <a:pt x="15874" y="16898"/>
                  </a:cubicBezTo>
                  <a:cubicBezTo>
                    <a:pt x="15773" y="16877"/>
                    <a:pt x="15666" y="16861"/>
                    <a:pt x="15565" y="16840"/>
                  </a:cubicBezTo>
                  <a:cubicBezTo>
                    <a:pt x="15463" y="16824"/>
                    <a:pt x="15405" y="16761"/>
                    <a:pt x="15423" y="16628"/>
                  </a:cubicBezTo>
                  <a:cubicBezTo>
                    <a:pt x="15441" y="16485"/>
                    <a:pt x="15454" y="16342"/>
                    <a:pt x="15481" y="16205"/>
                  </a:cubicBezTo>
                  <a:cubicBezTo>
                    <a:pt x="15706" y="15120"/>
                    <a:pt x="16091" y="14109"/>
                    <a:pt x="16511" y="13119"/>
                  </a:cubicBezTo>
                  <a:cubicBezTo>
                    <a:pt x="16573" y="12976"/>
                    <a:pt x="16560" y="12886"/>
                    <a:pt x="16463" y="12796"/>
                  </a:cubicBezTo>
                  <a:cubicBezTo>
                    <a:pt x="16374" y="12717"/>
                    <a:pt x="16286" y="12637"/>
                    <a:pt x="16197" y="12558"/>
                  </a:cubicBezTo>
                  <a:cubicBezTo>
                    <a:pt x="16113" y="12479"/>
                    <a:pt x="16095" y="12394"/>
                    <a:pt x="16202" y="12315"/>
                  </a:cubicBezTo>
                  <a:cubicBezTo>
                    <a:pt x="16294" y="12246"/>
                    <a:pt x="16321" y="12145"/>
                    <a:pt x="16330" y="12023"/>
                  </a:cubicBezTo>
                  <a:cubicBezTo>
                    <a:pt x="16348" y="11759"/>
                    <a:pt x="16379" y="11499"/>
                    <a:pt x="16401" y="11235"/>
                  </a:cubicBezTo>
                  <a:cubicBezTo>
                    <a:pt x="16458" y="10557"/>
                    <a:pt x="16586" y="9890"/>
                    <a:pt x="16622" y="9208"/>
                  </a:cubicBezTo>
                  <a:cubicBezTo>
                    <a:pt x="16635" y="8959"/>
                    <a:pt x="16648" y="8948"/>
                    <a:pt x="16856" y="9022"/>
                  </a:cubicBezTo>
                  <a:cubicBezTo>
                    <a:pt x="17285" y="9165"/>
                    <a:pt x="17710" y="9314"/>
                    <a:pt x="18130" y="9493"/>
                  </a:cubicBezTo>
                  <a:cubicBezTo>
                    <a:pt x="18228" y="9536"/>
                    <a:pt x="18298" y="9536"/>
                    <a:pt x="18307" y="9388"/>
                  </a:cubicBezTo>
                  <a:cubicBezTo>
                    <a:pt x="18484" y="9388"/>
                    <a:pt x="18635" y="9499"/>
                    <a:pt x="18798" y="9562"/>
                  </a:cubicBezTo>
                  <a:cubicBezTo>
                    <a:pt x="18922" y="9605"/>
                    <a:pt x="19041" y="9673"/>
                    <a:pt x="19161" y="9726"/>
                  </a:cubicBezTo>
                  <a:cubicBezTo>
                    <a:pt x="19241" y="9763"/>
                    <a:pt x="19276" y="9790"/>
                    <a:pt x="19179" y="9875"/>
                  </a:cubicBezTo>
                  <a:cubicBezTo>
                    <a:pt x="18767" y="10229"/>
                    <a:pt x="18533" y="10743"/>
                    <a:pt x="18343" y="11288"/>
                  </a:cubicBezTo>
                  <a:cubicBezTo>
                    <a:pt x="18338" y="11298"/>
                    <a:pt x="18347" y="11309"/>
                    <a:pt x="18347" y="11320"/>
                  </a:cubicBezTo>
                  <a:cubicBezTo>
                    <a:pt x="18329" y="11378"/>
                    <a:pt x="18320" y="11441"/>
                    <a:pt x="18294" y="11489"/>
                  </a:cubicBezTo>
                  <a:cubicBezTo>
                    <a:pt x="18121" y="11817"/>
                    <a:pt x="18006" y="12172"/>
                    <a:pt x="17909" y="12542"/>
                  </a:cubicBezTo>
                  <a:cubicBezTo>
                    <a:pt x="17887" y="12632"/>
                    <a:pt x="17847" y="12727"/>
                    <a:pt x="17860" y="12870"/>
                  </a:cubicBezTo>
                  <a:cubicBezTo>
                    <a:pt x="18037" y="12325"/>
                    <a:pt x="18228" y="11844"/>
                    <a:pt x="18493" y="11404"/>
                  </a:cubicBezTo>
                  <a:cubicBezTo>
                    <a:pt x="18811" y="10875"/>
                    <a:pt x="19179" y="10414"/>
                    <a:pt x="19718" y="10208"/>
                  </a:cubicBezTo>
                  <a:cubicBezTo>
                    <a:pt x="20015" y="10563"/>
                    <a:pt x="20125" y="11013"/>
                    <a:pt x="20183" y="11489"/>
                  </a:cubicBezTo>
                  <a:cubicBezTo>
                    <a:pt x="20209" y="11732"/>
                    <a:pt x="20223" y="11976"/>
                    <a:pt x="20240" y="12219"/>
                  </a:cubicBezTo>
                  <a:cubicBezTo>
                    <a:pt x="20152" y="12203"/>
                    <a:pt x="20072" y="12214"/>
                    <a:pt x="19984" y="12246"/>
                  </a:cubicBezTo>
                  <a:cubicBezTo>
                    <a:pt x="19568" y="12389"/>
                    <a:pt x="19218" y="12664"/>
                    <a:pt x="18900" y="13003"/>
                  </a:cubicBezTo>
                  <a:cubicBezTo>
                    <a:pt x="18882" y="13024"/>
                    <a:pt x="18847" y="13045"/>
                    <a:pt x="18869" y="13082"/>
                  </a:cubicBezTo>
                  <a:cubicBezTo>
                    <a:pt x="18891" y="13103"/>
                    <a:pt x="18909" y="13087"/>
                    <a:pt x="18922" y="13077"/>
                  </a:cubicBezTo>
                  <a:cubicBezTo>
                    <a:pt x="19342" y="12780"/>
                    <a:pt x="19785" y="12553"/>
                    <a:pt x="20258" y="12415"/>
                  </a:cubicBezTo>
                  <a:cubicBezTo>
                    <a:pt x="20289" y="12913"/>
                    <a:pt x="20315" y="13415"/>
                    <a:pt x="20342" y="13913"/>
                  </a:cubicBezTo>
                  <a:cubicBezTo>
                    <a:pt x="20342" y="13945"/>
                    <a:pt x="20333" y="13982"/>
                    <a:pt x="20329" y="14014"/>
                  </a:cubicBezTo>
                  <a:cubicBezTo>
                    <a:pt x="20214" y="13977"/>
                    <a:pt x="20214" y="14077"/>
                    <a:pt x="20209" y="14162"/>
                  </a:cubicBezTo>
                  <a:cubicBezTo>
                    <a:pt x="20205" y="14411"/>
                    <a:pt x="20205" y="14654"/>
                    <a:pt x="20200" y="14903"/>
                  </a:cubicBezTo>
                  <a:cubicBezTo>
                    <a:pt x="20200" y="14956"/>
                    <a:pt x="20205" y="15009"/>
                    <a:pt x="20147" y="15046"/>
                  </a:cubicBezTo>
                  <a:cubicBezTo>
                    <a:pt x="19705" y="15316"/>
                    <a:pt x="19448" y="15781"/>
                    <a:pt x="19227" y="16284"/>
                  </a:cubicBezTo>
                  <a:cubicBezTo>
                    <a:pt x="19183" y="16385"/>
                    <a:pt x="19148" y="16491"/>
                    <a:pt x="19112" y="16602"/>
                  </a:cubicBezTo>
                  <a:cubicBezTo>
                    <a:pt x="19077" y="16708"/>
                    <a:pt x="19046" y="16813"/>
                    <a:pt x="19033" y="16946"/>
                  </a:cubicBezTo>
                  <a:cubicBezTo>
                    <a:pt x="19050" y="16925"/>
                    <a:pt x="19064" y="16919"/>
                    <a:pt x="19068" y="16909"/>
                  </a:cubicBezTo>
                  <a:cubicBezTo>
                    <a:pt x="19081" y="16872"/>
                    <a:pt x="19095" y="16835"/>
                    <a:pt x="19112" y="16798"/>
                  </a:cubicBezTo>
                  <a:cubicBezTo>
                    <a:pt x="19351" y="16242"/>
                    <a:pt x="19643" y="15734"/>
                    <a:pt x="20081" y="15369"/>
                  </a:cubicBezTo>
                  <a:cubicBezTo>
                    <a:pt x="20116" y="15342"/>
                    <a:pt x="20152" y="15284"/>
                    <a:pt x="20192" y="15321"/>
                  </a:cubicBezTo>
                  <a:cubicBezTo>
                    <a:pt x="20214" y="15337"/>
                    <a:pt x="20205" y="15406"/>
                    <a:pt x="20205" y="15448"/>
                  </a:cubicBezTo>
                  <a:cubicBezTo>
                    <a:pt x="20218" y="16422"/>
                    <a:pt x="20227" y="17390"/>
                    <a:pt x="20245" y="18364"/>
                  </a:cubicBezTo>
                  <a:cubicBezTo>
                    <a:pt x="20249" y="18661"/>
                    <a:pt x="20249" y="18962"/>
                    <a:pt x="20289" y="19259"/>
                  </a:cubicBezTo>
                  <a:cubicBezTo>
                    <a:pt x="20315" y="19370"/>
                    <a:pt x="20333" y="19455"/>
                    <a:pt x="20435" y="19407"/>
                  </a:cubicBezTo>
                  <a:close/>
                  <a:moveTo>
                    <a:pt x="20165" y="12685"/>
                  </a:moveTo>
                  <a:cubicBezTo>
                    <a:pt x="19736" y="12865"/>
                    <a:pt x="19294" y="12997"/>
                    <a:pt x="18887" y="13246"/>
                  </a:cubicBezTo>
                  <a:cubicBezTo>
                    <a:pt x="18599" y="13421"/>
                    <a:pt x="18312" y="13595"/>
                    <a:pt x="18130" y="13945"/>
                  </a:cubicBezTo>
                  <a:cubicBezTo>
                    <a:pt x="18750" y="13389"/>
                    <a:pt x="19488" y="13114"/>
                    <a:pt x="20165" y="12685"/>
                  </a:cubicBezTo>
                  <a:close/>
                  <a:moveTo>
                    <a:pt x="19440" y="18989"/>
                  </a:moveTo>
                  <a:lnTo>
                    <a:pt x="19440" y="18989"/>
                  </a:lnTo>
                  <a:cubicBezTo>
                    <a:pt x="19440" y="18984"/>
                    <a:pt x="19440" y="18984"/>
                    <a:pt x="19440" y="18989"/>
                  </a:cubicBezTo>
                  <a:cubicBezTo>
                    <a:pt x="19440" y="18984"/>
                    <a:pt x="19440" y="18989"/>
                    <a:pt x="19440" y="18989"/>
                  </a:cubicBezTo>
                  <a:close/>
                  <a:moveTo>
                    <a:pt x="20426" y="20222"/>
                  </a:moveTo>
                  <a:cubicBezTo>
                    <a:pt x="20404" y="20667"/>
                    <a:pt x="20302" y="21058"/>
                    <a:pt x="19997" y="21344"/>
                  </a:cubicBezTo>
                  <a:cubicBezTo>
                    <a:pt x="19833" y="21498"/>
                    <a:pt x="19656" y="21577"/>
                    <a:pt x="19440" y="21577"/>
                  </a:cubicBezTo>
                  <a:cubicBezTo>
                    <a:pt x="17356" y="21561"/>
                    <a:pt x="15273" y="21551"/>
                    <a:pt x="13185" y="21545"/>
                  </a:cubicBezTo>
                  <a:cubicBezTo>
                    <a:pt x="13065" y="21545"/>
                    <a:pt x="13052" y="21513"/>
                    <a:pt x="13092" y="21386"/>
                  </a:cubicBezTo>
                  <a:cubicBezTo>
                    <a:pt x="13238" y="20905"/>
                    <a:pt x="13238" y="20418"/>
                    <a:pt x="13118" y="19931"/>
                  </a:cubicBezTo>
                  <a:cubicBezTo>
                    <a:pt x="13070" y="19740"/>
                    <a:pt x="13003" y="19566"/>
                    <a:pt x="12871" y="19439"/>
                  </a:cubicBezTo>
                  <a:cubicBezTo>
                    <a:pt x="13371" y="19439"/>
                    <a:pt x="13875" y="19439"/>
                    <a:pt x="14375" y="19439"/>
                  </a:cubicBezTo>
                  <a:cubicBezTo>
                    <a:pt x="14490" y="19439"/>
                    <a:pt x="14543" y="19407"/>
                    <a:pt x="14481" y="19264"/>
                  </a:cubicBezTo>
                  <a:cubicBezTo>
                    <a:pt x="14715" y="19238"/>
                    <a:pt x="14950" y="19259"/>
                    <a:pt x="15184" y="19269"/>
                  </a:cubicBezTo>
                  <a:cubicBezTo>
                    <a:pt x="15857" y="19301"/>
                    <a:pt x="16529" y="19338"/>
                    <a:pt x="17197" y="19391"/>
                  </a:cubicBezTo>
                  <a:cubicBezTo>
                    <a:pt x="17467" y="19412"/>
                    <a:pt x="17652" y="19259"/>
                    <a:pt x="17821" y="19042"/>
                  </a:cubicBezTo>
                  <a:cubicBezTo>
                    <a:pt x="17993" y="18984"/>
                    <a:pt x="18166" y="18994"/>
                    <a:pt x="18343" y="19047"/>
                  </a:cubicBezTo>
                  <a:cubicBezTo>
                    <a:pt x="18475" y="19084"/>
                    <a:pt x="18599" y="19169"/>
                    <a:pt x="18741" y="19158"/>
                  </a:cubicBezTo>
                  <a:cubicBezTo>
                    <a:pt x="19099" y="19301"/>
                    <a:pt x="19448" y="19470"/>
                    <a:pt x="19793" y="19650"/>
                  </a:cubicBezTo>
                  <a:cubicBezTo>
                    <a:pt x="19948" y="19730"/>
                    <a:pt x="20099" y="19820"/>
                    <a:pt x="20254" y="19894"/>
                  </a:cubicBezTo>
                  <a:cubicBezTo>
                    <a:pt x="20386" y="19952"/>
                    <a:pt x="20435" y="20042"/>
                    <a:pt x="20426" y="20222"/>
                  </a:cubicBezTo>
                  <a:close/>
                  <a:moveTo>
                    <a:pt x="17883" y="20810"/>
                  </a:moveTo>
                  <a:cubicBezTo>
                    <a:pt x="17829" y="20704"/>
                    <a:pt x="17829" y="20704"/>
                    <a:pt x="17763" y="20651"/>
                  </a:cubicBezTo>
                  <a:cubicBezTo>
                    <a:pt x="17122" y="20127"/>
                    <a:pt x="16423" y="19751"/>
                    <a:pt x="15684" y="19470"/>
                  </a:cubicBezTo>
                  <a:cubicBezTo>
                    <a:pt x="15542" y="19418"/>
                    <a:pt x="15401" y="19359"/>
                    <a:pt x="15255" y="19338"/>
                  </a:cubicBezTo>
                  <a:cubicBezTo>
                    <a:pt x="15220" y="19333"/>
                    <a:pt x="15175" y="19322"/>
                    <a:pt x="15162" y="19391"/>
                  </a:cubicBezTo>
                  <a:cubicBezTo>
                    <a:pt x="15153" y="19449"/>
                    <a:pt x="15180" y="19481"/>
                    <a:pt x="15220" y="19492"/>
                  </a:cubicBezTo>
                  <a:cubicBezTo>
                    <a:pt x="15290" y="19518"/>
                    <a:pt x="15366" y="19545"/>
                    <a:pt x="15441" y="19571"/>
                  </a:cubicBezTo>
                  <a:cubicBezTo>
                    <a:pt x="16290" y="19873"/>
                    <a:pt x="17095" y="20291"/>
                    <a:pt x="17883" y="20810"/>
                  </a:cubicBezTo>
                  <a:close/>
                  <a:moveTo>
                    <a:pt x="18692" y="20169"/>
                  </a:moveTo>
                  <a:cubicBezTo>
                    <a:pt x="18873" y="20286"/>
                    <a:pt x="19041" y="20439"/>
                    <a:pt x="19236" y="20534"/>
                  </a:cubicBezTo>
                  <a:cubicBezTo>
                    <a:pt x="19227" y="20518"/>
                    <a:pt x="19223" y="20497"/>
                    <a:pt x="19214" y="20481"/>
                  </a:cubicBezTo>
                  <a:cubicBezTo>
                    <a:pt x="18820" y="20053"/>
                    <a:pt x="18360" y="19751"/>
                    <a:pt x="17887" y="19476"/>
                  </a:cubicBezTo>
                  <a:cubicBezTo>
                    <a:pt x="17874" y="19470"/>
                    <a:pt x="17860" y="19465"/>
                    <a:pt x="17847" y="19465"/>
                  </a:cubicBezTo>
                  <a:cubicBezTo>
                    <a:pt x="17812" y="19465"/>
                    <a:pt x="17768" y="19444"/>
                    <a:pt x="17745" y="19497"/>
                  </a:cubicBezTo>
                  <a:cubicBezTo>
                    <a:pt x="17728" y="19550"/>
                    <a:pt x="17763" y="19582"/>
                    <a:pt x="17794" y="19608"/>
                  </a:cubicBezTo>
                  <a:cubicBezTo>
                    <a:pt x="17821" y="19629"/>
                    <a:pt x="17852" y="19650"/>
                    <a:pt x="17883" y="19666"/>
                  </a:cubicBezTo>
                  <a:cubicBezTo>
                    <a:pt x="18157" y="19814"/>
                    <a:pt x="18422" y="19994"/>
                    <a:pt x="18692" y="20169"/>
                  </a:cubicBezTo>
                  <a:close/>
                  <a:moveTo>
                    <a:pt x="19276" y="20561"/>
                  </a:moveTo>
                  <a:cubicBezTo>
                    <a:pt x="19267" y="20540"/>
                    <a:pt x="19254" y="20529"/>
                    <a:pt x="19236" y="20540"/>
                  </a:cubicBezTo>
                  <a:cubicBezTo>
                    <a:pt x="19232" y="20571"/>
                    <a:pt x="19254" y="20571"/>
                    <a:pt x="19272" y="20571"/>
                  </a:cubicBezTo>
                  <a:cubicBezTo>
                    <a:pt x="19272" y="20571"/>
                    <a:pt x="19280" y="20561"/>
                    <a:pt x="19276" y="20561"/>
                  </a:cubicBezTo>
                  <a:close/>
                  <a:moveTo>
                    <a:pt x="11451" y="11907"/>
                  </a:moveTo>
                  <a:cubicBezTo>
                    <a:pt x="11451" y="11912"/>
                    <a:pt x="11451" y="11912"/>
                    <a:pt x="11451" y="11907"/>
                  </a:cubicBezTo>
                  <a:cubicBezTo>
                    <a:pt x="11451" y="11912"/>
                    <a:pt x="11451" y="11912"/>
                    <a:pt x="11451" y="11907"/>
                  </a:cubicBezTo>
                  <a:cubicBezTo>
                    <a:pt x="11451" y="11912"/>
                    <a:pt x="11451" y="11907"/>
                    <a:pt x="11451" y="11907"/>
                  </a:cubicBezTo>
                  <a:close/>
                  <a:moveTo>
                    <a:pt x="11937" y="15236"/>
                  </a:moveTo>
                  <a:cubicBezTo>
                    <a:pt x="11915" y="14347"/>
                    <a:pt x="11902" y="13458"/>
                    <a:pt x="11889" y="12563"/>
                  </a:cubicBezTo>
                  <a:cubicBezTo>
                    <a:pt x="11889" y="12489"/>
                    <a:pt x="11889" y="12420"/>
                    <a:pt x="11836" y="12357"/>
                  </a:cubicBezTo>
                  <a:cubicBezTo>
                    <a:pt x="11721" y="12219"/>
                    <a:pt x="11619" y="12066"/>
                    <a:pt x="11486" y="11949"/>
                  </a:cubicBezTo>
                  <a:cubicBezTo>
                    <a:pt x="11468" y="11939"/>
                    <a:pt x="11446" y="11944"/>
                    <a:pt x="11446" y="11912"/>
                  </a:cubicBezTo>
                  <a:cubicBezTo>
                    <a:pt x="11424" y="11918"/>
                    <a:pt x="11407" y="11912"/>
                    <a:pt x="11415" y="11875"/>
                  </a:cubicBezTo>
                  <a:cubicBezTo>
                    <a:pt x="11362" y="11902"/>
                    <a:pt x="11336" y="11833"/>
                    <a:pt x="11291" y="11817"/>
                  </a:cubicBezTo>
                  <a:cubicBezTo>
                    <a:pt x="11283" y="12399"/>
                    <a:pt x="11336" y="12976"/>
                    <a:pt x="11367" y="13553"/>
                  </a:cubicBezTo>
                  <a:cubicBezTo>
                    <a:pt x="11407" y="14231"/>
                    <a:pt x="11451" y="14903"/>
                    <a:pt x="11499" y="15580"/>
                  </a:cubicBezTo>
                  <a:cubicBezTo>
                    <a:pt x="11566" y="16438"/>
                    <a:pt x="11641" y="17295"/>
                    <a:pt x="11716" y="18153"/>
                  </a:cubicBezTo>
                  <a:cubicBezTo>
                    <a:pt x="11729" y="18280"/>
                    <a:pt x="11743" y="18412"/>
                    <a:pt x="11716" y="18576"/>
                  </a:cubicBezTo>
                  <a:cubicBezTo>
                    <a:pt x="11619" y="18280"/>
                    <a:pt x="11637" y="17983"/>
                    <a:pt x="11526" y="17729"/>
                  </a:cubicBezTo>
                  <a:cubicBezTo>
                    <a:pt x="11433" y="17824"/>
                    <a:pt x="11398" y="17771"/>
                    <a:pt x="11376" y="17650"/>
                  </a:cubicBezTo>
                  <a:cubicBezTo>
                    <a:pt x="11300" y="17216"/>
                    <a:pt x="11265" y="16776"/>
                    <a:pt x="11230" y="16337"/>
                  </a:cubicBezTo>
                  <a:cubicBezTo>
                    <a:pt x="11163" y="15464"/>
                    <a:pt x="11079" y="14590"/>
                    <a:pt x="11061" y="13712"/>
                  </a:cubicBezTo>
                  <a:cubicBezTo>
                    <a:pt x="11057" y="13601"/>
                    <a:pt x="11070" y="13527"/>
                    <a:pt x="11181" y="13548"/>
                  </a:cubicBezTo>
                  <a:cubicBezTo>
                    <a:pt x="11172" y="13082"/>
                    <a:pt x="11163" y="12616"/>
                    <a:pt x="11154" y="12156"/>
                  </a:cubicBezTo>
                  <a:cubicBezTo>
                    <a:pt x="11150" y="12013"/>
                    <a:pt x="11154" y="11870"/>
                    <a:pt x="11190" y="11727"/>
                  </a:cubicBezTo>
                  <a:cubicBezTo>
                    <a:pt x="10946" y="11494"/>
                    <a:pt x="10663" y="11341"/>
                    <a:pt x="10398" y="11145"/>
                  </a:cubicBezTo>
                  <a:cubicBezTo>
                    <a:pt x="10354" y="11113"/>
                    <a:pt x="10296" y="11103"/>
                    <a:pt x="10274" y="11039"/>
                  </a:cubicBezTo>
                  <a:cubicBezTo>
                    <a:pt x="10234" y="11002"/>
                    <a:pt x="10186" y="11002"/>
                    <a:pt x="10137" y="10991"/>
                  </a:cubicBezTo>
                  <a:cubicBezTo>
                    <a:pt x="9867" y="10923"/>
                    <a:pt x="9867" y="10923"/>
                    <a:pt x="9827" y="11251"/>
                  </a:cubicBezTo>
                  <a:cubicBezTo>
                    <a:pt x="9818" y="11314"/>
                    <a:pt x="9810" y="11372"/>
                    <a:pt x="9805" y="11436"/>
                  </a:cubicBezTo>
                  <a:cubicBezTo>
                    <a:pt x="9779" y="11865"/>
                    <a:pt x="9783" y="12293"/>
                    <a:pt x="9854" y="12712"/>
                  </a:cubicBezTo>
                  <a:cubicBezTo>
                    <a:pt x="9916" y="12738"/>
                    <a:pt x="9916" y="12812"/>
                    <a:pt x="9929" y="12865"/>
                  </a:cubicBezTo>
                  <a:cubicBezTo>
                    <a:pt x="10097" y="13532"/>
                    <a:pt x="10279" y="14194"/>
                    <a:pt x="10433" y="14860"/>
                  </a:cubicBezTo>
                  <a:cubicBezTo>
                    <a:pt x="10464" y="14987"/>
                    <a:pt x="10526" y="15104"/>
                    <a:pt x="10544" y="15279"/>
                  </a:cubicBezTo>
                  <a:cubicBezTo>
                    <a:pt x="10442" y="15120"/>
                    <a:pt x="10424" y="14945"/>
                    <a:pt x="10332" y="14829"/>
                  </a:cubicBezTo>
                  <a:cubicBezTo>
                    <a:pt x="10340" y="15030"/>
                    <a:pt x="10411" y="15215"/>
                    <a:pt x="10455" y="15411"/>
                  </a:cubicBezTo>
                  <a:cubicBezTo>
                    <a:pt x="10743" y="16634"/>
                    <a:pt x="11008" y="17867"/>
                    <a:pt x="11322" y="19084"/>
                  </a:cubicBezTo>
                  <a:cubicBezTo>
                    <a:pt x="11336" y="19142"/>
                    <a:pt x="11345" y="19216"/>
                    <a:pt x="11398" y="19243"/>
                  </a:cubicBezTo>
                  <a:cubicBezTo>
                    <a:pt x="11557" y="19328"/>
                    <a:pt x="11707" y="19418"/>
                    <a:pt x="11884" y="19439"/>
                  </a:cubicBezTo>
                  <a:cubicBezTo>
                    <a:pt x="12008" y="19449"/>
                    <a:pt x="12043" y="19402"/>
                    <a:pt x="12035" y="19259"/>
                  </a:cubicBezTo>
                  <a:cubicBezTo>
                    <a:pt x="11968" y="17925"/>
                    <a:pt x="11968" y="16575"/>
                    <a:pt x="11937" y="15236"/>
                  </a:cubicBezTo>
                  <a:close/>
                  <a:moveTo>
                    <a:pt x="11420" y="11875"/>
                  </a:moveTo>
                  <a:cubicBezTo>
                    <a:pt x="11420" y="11875"/>
                    <a:pt x="11420" y="11875"/>
                    <a:pt x="11420" y="11875"/>
                  </a:cubicBezTo>
                  <a:cubicBezTo>
                    <a:pt x="11420" y="11875"/>
                    <a:pt x="11424" y="11875"/>
                    <a:pt x="11420" y="11875"/>
                  </a:cubicBezTo>
                  <a:cubicBezTo>
                    <a:pt x="11424" y="11875"/>
                    <a:pt x="11420" y="11875"/>
                    <a:pt x="11420" y="11875"/>
                  </a:cubicBezTo>
                  <a:close/>
                  <a:moveTo>
                    <a:pt x="14269" y="16538"/>
                  </a:moveTo>
                  <a:cubicBezTo>
                    <a:pt x="14158" y="17099"/>
                    <a:pt x="14030" y="17655"/>
                    <a:pt x="13875" y="18205"/>
                  </a:cubicBezTo>
                  <a:cubicBezTo>
                    <a:pt x="13848" y="18301"/>
                    <a:pt x="13835" y="18407"/>
                    <a:pt x="13760" y="18475"/>
                  </a:cubicBezTo>
                  <a:cubicBezTo>
                    <a:pt x="13742" y="18534"/>
                    <a:pt x="13729" y="18587"/>
                    <a:pt x="13711" y="18645"/>
                  </a:cubicBezTo>
                  <a:cubicBezTo>
                    <a:pt x="13685" y="18756"/>
                    <a:pt x="13685" y="18835"/>
                    <a:pt x="13817" y="18819"/>
                  </a:cubicBezTo>
                  <a:cubicBezTo>
                    <a:pt x="13919" y="18809"/>
                    <a:pt x="14021" y="18814"/>
                    <a:pt x="14118" y="18825"/>
                  </a:cubicBezTo>
                  <a:cubicBezTo>
                    <a:pt x="14211" y="18835"/>
                    <a:pt x="14251" y="18793"/>
                    <a:pt x="14282" y="18687"/>
                  </a:cubicBezTo>
                  <a:cubicBezTo>
                    <a:pt x="14866" y="16866"/>
                    <a:pt x="15450" y="15046"/>
                    <a:pt x="16038" y="13230"/>
                  </a:cubicBezTo>
                  <a:cubicBezTo>
                    <a:pt x="16087" y="13077"/>
                    <a:pt x="16069" y="12971"/>
                    <a:pt x="15954" y="12881"/>
                  </a:cubicBezTo>
                  <a:cubicBezTo>
                    <a:pt x="15812" y="12775"/>
                    <a:pt x="15675" y="12659"/>
                    <a:pt x="15538" y="12537"/>
                  </a:cubicBezTo>
                  <a:cubicBezTo>
                    <a:pt x="15401" y="12410"/>
                    <a:pt x="15401" y="12309"/>
                    <a:pt x="15534" y="12177"/>
                  </a:cubicBezTo>
                  <a:cubicBezTo>
                    <a:pt x="15622" y="12087"/>
                    <a:pt x="15715" y="12002"/>
                    <a:pt x="15812" y="11933"/>
                  </a:cubicBezTo>
                  <a:cubicBezTo>
                    <a:pt x="15949" y="11838"/>
                    <a:pt x="15989" y="11695"/>
                    <a:pt x="16007" y="11521"/>
                  </a:cubicBezTo>
                  <a:cubicBezTo>
                    <a:pt x="16047" y="11076"/>
                    <a:pt x="16095" y="10631"/>
                    <a:pt x="16135" y="10187"/>
                  </a:cubicBezTo>
                  <a:cubicBezTo>
                    <a:pt x="16193" y="9557"/>
                    <a:pt x="16228" y="8927"/>
                    <a:pt x="16202" y="8297"/>
                  </a:cubicBezTo>
                  <a:cubicBezTo>
                    <a:pt x="16197" y="8170"/>
                    <a:pt x="16171" y="8049"/>
                    <a:pt x="16153" y="7927"/>
                  </a:cubicBezTo>
                  <a:cubicBezTo>
                    <a:pt x="16149" y="7890"/>
                    <a:pt x="16140" y="7837"/>
                    <a:pt x="16100" y="7842"/>
                  </a:cubicBezTo>
                  <a:cubicBezTo>
                    <a:pt x="16078" y="7842"/>
                    <a:pt x="16051" y="7879"/>
                    <a:pt x="16038" y="7906"/>
                  </a:cubicBezTo>
                  <a:cubicBezTo>
                    <a:pt x="15972" y="8012"/>
                    <a:pt x="15936" y="8139"/>
                    <a:pt x="15896" y="8260"/>
                  </a:cubicBezTo>
                  <a:cubicBezTo>
                    <a:pt x="15463" y="9626"/>
                    <a:pt x="15202" y="11050"/>
                    <a:pt x="14919" y="12468"/>
                  </a:cubicBezTo>
                  <a:cubicBezTo>
                    <a:pt x="14888" y="12627"/>
                    <a:pt x="14830" y="12786"/>
                    <a:pt x="14870" y="12955"/>
                  </a:cubicBezTo>
                  <a:cubicBezTo>
                    <a:pt x="14905" y="13103"/>
                    <a:pt x="14839" y="13241"/>
                    <a:pt x="14821" y="13378"/>
                  </a:cubicBezTo>
                  <a:cubicBezTo>
                    <a:pt x="14675" y="14437"/>
                    <a:pt x="14472" y="15485"/>
                    <a:pt x="14269" y="16538"/>
                  </a:cubicBezTo>
                  <a:close/>
                  <a:moveTo>
                    <a:pt x="12490" y="1136"/>
                  </a:moveTo>
                  <a:cubicBezTo>
                    <a:pt x="12610" y="1268"/>
                    <a:pt x="12627" y="1459"/>
                    <a:pt x="12689" y="1623"/>
                  </a:cubicBezTo>
                  <a:cubicBezTo>
                    <a:pt x="12698" y="1607"/>
                    <a:pt x="12707" y="1597"/>
                    <a:pt x="12716" y="1581"/>
                  </a:cubicBezTo>
                  <a:cubicBezTo>
                    <a:pt x="12658" y="1247"/>
                    <a:pt x="12579" y="930"/>
                    <a:pt x="12375" y="676"/>
                  </a:cubicBezTo>
                  <a:cubicBezTo>
                    <a:pt x="12442" y="644"/>
                    <a:pt x="12477" y="697"/>
                    <a:pt x="12517" y="739"/>
                  </a:cubicBezTo>
                  <a:cubicBezTo>
                    <a:pt x="12658" y="882"/>
                    <a:pt x="12734" y="1067"/>
                    <a:pt x="12804" y="1268"/>
                  </a:cubicBezTo>
                  <a:cubicBezTo>
                    <a:pt x="12849" y="1390"/>
                    <a:pt x="12835" y="1612"/>
                    <a:pt x="12937" y="1612"/>
                  </a:cubicBezTo>
                  <a:cubicBezTo>
                    <a:pt x="13048" y="1612"/>
                    <a:pt x="13101" y="1411"/>
                    <a:pt x="13158" y="1279"/>
                  </a:cubicBezTo>
                  <a:cubicBezTo>
                    <a:pt x="13167" y="1253"/>
                    <a:pt x="13180" y="1226"/>
                    <a:pt x="13189" y="1200"/>
                  </a:cubicBezTo>
                  <a:cubicBezTo>
                    <a:pt x="13340" y="628"/>
                    <a:pt x="13198" y="152"/>
                    <a:pt x="12738" y="25"/>
                  </a:cubicBezTo>
                  <a:cubicBezTo>
                    <a:pt x="12574" y="-23"/>
                    <a:pt x="12402" y="3"/>
                    <a:pt x="12238" y="56"/>
                  </a:cubicBezTo>
                  <a:cubicBezTo>
                    <a:pt x="11933" y="152"/>
                    <a:pt x="11623" y="226"/>
                    <a:pt x="11309" y="289"/>
                  </a:cubicBezTo>
                  <a:cubicBezTo>
                    <a:pt x="10818" y="390"/>
                    <a:pt x="10336" y="554"/>
                    <a:pt x="9885" y="819"/>
                  </a:cubicBezTo>
                  <a:cubicBezTo>
                    <a:pt x="9699" y="930"/>
                    <a:pt x="9531" y="1073"/>
                    <a:pt x="9403" y="1268"/>
                  </a:cubicBezTo>
                  <a:cubicBezTo>
                    <a:pt x="9376" y="1311"/>
                    <a:pt x="9314" y="1385"/>
                    <a:pt x="9429" y="1390"/>
                  </a:cubicBezTo>
                  <a:cubicBezTo>
                    <a:pt x="9849" y="1411"/>
                    <a:pt x="10274" y="1438"/>
                    <a:pt x="10690" y="1491"/>
                  </a:cubicBezTo>
                  <a:cubicBezTo>
                    <a:pt x="10716" y="1485"/>
                    <a:pt x="10739" y="1485"/>
                    <a:pt x="10765" y="1480"/>
                  </a:cubicBezTo>
                  <a:cubicBezTo>
                    <a:pt x="10765" y="1480"/>
                    <a:pt x="10765" y="1480"/>
                    <a:pt x="10765" y="1480"/>
                  </a:cubicBezTo>
                  <a:cubicBezTo>
                    <a:pt x="10792" y="1496"/>
                    <a:pt x="10827" y="1512"/>
                    <a:pt x="10840" y="1475"/>
                  </a:cubicBezTo>
                  <a:cubicBezTo>
                    <a:pt x="10854" y="1443"/>
                    <a:pt x="10818" y="1438"/>
                    <a:pt x="10796" y="1427"/>
                  </a:cubicBezTo>
                  <a:cubicBezTo>
                    <a:pt x="10787" y="1369"/>
                    <a:pt x="10756" y="1385"/>
                    <a:pt x="10725" y="1390"/>
                  </a:cubicBezTo>
                  <a:cubicBezTo>
                    <a:pt x="10668" y="1316"/>
                    <a:pt x="10575" y="1369"/>
                    <a:pt x="10513" y="1306"/>
                  </a:cubicBezTo>
                  <a:cubicBezTo>
                    <a:pt x="10553" y="1237"/>
                    <a:pt x="10615" y="1247"/>
                    <a:pt x="10668" y="1242"/>
                  </a:cubicBezTo>
                  <a:cubicBezTo>
                    <a:pt x="11221" y="1216"/>
                    <a:pt x="11743" y="1734"/>
                    <a:pt x="11818" y="2396"/>
                  </a:cubicBezTo>
                  <a:cubicBezTo>
                    <a:pt x="11840" y="2597"/>
                    <a:pt x="11853" y="2613"/>
                    <a:pt x="12017" y="2533"/>
                  </a:cubicBezTo>
                  <a:cubicBezTo>
                    <a:pt x="12344" y="2375"/>
                    <a:pt x="12473" y="2052"/>
                    <a:pt x="12508" y="1655"/>
                  </a:cubicBezTo>
                  <a:cubicBezTo>
                    <a:pt x="12530" y="1485"/>
                    <a:pt x="12521" y="1311"/>
                    <a:pt x="12490" y="1136"/>
                  </a:cubicBezTo>
                  <a:close/>
                  <a:moveTo>
                    <a:pt x="13202" y="1655"/>
                  </a:moveTo>
                  <a:cubicBezTo>
                    <a:pt x="12884" y="2152"/>
                    <a:pt x="12676" y="2735"/>
                    <a:pt x="12335" y="3216"/>
                  </a:cubicBezTo>
                  <a:cubicBezTo>
                    <a:pt x="12366" y="3280"/>
                    <a:pt x="12402" y="3232"/>
                    <a:pt x="12433" y="3216"/>
                  </a:cubicBezTo>
                  <a:cubicBezTo>
                    <a:pt x="12565" y="3147"/>
                    <a:pt x="12694" y="3068"/>
                    <a:pt x="12822" y="2999"/>
                  </a:cubicBezTo>
                  <a:cubicBezTo>
                    <a:pt x="13012" y="2893"/>
                    <a:pt x="13198" y="2787"/>
                    <a:pt x="13415" y="2819"/>
                  </a:cubicBezTo>
                  <a:cubicBezTo>
                    <a:pt x="13198" y="2925"/>
                    <a:pt x="12986" y="3042"/>
                    <a:pt x="12791" y="3195"/>
                  </a:cubicBezTo>
                  <a:cubicBezTo>
                    <a:pt x="12689" y="3280"/>
                    <a:pt x="12663" y="3386"/>
                    <a:pt x="12725" y="3507"/>
                  </a:cubicBezTo>
                  <a:cubicBezTo>
                    <a:pt x="12977" y="4010"/>
                    <a:pt x="12990" y="4052"/>
                    <a:pt x="13419" y="3793"/>
                  </a:cubicBezTo>
                  <a:cubicBezTo>
                    <a:pt x="13455" y="3772"/>
                    <a:pt x="13490" y="3751"/>
                    <a:pt x="13521" y="3724"/>
                  </a:cubicBezTo>
                  <a:cubicBezTo>
                    <a:pt x="13773" y="3513"/>
                    <a:pt x="14038" y="3465"/>
                    <a:pt x="14317" y="3650"/>
                  </a:cubicBezTo>
                  <a:cubicBezTo>
                    <a:pt x="14388" y="3698"/>
                    <a:pt x="14406" y="3671"/>
                    <a:pt x="14414" y="3587"/>
                  </a:cubicBezTo>
                  <a:cubicBezTo>
                    <a:pt x="14441" y="3349"/>
                    <a:pt x="14454" y="3105"/>
                    <a:pt x="14507" y="2872"/>
                  </a:cubicBezTo>
                  <a:cubicBezTo>
                    <a:pt x="14552" y="2671"/>
                    <a:pt x="14485" y="2581"/>
                    <a:pt x="14357" y="2491"/>
                  </a:cubicBezTo>
                  <a:cubicBezTo>
                    <a:pt x="14118" y="2322"/>
                    <a:pt x="13870" y="2195"/>
                    <a:pt x="13583" y="2184"/>
                  </a:cubicBezTo>
                  <a:cubicBezTo>
                    <a:pt x="13667" y="2131"/>
                    <a:pt x="13755" y="2110"/>
                    <a:pt x="13848" y="2131"/>
                  </a:cubicBezTo>
                  <a:cubicBezTo>
                    <a:pt x="14087" y="2179"/>
                    <a:pt x="14291" y="2322"/>
                    <a:pt x="14468" y="2507"/>
                  </a:cubicBezTo>
                  <a:cubicBezTo>
                    <a:pt x="14538" y="2581"/>
                    <a:pt x="14560" y="2565"/>
                    <a:pt x="14591" y="2465"/>
                  </a:cubicBezTo>
                  <a:cubicBezTo>
                    <a:pt x="14711" y="2052"/>
                    <a:pt x="14605" y="1575"/>
                    <a:pt x="14326" y="1295"/>
                  </a:cubicBezTo>
                  <a:cubicBezTo>
                    <a:pt x="14158" y="1126"/>
                    <a:pt x="13968" y="1041"/>
                    <a:pt x="13755" y="1141"/>
                  </a:cubicBezTo>
                  <a:cubicBezTo>
                    <a:pt x="13658" y="1184"/>
                    <a:pt x="13565" y="1231"/>
                    <a:pt x="13468" y="1263"/>
                  </a:cubicBezTo>
                  <a:cubicBezTo>
                    <a:pt x="13455" y="1348"/>
                    <a:pt x="13432" y="1369"/>
                    <a:pt x="13379" y="1348"/>
                  </a:cubicBezTo>
                  <a:cubicBezTo>
                    <a:pt x="13379" y="1358"/>
                    <a:pt x="13397" y="1369"/>
                    <a:pt x="13384" y="1390"/>
                  </a:cubicBezTo>
                  <a:cubicBezTo>
                    <a:pt x="13366" y="1411"/>
                    <a:pt x="13362" y="1385"/>
                    <a:pt x="13348" y="1385"/>
                  </a:cubicBezTo>
                  <a:cubicBezTo>
                    <a:pt x="13348" y="1385"/>
                    <a:pt x="13348" y="1380"/>
                    <a:pt x="13348" y="1380"/>
                  </a:cubicBezTo>
                  <a:cubicBezTo>
                    <a:pt x="13353" y="1512"/>
                    <a:pt x="13256" y="1570"/>
                    <a:pt x="13202" y="1655"/>
                  </a:cubicBezTo>
                  <a:close/>
                  <a:moveTo>
                    <a:pt x="13379" y="1353"/>
                  </a:moveTo>
                  <a:cubicBezTo>
                    <a:pt x="13379" y="1353"/>
                    <a:pt x="13379" y="1353"/>
                    <a:pt x="13379" y="1353"/>
                  </a:cubicBezTo>
                  <a:cubicBezTo>
                    <a:pt x="13379" y="1353"/>
                    <a:pt x="13379" y="1348"/>
                    <a:pt x="13379" y="1353"/>
                  </a:cubicBezTo>
                  <a:cubicBezTo>
                    <a:pt x="13379" y="1348"/>
                    <a:pt x="13379" y="1353"/>
                    <a:pt x="13379" y="1353"/>
                  </a:cubicBezTo>
                  <a:close/>
                  <a:moveTo>
                    <a:pt x="16414" y="18851"/>
                  </a:moveTo>
                  <a:cubicBezTo>
                    <a:pt x="16768" y="18878"/>
                    <a:pt x="17135" y="18528"/>
                    <a:pt x="17192" y="18115"/>
                  </a:cubicBezTo>
                  <a:cubicBezTo>
                    <a:pt x="17232" y="17830"/>
                    <a:pt x="17175" y="17560"/>
                    <a:pt x="17126" y="17285"/>
                  </a:cubicBezTo>
                  <a:cubicBezTo>
                    <a:pt x="17113" y="17210"/>
                    <a:pt x="17077" y="17163"/>
                    <a:pt x="17007" y="17168"/>
                  </a:cubicBezTo>
                  <a:cubicBezTo>
                    <a:pt x="16909" y="17210"/>
                    <a:pt x="16808" y="17195"/>
                    <a:pt x="16706" y="17195"/>
                  </a:cubicBezTo>
                  <a:cubicBezTo>
                    <a:pt x="16250" y="17195"/>
                    <a:pt x="15795" y="17195"/>
                    <a:pt x="15335" y="17189"/>
                  </a:cubicBezTo>
                  <a:cubicBezTo>
                    <a:pt x="15237" y="17189"/>
                    <a:pt x="15189" y="17226"/>
                    <a:pt x="15149" y="17332"/>
                  </a:cubicBezTo>
                  <a:cubicBezTo>
                    <a:pt x="14972" y="17809"/>
                    <a:pt x="14782" y="18280"/>
                    <a:pt x="14547" y="18719"/>
                  </a:cubicBezTo>
                  <a:cubicBezTo>
                    <a:pt x="14534" y="18740"/>
                    <a:pt x="14534" y="18772"/>
                    <a:pt x="14503" y="18777"/>
                  </a:cubicBezTo>
                  <a:cubicBezTo>
                    <a:pt x="14503" y="18798"/>
                    <a:pt x="14499" y="18819"/>
                    <a:pt x="14499" y="18841"/>
                  </a:cubicBezTo>
                  <a:cubicBezTo>
                    <a:pt x="14928" y="18867"/>
                    <a:pt x="15361" y="18894"/>
                    <a:pt x="15790" y="18915"/>
                  </a:cubicBezTo>
                  <a:cubicBezTo>
                    <a:pt x="16144" y="18931"/>
                    <a:pt x="16144" y="18920"/>
                    <a:pt x="16149" y="18497"/>
                  </a:cubicBezTo>
                  <a:cubicBezTo>
                    <a:pt x="16153" y="18221"/>
                    <a:pt x="16082" y="17962"/>
                    <a:pt x="15980" y="17708"/>
                  </a:cubicBezTo>
                  <a:cubicBezTo>
                    <a:pt x="16056" y="17713"/>
                    <a:pt x="16069" y="17777"/>
                    <a:pt x="16091" y="17824"/>
                  </a:cubicBezTo>
                  <a:cubicBezTo>
                    <a:pt x="16224" y="18105"/>
                    <a:pt x="16312" y="18407"/>
                    <a:pt x="16348" y="18729"/>
                  </a:cubicBezTo>
                  <a:cubicBezTo>
                    <a:pt x="16352" y="18782"/>
                    <a:pt x="16334" y="18846"/>
                    <a:pt x="16414" y="18851"/>
                  </a:cubicBezTo>
                  <a:close/>
                  <a:moveTo>
                    <a:pt x="14503" y="18777"/>
                  </a:moveTo>
                  <a:cubicBezTo>
                    <a:pt x="14503" y="18777"/>
                    <a:pt x="14503" y="18777"/>
                    <a:pt x="14503" y="18777"/>
                  </a:cubicBezTo>
                  <a:cubicBezTo>
                    <a:pt x="14507" y="18777"/>
                    <a:pt x="14507" y="18777"/>
                    <a:pt x="14503" y="18777"/>
                  </a:cubicBezTo>
                  <a:cubicBezTo>
                    <a:pt x="14507" y="18777"/>
                    <a:pt x="14503" y="18777"/>
                    <a:pt x="14503" y="18777"/>
                  </a:cubicBezTo>
                  <a:close/>
                  <a:moveTo>
                    <a:pt x="13141" y="13664"/>
                  </a:moveTo>
                  <a:cubicBezTo>
                    <a:pt x="13154" y="13389"/>
                    <a:pt x="13171" y="13108"/>
                    <a:pt x="13202" y="12828"/>
                  </a:cubicBezTo>
                  <a:cubicBezTo>
                    <a:pt x="13247" y="12426"/>
                    <a:pt x="13238" y="12426"/>
                    <a:pt x="12888" y="12410"/>
                  </a:cubicBezTo>
                  <a:cubicBezTo>
                    <a:pt x="12915" y="12976"/>
                    <a:pt x="12849" y="13537"/>
                    <a:pt x="12791" y="14098"/>
                  </a:cubicBezTo>
                  <a:cubicBezTo>
                    <a:pt x="12756" y="14432"/>
                    <a:pt x="12734" y="14765"/>
                    <a:pt x="12632" y="15083"/>
                  </a:cubicBezTo>
                  <a:cubicBezTo>
                    <a:pt x="12627" y="15104"/>
                    <a:pt x="12614" y="15125"/>
                    <a:pt x="12614" y="15146"/>
                  </a:cubicBezTo>
                  <a:cubicBezTo>
                    <a:pt x="12557" y="15861"/>
                    <a:pt x="12495" y="16575"/>
                    <a:pt x="12442" y="17290"/>
                  </a:cubicBezTo>
                  <a:cubicBezTo>
                    <a:pt x="12406" y="17761"/>
                    <a:pt x="12380" y="18227"/>
                    <a:pt x="12353" y="18698"/>
                  </a:cubicBezTo>
                  <a:cubicBezTo>
                    <a:pt x="12349" y="18745"/>
                    <a:pt x="12318" y="18830"/>
                    <a:pt x="12411" y="18809"/>
                  </a:cubicBezTo>
                  <a:cubicBezTo>
                    <a:pt x="12636" y="18761"/>
                    <a:pt x="12862" y="18788"/>
                    <a:pt x="13087" y="18788"/>
                  </a:cubicBezTo>
                  <a:cubicBezTo>
                    <a:pt x="13176" y="18788"/>
                    <a:pt x="13194" y="18767"/>
                    <a:pt x="13171" y="18661"/>
                  </a:cubicBezTo>
                  <a:cubicBezTo>
                    <a:pt x="13105" y="18295"/>
                    <a:pt x="13074" y="17925"/>
                    <a:pt x="13070" y="17549"/>
                  </a:cubicBezTo>
                  <a:cubicBezTo>
                    <a:pt x="13056" y="16671"/>
                    <a:pt x="13079" y="15792"/>
                    <a:pt x="13105" y="14913"/>
                  </a:cubicBezTo>
                  <a:cubicBezTo>
                    <a:pt x="13114" y="14495"/>
                    <a:pt x="13118" y="14077"/>
                    <a:pt x="13141" y="13664"/>
                  </a:cubicBezTo>
                  <a:close/>
                  <a:moveTo>
                    <a:pt x="7186" y="20031"/>
                  </a:moveTo>
                  <a:cubicBezTo>
                    <a:pt x="7182" y="20047"/>
                    <a:pt x="7186" y="20063"/>
                    <a:pt x="7182" y="20084"/>
                  </a:cubicBezTo>
                  <a:cubicBezTo>
                    <a:pt x="7200" y="20090"/>
                    <a:pt x="7222" y="20090"/>
                    <a:pt x="7240" y="20095"/>
                  </a:cubicBezTo>
                  <a:cubicBezTo>
                    <a:pt x="7341" y="20021"/>
                    <a:pt x="7447" y="19957"/>
                    <a:pt x="7536" y="19857"/>
                  </a:cubicBezTo>
                  <a:cubicBezTo>
                    <a:pt x="7859" y="19497"/>
                    <a:pt x="8186" y="19142"/>
                    <a:pt x="8509" y="18782"/>
                  </a:cubicBezTo>
                  <a:cubicBezTo>
                    <a:pt x="8624" y="18655"/>
                    <a:pt x="8748" y="18581"/>
                    <a:pt x="8907" y="18592"/>
                  </a:cubicBezTo>
                  <a:cubicBezTo>
                    <a:pt x="9049" y="18602"/>
                    <a:pt x="9195" y="18592"/>
                    <a:pt x="9336" y="18587"/>
                  </a:cubicBezTo>
                  <a:cubicBezTo>
                    <a:pt x="9491" y="18587"/>
                    <a:pt x="9642" y="18587"/>
                    <a:pt x="9796" y="18587"/>
                  </a:cubicBezTo>
                  <a:cubicBezTo>
                    <a:pt x="9796" y="18571"/>
                    <a:pt x="9796" y="18550"/>
                    <a:pt x="9796" y="18534"/>
                  </a:cubicBezTo>
                  <a:cubicBezTo>
                    <a:pt x="9730" y="18470"/>
                    <a:pt x="9664" y="18412"/>
                    <a:pt x="9597" y="18348"/>
                  </a:cubicBezTo>
                  <a:cubicBezTo>
                    <a:pt x="9580" y="18364"/>
                    <a:pt x="9562" y="18354"/>
                    <a:pt x="9544" y="18343"/>
                  </a:cubicBezTo>
                  <a:cubicBezTo>
                    <a:pt x="9279" y="18121"/>
                    <a:pt x="8978" y="17978"/>
                    <a:pt x="8677" y="17846"/>
                  </a:cubicBezTo>
                  <a:cubicBezTo>
                    <a:pt x="8633" y="17851"/>
                    <a:pt x="8593" y="17872"/>
                    <a:pt x="8558" y="17904"/>
                  </a:cubicBezTo>
                  <a:cubicBezTo>
                    <a:pt x="8567" y="17978"/>
                    <a:pt x="8553" y="18026"/>
                    <a:pt x="8487" y="18041"/>
                  </a:cubicBezTo>
                  <a:cubicBezTo>
                    <a:pt x="7943" y="18179"/>
                    <a:pt x="7421" y="18396"/>
                    <a:pt x="6895" y="18602"/>
                  </a:cubicBezTo>
                  <a:cubicBezTo>
                    <a:pt x="7213" y="19026"/>
                    <a:pt x="7368" y="19481"/>
                    <a:pt x="7186" y="20031"/>
                  </a:cubicBezTo>
                  <a:close/>
                  <a:moveTo>
                    <a:pt x="9177" y="2248"/>
                  </a:moveTo>
                  <a:cubicBezTo>
                    <a:pt x="9469" y="2481"/>
                    <a:pt x="9792" y="2475"/>
                    <a:pt x="10119" y="2401"/>
                  </a:cubicBezTo>
                  <a:cubicBezTo>
                    <a:pt x="10332" y="2353"/>
                    <a:pt x="10539" y="2279"/>
                    <a:pt x="10752" y="2232"/>
                  </a:cubicBezTo>
                  <a:cubicBezTo>
                    <a:pt x="11101" y="2158"/>
                    <a:pt x="11349" y="2491"/>
                    <a:pt x="11261" y="2904"/>
                  </a:cubicBezTo>
                  <a:cubicBezTo>
                    <a:pt x="11234" y="3020"/>
                    <a:pt x="11172" y="3116"/>
                    <a:pt x="11115" y="3243"/>
                  </a:cubicBezTo>
                  <a:cubicBezTo>
                    <a:pt x="11349" y="3079"/>
                    <a:pt x="11486" y="2856"/>
                    <a:pt x="11548" y="2570"/>
                  </a:cubicBezTo>
                  <a:cubicBezTo>
                    <a:pt x="11491" y="2353"/>
                    <a:pt x="11424" y="2158"/>
                    <a:pt x="11212" y="2062"/>
                  </a:cubicBezTo>
                  <a:cubicBezTo>
                    <a:pt x="11008" y="1972"/>
                    <a:pt x="10814" y="1893"/>
                    <a:pt x="10601" y="1914"/>
                  </a:cubicBezTo>
                  <a:cubicBezTo>
                    <a:pt x="10438" y="1930"/>
                    <a:pt x="10279" y="1946"/>
                    <a:pt x="10119" y="1994"/>
                  </a:cubicBezTo>
                  <a:cubicBezTo>
                    <a:pt x="10066" y="2009"/>
                    <a:pt x="10004" y="2004"/>
                    <a:pt x="9947" y="2009"/>
                  </a:cubicBezTo>
                  <a:cubicBezTo>
                    <a:pt x="9854" y="2020"/>
                    <a:pt x="9801" y="2131"/>
                    <a:pt x="9703" y="2147"/>
                  </a:cubicBezTo>
                  <a:cubicBezTo>
                    <a:pt x="9699" y="2057"/>
                    <a:pt x="9752" y="2009"/>
                    <a:pt x="9765" y="1946"/>
                  </a:cubicBezTo>
                  <a:cubicBezTo>
                    <a:pt x="9588" y="2057"/>
                    <a:pt x="9398" y="2041"/>
                    <a:pt x="9208" y="2073"/>
                  </a:cubicBezTo>
                  <a:cubicBezTo>
                    <a:pt x="9151" y="2084"/>
                    <a:pt x="9093" y="2057"/>
                    <a:pt x="9040" y="2099"/>
                  </a:cubicBezTo>
                  <a:cubicBezTo>
                    <a:pt x="9071" y="2163"/>
                    <a:pt x="9124" y="2205"/>
                    <a:pt x="9177" y="2248"/>
                  </a:cubicBezTo>
                  <a:close/>
                  <a:moveTo>
                    <a:pt x="10163" y="21090"/>
                  </a:moveTo>
                  <a:cubicBezTo>
                    <a:pt x="9721" y="21027"/>
                    <a:pt x="9274" y="21000"/>
                    <a:pt x="8828" y="20958"/>
                  </a:cubicBezTo>
                  <a:cubicBezTo>
                    <a:pt x="8602" y="20937"/>
                    <a:pt x="8407" y="20751"/>
                    <a:pt x="8164" y="20788"/>
                  </a:cubicBezTo>
                  <a:cubicBezTo>
                    <a:pt x="8058" y="20804"/>
                    <a:pt x="7943" y="20757"/>
                    <a:pt x="7837" y="20757"/>
                  </a:cubicBezTo>
                  <a:cubicBezTo>
                    <a:pt x="7602" y="20746"/>
                    <a:pt x="7368" y="20741"/>
                    <a:pt x="7129" y="20735"/>
                  </a:cubicBezTo>
                  <a:cubicBezTo>
                    <a:pt x="6979" y="20730"/>
                    <a:pt x="7014" y="20900"/>
                    <a:pt x="6992" y="20989"/>
                  </a:cubicBezTo>
                  <a:cubicBezTo>
                    <a:pt x="6974" y="21069"/>
                    <a:pt x="7067" y="21042"/>
                    <a:pt x="7111" y="21042"/>
                  </a:cubicBezTo>
                  <a:cubicBezTo>
                    <a:pt x="7456" y="21058"/>
                    <a:pt x="7801" y="21064"/>
                    <a:pt x="8146" y="21111"/>
                  </a:cubicBezTo>
                  <a:cubicBezTo>
                    <a:pt x="8368" y="21042"/>
                    <a:pt x="8593" y="21074"/>
                    <a:pt x="8819" y="21079"/>
                  </a:cubicBezTo>
                  <a:cubicBezTo>
                    <a:pt x="9323" y="21090"/>
                    <a:pt x="9827" y="21111"/>
                    <a:pt x="10323" y="21217"/>
                  </a:cubicBezTo>
                  <a:cubicBezTo>
                    <a:pt x="10376" y="21228"/>
                    <a:pt x="10429" y="21259"/>
                    <a:pt x="10486" y="21281"/>
                  </a:cubicBezTo>
                  <a:cubicBezTo>
                    <a:pt x="10831" y="21349"/>
                    <a:pt x="11176" y="21318"/>
                    <a:pt x="11557" y="21371"/>
                  </a:cubicBezTo>
                  <a:cubicBezTo>
                    <a:pt x="11464" y="21286"/>
                    <a:pt x="11398" y="21270"/>
                    <a:pt x="11327" y="21249"/>
                  </a:cubicBezTo>
                  <a:cubicBezTo>
                    <a:pt x="10946" y="21143"/>
                    <a:pt x="10548" y="21148"/>
                    <a:pt x="10163" y="21090"/>
                  </a:cubicBezTo>
                  <a:close/>
                  <a:moveTo>
                    <a:pt x="9447" y="15099"/>
                  </a:moveTo>
                  <a:cubicBezTo>
                    <a:pt x="9478" y="14924"/>
                    <a:pt x="9509" y="14739"/>
                    <a:pt x="9451" y="14543"/>
                  </a:cubicBezTo>
                  <a:cubicBezTo>
                    <a:pt x="9372" y="14876"/>
                    <a:pt x="9288" y="15204"/>
                    <a:pt x="9208" y="15538"/>
                  </a:cubicBezTo>
                  <a:cubicBezTo>
                    <a:pt x="9274" y="15871"/>
                    <a:pt x="9186" y="16184"/>
                    <a:pt x="9128" y="16501"/>
                  </a:cubicBezTo>
                  <a:cubicBezTo>
                    <a:pt x="9102" y="16634"/>
                    <a:pt x="9075" y="16766"/>
                    <a:pt x="9040" y="16898"/>
                  </a:cubicBezTo>
                  <a:cubicBezTo>
                    <a:pt x="9013" y="16988"/>
                    <a:pt x="9031" y="17020"/>
                    <a:pt x="9111" y="17030"/>
                  </a:cubicBezTo>
                  <a:cubicBezTo>
                    <a:pt x="9248" y="17052"/>
                    <a:pt x="9385" y="17089"/>
                    <a:pt x="9522" y="17120"/>
                  </a:cubicBezTo>
                  <a:cubicBezTo>
                    <a:pt x="9571" y="17131"/>
                    <a:pt x="9615" y="17142"/>
                    <a:pt x="9650" y="17184"/>
                  </a:cubicBezTo>
                  <a:cubicBezTo>
                    <a:pt x="9717" y="17189"/>
                    <a:pt x="9805" y="17226"/>
                    <a:pt x="9841" y="17168"/>
                  </a:cubicBezTo>
                  <a:cubicBezTo>
                    <a:pt x="9880" y="17099"/>
                    <a:pt x="9805" y="17025"/>
                    <a:pt x="9770" y="16956"/>
                  </a:cubicBezTo>
                  <a:cubicBezTo>
                    <a:pt x="9496" y="16379"/>
                    <a:pt x="9336" y="15776"/>
                    <a:pt x="9447" y="15099"/>
                  </a:cubicBezTo>
                  <a:close/>
                  <a:moveTo>
                    <a:pt x="13269" y="12272"/>
                  </a:moveTo>
                  <a:cubicBezTo>
                    <a:pt x="13340" y="12076"/>
                    <a:pt x="13415" y="11886"/>
                    <a:pt x="13490" y="11695"/>
                  </a:cubicBezTo>
                  <a:cubicBezTo>
                    <a:pt x="13512" y="11637"/>
                    <a:pt x="13521" y="11589"/>
                    <a:pt x="13490" y="11537"/>
                  </a:cubicBezTo>
                  <a:cubicBezTo>
                    <a:pt x="13410" y="11388"/>
                    <a:pt x="13340" y="11230"/>
                    <a:pt x="13233" y="11103"/>
                  </a:cubicBezTo>
                  <a:cubicBezTo>
                    <a:pt x="12999" y="11245"/>
                    <a:pt x="12840" y="11489"/>
                    <a:pt x="12641" y="11685"/>
                  </a:cubicBezTo>
                  <a:cubicBezTo>
                    <a:pt x="12632" y="11812"/>
                    <a:pt x="12694" y="11912"/>
                    <a:pt x="12716" y="12029"/>
                  </a:cubicBezTo>
                  <a:cubicBezTo>
                    <a:pt x="12738" y="12156"/>
                    <a:pt x="12769" y="12267"/>
                    <a:pt x="12902" y="12283"/>
                  </a:cubicBezTo>
                  <a:cubicBezTo>
                    <a:pt x="13012" y="12299"/>
                    <a:pt x="13118" y="12336"/>
                    <a:pt x="13225" y="12352"/>
                  </a:cubicBezTo>
                  <a:cubicBezTo>
                    <a:pt x="13247" y="12357"/>
                    <a:pt x="13256" y="12304"/>
                    <a:pt x="13269" y="12272"/>
                  </a:cubicBezTo>
                  <a:close/>
                  <a:moveTo>
                    <a:pt x="9027" y="17581"/>
                  </a:moveTo>
                  <a:cubicBezTo>
                    <a:pt x="9009" y="17618"/>
                    <a:pt x="8960" y="17671"/>
                    <a:pt x="9018" y="17713"/>
                  </a:cubicBezTo>
                  <a:cubicBezTo>
                    <a:pt x="9106" y="17782"/>
                    <a:pt x="9186" y="17872"/>
                    <a:pt x="9296" y="17877"/>
                  </a:cubicBezTo>
                  <a:cubicBezTo>
                    <a:pt x="9611" y="17883"/>
                    <a:pt x="9929" y="17877"/>
                    <a:pt x="10279" y="17925"/>
                  </a:cubicBezTo>
                  <a:cubicBezTo>
                    <a:pt x="10163" y="17740"/>
                    <a:pt x="10075" y="17592"/>
                    <a:pt x="9987" y="17443"/>
                  </a:cubicBezTo>
                  <a:cubicBezTo>
                    <a:pt x="9956" y="17390"/>
                    <a:pt x="9911" y="17375"/>
                    <a:pt x="9863" y="17375"/>
                  </a:cubicBezTo>
                  <a:cubicBezTo>
                    <a:pt x="9637" y="17364"/>
                    <a:pt x="9411" y="17353"/>
                    <a:pt x="9186" y="17348"/>
                  </a:cubicBezTo>
                  <a:cubicBezTo>
                    <a:pt x="9066" y="17343"/>
                    <a:pt x="9071" y="17491"/>
                    <a:pt x="9027" y="17581"/>
                  </a:cubicBezTo>
                  <a:close/>
                  <a:moveTo>
                    <a:pt x="9195" y="2973"/>
                  </a:moveTo>
                  <a:cubicBezTo>
                    <a:pt x="9544" y="3031"/>
                    <a:pt x="9836" y="2840"/>
                    <a:pt x="10124" y="2639"/>
                  </a:cubicBezTo>
                  <a:cubicBezTo>
                    <a:pt x="9770" y="2676"/>
                    <a:pt x="9434" y="2629"/>
                    <a:pt x="9124" y="2412"/>
                  </a:cubicBezTo>
                  <a:cubicBezTo>
                    <a:pt x="9115" y="2406"/>
                    <a:pt x="9097" y="2406"/>
                    <a:pt x="9084" y="2406"/>
                  </a:cubicBezTo>
                  <a:cubicBezTo>
                    <a:pt x="8894" y="2332"/>
                    <a:pt x="8721" y="2232"/>
                    <a:pt x="8580" y="2062"/>
                  </a:cubicBezTo>
                  <a:cubicBezTo>
                    <a:pt x="8575" y="2438"/>
                    <a:pt x="8894" y="2920"/>
                    <a:pt x="9195" y="2973"/>
                  </a:cubicBezTo>
                  <a:close/>
                  <a:moveTo>
                    <a:pt x="8748" y="2936"/>
                  </a:moveTo>
                  <a:cubicBezTo>
                    <a:pt x="8642" y="2846"/>
                    <a:pt x="8567" y="2740"/>
                    <a:pt x="8478" y="2623"/>
                  </a:cubicBezTo>
                  <a:cubicBezTo>
                    <a:pt x="8337" y="2936"/>
                    <a:pt x="8337" y="3227"/>
                    <a:pt x="8456" y="3539"/>
                  </a:cubicBezTo>
                  <a:cubicBezTo>
                    <a:pt x="8549" y="3327"/>
                    <a:pt x="8549" y="3073"/>
                    <a:pt x="8748" y="2936"/>
                  </a:cubicBezTo>
                  <a:close/>
                  <a:moveTo>
                    <a:pt x="15883" y="7847"/>
                  </a:moveTo>
                  <a:cubicBezTo>
                    <a:pt x="15795" y="7858"/>
                    <a:pt x="15702" y="7869"/>
                    <a:pt x="15613" y="7879"/>
                  </a:cubicBezTo>
                  <a:cubicBezTo>
                    <a:pt x="15635" y="8059"/>
                    <a:pt x="15657" y="8244"/>
                    <a:pt x="15684" y="8424"/>
                  </a:cubicBezTo>
                  <a:cubicBezTo>
                    <a:pt x="15755" y="8223"/>
                    <a:pt x="15865" y="8054"/>
                    <a:pt x="15883" y="7847"/>
                  </a:cubicBezTo>
                  <a:close/>
                  <a:moveTo>
                    <a:pt x="12711" y="19253"/>
                  </a:moveTo>
                  <a:cubicBezTo>
                    <a:pt x="12778" y="19243"/>
                    <a:pt x="12844" y="19232"/>
                    <a:pt x="12910" y="19222"/>
                  </a:cubicBezTo>
                  <a:cubicBezTo>
                    <a:pt x="12588" y="19142"/>
                    <a:pt x="12406" y="19201"/>
                    <a:pt x="12327" y="19423"/>
                  </a:cubicBezTo>
                  <a:cubicBezTo>
                    <a:pt x="12450" y="19423"/>
                    <a:pt x="12574" y="19423"/>
                    <a:pt x="12694" y="19423"/>
                  </a:cubicBezTo>
                  <a:cubicBezTo>
                    <a:pt x="12667" y="19375"/>
                    <a:pt x="12574" y="19449"/>
                    <a:pt x="12579" y="19343"/>
                  </a:cubicBezTo>
                  <a:cubicBezTo>
                    <a:pt x="12588" y="19243"/>
                    <a:pt x="12658" y="19264"/>
                    <a:pt x="12711" y="19253"/>
                  </a:cubicBezTo>
                  <a:close/>
                  <a:moveTo>
                    <a:pt x="9442" y="21513"/>
                  </a:moveTo>
                  <a:cubicBezTo>
                    <a:pt x="9257" y="21513"/>
                    <a:pt x="9075" y="21513"/>
                    <a:pt x="8890" y="21513"/>
                  </a:cubicBezTo>
                  <a:cubicBezTo>
                    <a:pt x="9261" y="21540"/>
                    <a:pt x="9633" y="21540"/>
                    <a:pt x="10004" y="21513"/>
                  </a:cubicBezTo>
                  <a:cubicBezTo>
                    <a:pt x="9872" y="21503"/>
                    <a:pt x="9739" y="21492"/>
                    <a:pt x="9611" y="21482"/>
                  </a:cubicBezTo>
                  <a:cubicBezTo>
                    <a:pt x="9557" y="21524"/>
                    <a:pt x="9500" y="21513"/>
                    <a:pt x="9442" y="21513"/>
                  </a:cubicBezTo>
                  <a:close/>
                  <a:moveTo>
                    <a:pt x="4355" y="21439"/>
                  </a:moveTo>
                  <a:cubicBezTo>
                    <a:pt x="4271" y="21434"/>
                    <a:pt x="4187" y="21434"/>
                    <a:pt x="4112" y="21498"/>
                  </a:cubicBezTo>
                  <a:cubicBezTo>
                    <a:pt x="4439" y="21498"/>
                    <a:pt x="4767" y="21498"/>
                    <a:pt x="5099" y="21498"/>
                  </a:cubicBezTo>
                  <a:cubicBezTo>
                    <a:pt x="5045" y="21492"/>
                    <a:pt x="4997" y="21492"/>
                    <a:pt x="4944" y="21487"/>
                  </a:cubicBezTo>
                  <a:cubicBezTo>
                    <a:pt x="4745" y="21471"/>
                    <a:pt x="4546" y="21508"/>
                    <a:pt x="4355" y="21439"/>
                  </a:cubicBezTo>
                  <a:close/>
                </a:path>
              </a:pathLst>
            </a:custGeom>
            <a:solidFill>
              <a:schemeClr val="accent6"/>
            </a:solidFill>
            <a:ln>
              <a:noFill/>
            </a:ln>
          </p:spPr>
          <p:txBody>
            <a:bodyPr spcFirstLastPara="1" wrap="square" lIns="38100" tIns="38100" rIns="38100" bIns="381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96" name="TextBox 95">
            <a:extLst>
              <a:ext uri="{FF2B5EF4-FFF2-40B4-BE49-F238E27FC236}">
                <a16:creationId xmlns:a16="http://schemas.microsoft.com/office/drawing/2014/main" id="{1BACE802-348E-028D-7BDF-60D54873EF4D}"/>
              </a:ext>
            </a:extLst>
          </p:cNvPr>
          <p:cNvSpPr txBox="1"/>
          <p:nvPr/>
        </p:nvSpPr>
        <p:spPr>
          <a:xfrm>
            <a:off x="384048" y="6457169"/>
            <a:ext cx="7550726" cy="276999"/>
          </a:xfrm>
          <a:prstGeom prst="rect">
            <a:avLst/>
          </a:prstGeom>
          <a:noFill/>
        </p:spPr>
        <p:txBody>
          <a:bodyPr wrap="square" rtlCol="0">
            <a:spAutoFit/>
          </a:bodyPr>
          <a:lstStyle/>
          <a:p>
            <a:r>
              <a:rPr lang="en-US" sz="1200"/>
              <a:t>Real scenario with client requiring careful and methodical strategy when deploying agents.</a:t>
            </a:r>
          </a:p>
        </p:txBody>
      </p:sp>
    </p:spTree>
    <p:extLst>
      <p:ext uri="{BB962C8B-B14F-4D97-AF65-F5344CB8AC3E}">
        <p14:creationId xmlns:p14="http://schemas.microsoft.com/office/powerpoint/2010/main" val="208144056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7323D954-A5BA-0430-A50E-939CA465530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9F34BC7-70ED-4E59-C3C3-D4CDD026FC27}"/>
              </a:ext>
            </a:extLst>
          </p:cNvPr>
          <p:cNvSpPr>
            <a:spLocks noGrp="1"/>
          </p:cNvSpPr>
          <p:nvPr>
            <p:ph type="title"/>
          </p:nvPr>
        </p:nvSpPr>
        <p:spPr/>
        <p:txBody>
          <a:bodyPr/>
          <a:lstStyle/>
          <a:p>
            <a:r>
              <a:rPr lang="en-US"/>
              <a:t>Tools as Building Blocks: Demystifying Digital Capabilities</a:t>
            </a:r>
          </a:p>
        </p:txBody>
      </p:sp>
      <p:grpSp>
        <p:nvGrpSpPr>
          <p:cNvPr id="28" name="Group 27">
            <a:extLst>
              <a:ext uri="{FF2B5EF4-FFF2-40B4-BE49-F238E27FC236}">
                <a16:creationId xmlns:a16="http://schemas.microsoft.com/office/drawing/2014/main" id="{2804A6C4-1F8F-3C03-235A-267286961805}"/>
              </a:ext>
            </a:extLst>
          </p:cNvPr>
          <p:cNvGrpSpPr>
            <a:grpSpLocks noChangeAspect="1"/>
          </p:cNvGrpSpPr>
          <p:nvPr/>
        </p:nvGrpSpPr>
        <p:grpSpPr>
          <a:xfrm>
            <a:off x="7948597" y="3215996"/>
            <a:ext cx="1768407" cy="1730989"/>
            <a:chOff x="3330716" y="1521496"/>
            <a:chExt cx="5059514" cy="4952456"/>
          </a:xfrm>
        </p:grpSpPr>
        <p:grpSp>
          <p:nvGrpSpPr>
            <p:cNvPr id="3" name="Group 2">
              <a:extLst>
                <a:ext uri="{FF2B5EF4-FFF2-40B4-BE49-F238E27FC236}">
                  <a16:creationId xmlns:a16="http://schemas.microsoft.com/office/drawing/2014/main" id="{D22DFC50-E0B4-FADB-F37E-4041E0AE6A80}"/>
                </a:ext>
              </a:extLst>
            </p:cNvPr>
            <p:cNvGrpSpPr/>
            <p:nvPr/>
          </p:nvGrpSpPr>
          <p:grpSpPr>
            <a:xfrm>
              <a:off x="3330716" y="1521496"/>
              <a:ext cx="5059514" cy="4952456"/>
              <a:chOff x="3566243" y="902537"/>
              <a:chExt cx="5059514" cy="4952456"/>
            </a:xfrm>
          </p:grpSpPr>
          <p:grpSp>
            <p:nvGrpSpPr>
              <p:cNvPr id="4" name="Group 3">
                <a:extLst>
                  <a:ext uri="{FF2B5EF4-FFF2-40B4-BE49-F238E27FC236}">
                    <a16:creationId xmlns:a16="http://schemas.microsoft.com/office/drawing/2014/main" id="{A036D0DA-CA3E-C82F-2020-1AF40AC9905B}"/>
                  </a:ext>
                </a:extLst>
              </p:cNvPr>
              <p:cNvGrpSpPr/>
              <p:nvPr/>
            </p:nvGrpSpPr>
            <p:grpSpPr>
              <a:xfrm>
                <a:off x="3566243" y="2973249"/>
                <a:ext cx="2529754" cy="2881744"/>
                <a:chOff x="3566243" y="2973249"/>
                <a:chExt cx="2529754" cy="2881744"/>
              </a:xfrm>
            </p:grpSpPr>
            <p:sp>
              <p:nvSpPr>
                <p:cNvPr id="11" name="Freeform 10">
                  <a:extLst>
                    <a:ext uri="{FF2B5EF4-FFF2-40B4-BE49-F238E27FC236}">
                      <a16:creationId xmlns:a16="http://schemas.microsoft.com/office/drawing/2014/main" id="{508A31EF-920F-DF0B-93B4-464D4AD2879F}"/>
                    </a:ext>
                  </a:extLst>
                </p:cNvPr>
                <p:cNvSpPr/>
                <p:nvPr/>
              </p:nvSpPr>
              <p:spPr>
                <a:xfrm>
                  <a:off x="3566243" y="2973249"/>
                  <a:ext cx="2529754" cy="2881744"/>
                </a:xfrm>
                <a:custGeom>
                  <a:avLst/>
                  <a:gdLst>
                    <a:gd name="connsiteX0" fmla="*/ 249509 w 499699"/>
                    <a:gd name="connsiteY0" fmla="*/ 0 h 569227"/>
                    <a:gd name="connsiteX1" fmla="*/ 0 w 499699"/>
                    <a:gd name="connsiteY1" fmla="*/ 160202 h 569227"/>
                    <a:gd name="connsiteX2" fmla="*/ 0 w 499699"/>
                    <a:gd name="connsiteY2" fmla="*/ 408344 h 569227"/>
                    <a:gd name="connsiteX3" fmla="*/ 249509 w 499699"/>
                    <a:gd name="connsiteY3" fmla="*/ 569228 h 569227"/>
                    <a:gd name="connsiteX4" fmla="*/ 499700 w 499699"/>
                    <a:gd name="connsiteY4" fmla="*/ 408344 h 569227"/>
                    <a:gd name="connsiteX5" fmla="*/ 499700 w 499699"/>
                    <a:gd name="connsiteY5" fmla="*/ 160202 h 569227"/>
                    <a:gd name="connsiteX6" fmla="*/ 249509 w 499699"/>
                    <a:gd name="connsiteY6" fmla="*/ 0 h 569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9699" h="569227">
                      <a:moveTo>
                        <a:pt x="249509" y="0"/>
                      </a:moveTo>
                      <a:lnTo>
                        <a:pt x="0" y="160202"/>
                      </a:lnTo>
                      <a:lnTo>
                        <a:pt x="0" y="408344"/>
                      </a:lnTo>
                      <a:lnTo>
                        <a:pt x="249509" y="569228"/>
                      </a:lnTo>
                      <a:lnTo>
                        <a:pt x="499700" y="408344"/>
                      </a:lnTo>
                      <a:lnTo>
                        <a:pt x="499700" y="160202"/>
                      </a:lnTo>
                      <a:lnTo>
                        <a:pt x="249509" y="0"/>
                      </a:lnTo>
                      <a:close/>
                    </a:path>
                  </a:pathLst>
                </a:custGeom>
                <a:solidFill>
                  <a:schemeClr val="accent1">
                    <a:lumMod val="75000"/>
                  </a:schemeClr>
                </a:solidFill>
                <a:ln w="6814"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51DCF30C-BF92-92CF-2EEF-BD6F03FDEE97}"/>
                    </a:ext>
                  </a:extLst>
                </p:cNvPr>
                <p:cNvSpPr/>
                <p:nvPr/>
              </p:nvSpPr>
              <p:spPr>
                <a:xfrm>
                  <a:off x="3566243" y="2973249"/>
                  <a:ext cx="2529754" cy="1625511"/>
                </a:xfrm>
                <a:custGeom>
                  <a:avLst/>
                  <a:gdLst>
                    <a:gd name="connsiteX0" fmla="*/ 249509 w 499699"/>
                    <a:gd name="connsiteY0" fmla="*/ 0 h 321085"/>
                    <a:gd name="connsiteX1" fmla="*/ 499700 w 499699"/>
                    <a:gd name="connsiteY1" fmla="*/ 160202 h 321085"/>
                    <a:gd name="connsiteX2" fmla="*/ 249509 w 499699"/>
                    <a:gd name="connsiteY2" fmla="*/ 321085 h 321085"/>
                    <a:gd name="connsiteX3" fmla="*/ 0 w 499699"/>
                    <a:gd name="connsiteY3" fmla="*/ 160202 h 321085"/>
                    <a:gd name="connsiteX4" fmla="*/ 249509 w 499699"/>
                    <a:gd name="connsiteY4" fmla="*/ 0 h 3210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9699" h="321085">
                      <a:moveTo>
                        <a:pt x="249509" y="0"/>
                      </a:moveTo>
                      <a:lnTo>
                        <a:pt x="499700" y="160202"/>
                      </a:lnTo>
                      <a:lnTo>
                        <a:pt x="249509" y="321085"/>
                      </a:lnTo>
                      <a:lnTo>
                        <a:pt x="0" y="160202"/>
                      </a:lnTo>
                      <a:lnTo>
                        <a:pt x="249509" y="0"/>
                      </a:lnTo>
                      <a:close/>
                    </a:path>
                  </a:pathLst>
                </a:custGeom>
                <a:solidFill>
                  <a:schemeClr val="accent1"/>
                </a:solidFill>
                <a:ln w="6814" cap="flat">
                  <a:noFill/>
                  <a:prstDash val="solid"/>
                  <a:miter/>
                </a:ln>
              </p:spPr>
              <p:txBody>
                <a:bodyPr rtlCol="0" anchor="ctr"/>
                <a:lstStyle/>
                <a:p>
                  <a:endParaRPr lang="en-US"/>
                </a:p>
              </p:txBody>
            </p:sp>
          </p:grpSp>
          <p:grpSp>
            <p:nvGrpSpPr>
              <p:cNvPr id="5" name="Group 4">
                <a:extLst>
                  <a:ext uri="{FF2B5EF4-FFF2-40B4-BE49-F238E27FC236}">
                    <a16:creationId xmlns:a16="http://schemas.microsoft.com/office/drawing/2014/main" id="{4A967075-AC0F-74B0-1DD2-01B5B978B63F}"/>
                  </a:ext>
                </a:extLst>
              </p:cNvPr>
              <p:cNvGrpSpPr/>
              <p:nvPr/>
            </p:nvGrpSpPr>
            <p:grpSpPr>
              <a:xfrm>
                <a:off x="6096003" y="2973249"/>
                <a:ext cx="2529754" cy="2881744"/>
                <a:chOff x="6096003" y="2973249"/>
                <a:chExt cx="2529754" cy="2881744"/>
              </a:xfrm>
            </p:grpSpPr>
            <p:sp>
              <p:nvSpPr>
                <p:cNvPr id="9" name="Freeform 8">
                  <a:extLst>
                    <a:ext uri="{FF2B5EF4-FFF2-40B4-BE49-F238E27FC236}">
                      <a16:creationId xmlns:a16="http://schemas.microsoft.com/office/drawing/2014/main" id="{6AF386F8-09ED-5DB0-F085-8D4E50C0DB98}"/>
                    </a:ext>
                  </a:extLst>
                </p:cNvPr>
                <p:cNvSpPr/>
                <p:nvPr/>
              </p:nvSpPr>
              <p:spPr>
                <a:xfrm>
                  <a:off x="6096003" y="2973249"/>
                  <a:ext cx="2529754" cy="2881744"/>
                </a:xfrm>
                <a:custGeom>
                  <a:avLst/>
                  <a:gdLst>
                    <a:gd name="connsiteX0" fmla="*/ 249509 w 499699"/>
                    <a:gd name="connsiteY0" fmla="*/ 0 h 569227"/>
                    <a:gd name="connsiteX1" fmla="*/ 0 w 499699"/>
                    <a:gd name="connsiteY1" fmla="*/ 160202 h 569227"/>
                    <a:gd name="connsiteX2" fmla="*/ 0 w 499699"/>
                    <a:gd name="connsiteY2" fmla="*/ 408344 h 569227"/>
                    <a:gd name="connsiteX3" fmla="*/ 249509 w 499699"/>
                    <a:gd name="connsiteY3" fmla="*/ 569228 h 569227"/>
                    <a:gd name="connsiteX4" fmla="*/ 499700 w 499699"/>
                    <a:gd name="connsiteY4" fmla="*/ 408344 h 569227"/>
                    <a:gd name="connsiteX5" fmla="*/ 499700 w 499699"/>
                    <a:gd name="connsiteY5" fmla="*/ 160202 h 569227"/>
                    <a:gd name="connsiteX6" fmla="*/ 249509 w 499699"/>
                    <a:gd name="connsiteY6" fmla="*/ 0 h 569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9699" h="569227">
                      <a:moveTo>
                        <a:pt x="249509" y="0"/>
                      </a:moveTo>
                      <a:lnTo>
                        <a:pt x="0" y="160202"/>
                      </a:lnTo>
                      <a:lnTo>
                        <a:pt x="0" y="408344"/>
                      </a:lnTo>
                      <a:lnTo>
                        <a:pt x="249509" y="569228"/>
                      </a:lnTo>
                      <a:lnTo>
                        <a:pt x="499700" y="408344"/>
                      </a:lnTo>
                      <a:lnTo>
                        <a:pt x="499700" y="160202"/>
                      </a:lnTo>
                      <a:lnTo>
                        <a:pt x="249509" y="0"/>
                      </a:lnTo>
                      <a:close/>
                    </a:path>
                  </a:pathLst>
                </a:custGeom>
                <a:solidFill>
                  <a:schemeClr val="accent2">
                    <a:lumMod val="75000"/>
                  </a:schemeClr>
                </a:solidFill>
                <a:ln w="6814"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280F9D0E-1F6C-29B0-FBB7-6F6602E42737}"/>
                    </a:ext>
                  </a:extLst>
                </p:cNvPr>
                <p:cNvSpPr/>
                <p:nvPr/>
              </p:nvSpPr>
              <p:spPr>
                <a:xfrm>
                  <a:off x="6096003" y="2973249"/>
                  <a:ext cx="2529754" cy="1625511"/>
                </a:xfrm>
                <a:custGeom>
                  <a:avLst/>
                  <a:gdLst>
                    <a:gd name="connsiteX0" fmla="*/ 249509 w 499699"/>
                    <a:gd name="connsiteY0" fmla="*/ 0 h 321085"/>
                    <a:gd name="connsiteX1" fmla="*/ 499700 w 499699"/>
                    <a:gd name="connsiteY1" fmla="*/ 160202 h 321085"/>
                    <a:gd name="connsiteX2" fmla="*/ 249509 w 499699"/>
                    <a:gd name="connsiteY2" fmla="*/ 321085 h 321085"/>
                    <a:gd name="connsiteX3" fmla="*/ 0 w 499699"/>
                    <a:gd name="connsiteY3" fmla="*/ 160202 h 321085"/>
                    <a:gd name="connsiteX4" fmla="*/ 249509 w 499699"/>
                    <a:gd name="connsiteY4" fmla="*/ 0 h 3210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9699" h="321085">
                      <a:moveTo>
                        <a:pt x="249509" y="0"/>
                      </a:moveTo>
                      <a:lnTo>
                        <a:pt x="499700" y="160202"/>
                      </a:lnTo>
                      <a:lnTo>
                        <a:pt x="249509" y="321085"/>
                      </a:lnTo>
                      <a:lnTo>
                        <a:pt x="0" y="160202"/>
                      </a:lnTo>
                      <a:lnTo>
                        <a:pt x="249509" y="0"/>
                      </a:lnTo>
                      <a:close/>
                    </a:path>
                  </a:pathLst>
                </a:custGeom>
                <a:solidFill>
                  <a:schemeClr val="accent2"/>
                </a:solidFill>
                <a:ln w="6814" cap="flat">
                  <a:noFill/>
                  <a:prstDash val="solid"/>
                  <a:miter/>
                </a:ln>
              </p:spPr>
              <p:txBody>
                <a:bodyPr rtlCol="0" anchor="ctr"/>
                <a:lstStyle/>
                <a:p>
                  <a:endParaRPr lang="en-US"/>
                </a:p>
              </p:txBody>
            </p:sp>
          </p:grpSp>
          <p:grpSp>
            <p:nvGrpSpPr>
              <p:cNvPr id="6" name="Group 5">
                <a:extLst>
                  <a:ext uri="{FF2B5EF4-FFF2-40B4-BE49-F238E27FC236}">
                    <a16:creationId xmlns:a16="http://schemas.microsoft.com/office/drawing/2014/main" id="{9129A836-2F14-481A-F9D2-1858F8501624}"/>
                  </a:ext>
                </a:extLst>
              </p:cNvPr>
              <p:cNvGrpSpPr/>
              <p:nvPr/>
            </p:nvGrpSpPr>
            <p:grpSpPr>
              <a:xfrm>
                <a:off x="4829396" y="902537"/>
                <a:ext cx="2529754" cy="2881744"/>
                <a:chOff x="4829396" y="902537"/>
                <a:chExt cx="2529754" cy="2881744"/>
              </a:xfrm>
            </p:grpSpPr>
            <p:sp>
              <p:nvSpPr>
                <p:cNvPr id="7" name="Freeform 6">
                  <a:extLst>
                    <a:ext uri="{FF2B5EF4-FFF2-40B4-BE49-F238E27FC236}">
                      <a16:creationId xmlns:a16="http://schemas.microsoft.com/office/drawing/2014/main" id="{E08FE1B8-2482-C400-0669-E89BC1104F1D}"/>
                    </a:ext>
                  </a:extLst>
                </p:cNvPr>
                <p:cNvSpPr/>
                <p:nvPr/>
              </p:nvSpPr>
              <p:spPr>
                <a:xfrm>
                  <a:off x="4829396" y="902537"/>
                  <a:ext cx="2529754" cy="2881744"/>
                </a:xfrm>
                <a:custGeom>
                  <a:avLst/>
                  <a:gdLst>
                    <a:gd name="connsiteX0" fmla="*/ 250191 w 499699"/>
                    <a:gd name="connsiteY0" fmla="*/ 0 h 569227"/>
                    <a:gd name="connsiteX1" fmla="*/ 0 w 499699"/>
                    <a:gd name="connsiteY1" fmla="*/ 160202 h 569227"/>
                    <a:gd name="connsiteX2" fmla="*/ 0 w 499699"/>
                    <a:gd name="connsiteY2" fmla="*/ 409026 h 569227"/>
                    <a:gd name="connsiteX3" fmla="*/ 250191 w 499699"/>
                    <a:gd name="connsiteY3" fmla="*/ 569228 h 569227"/>
                    <a:gd name="connsiteX4" fmla="*/ 499700 w 499699"/>
                    <a:gd name="connsiteY4" fmla="*/ 409026 h 569227"/>
                    <a:gd name="connsiteX5" fmla="*/ 499700 w 499699"/>
                    <a:gd name="connsiteY5" fmla="*/ 160202 h 569227"/>
                    <a:gd name="connsiteX6" fmla="*/ 250191 w 499699"/>
                    <a:gd name="connsiteY6" fmla="*/ 0 h 569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9699" h="569227">
                      <a:moveTo>
                        <a:pt x="250191" y="0"/>
                      </a:moveTo>
                      <a:lnTo>
                        <a:pt x="0" y="160202"/>
                      </a:lnTo>
                      <a:lnTo>
                        <a:pt x="0" y="409026"/>
                      </a:lnTo>
                      <a:lnTo>
                        <a:pt x="250191" y="569228"/>
                      </a:lnTo>
                      <a:lnTo>
                        <a:pt x="499700" y="409026"/>
                      </a:lnTo>
                      <a:lnTo>
                        <a:pt x="499700" y="160202"/>
                      </a:lnTo>
                      <a:lnTo>
                        <a:pt x="250191" y="0"/>
                      </a:lnTo>
                      <a:close/>
                    </a:path>
                  </a:pathLst>
                </a:custGeom>
                <a:solidFill>
                  <a:schemeClr val="accent4">
                    <a:lumMod val="75000"/>
                  </a:schemeClr>
                </a:solidFill>
                <a:ln w="6814"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0AB17704-647D-1B59-BFD0-AF28D09C15D3}"/>
                    </a:ext>
                  </a:extLst>
                </p:cNvPr>
                <p:cNvSpPr/>
                <p:nvPr/>
              </p:nvSpPr>
              <p:spPr>
                <a:xfrm>
                  <a:off x="4829396" y="902537"/>
                  <a:ext cx="2529754" cy="1625511"/>
                </a:xfrm>
                <a:custGeom>
                  <a:avLst/>
                  <a:gdLst>
                    <a:gd name="connsiteX0" fmla="*/ 250191 w 499699"/>
                    <a:gd name="connsiteY0" fmla="*/ 0 h 321085"/>
                    <a:gd name="connsiteX1" fmla="*/ 499700 w 499699"/>
                    <a:gd name="connsiteY1" fmla="*/ 160202 h 321085"/>
                    <a:gd name="connsiteX2" fmla="*/ 250191 w 499699"/>
                    <a:gd name="connsiteY2" fmla="*/ 321085 h 321085"/>
                    <a:gd name="connsiteX3" fmla="*/ 0 w 499699"/>
                    <a:gd name="connsiteY3" fmla="*/ 160202 h 321085"/>
                    <a:gd name="connsiteX4" fmla="*/ 250191 w 499699"/>
                    <a:gd name="connsiteY4" fmla="*/ 0 h 3210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9699" h="321085">
                      <a:moveTo>
                        <a:pt x="250191" y="0"/>
                      </a:moveTo>
                      <a:lnTo>
                        <a:pt x="499700" y="160202"/>
                      </a:lnTo>
                      <a:lnTo>
                        <a:pt x="250191" y="321085"/>
                      </a:lnTo>
                      <a:lnTo>
                        <a:pt x="0" y="160202"/>
                      </a:lnTo>
                      <a:lnTo>
                        <a:pt x="250191" y="0"/>
                      </a:lnTo>
                      <a:close/>
                    </a:path>
                  </a:pathLst>
                </a:custGeom>
                <a:solidFill>
                  <a:schemeClr val="accent4"/>
                </a:solidFill>
                <a:ln w="6814" cap="flat">
                  <a:noFill/>
                  <a:prstDash val="solid"/>
                  <a:miter/>
                </a:ln>
              </p:spPr>
              <p:txBody>
                <a:bodyPr rtlCol="0" anchor="ctr"/>
                <a:lstStyle/>
                <a:p>
                  <a:endParaRPr lang="en-US"/>
                </a:p>
              </p:txBody>
            </p:sp>
          </p:grpSp>
        </p:grpSp>
        <p:pic>
          <p:nvPicPr>
            <p:cNvPr id="25" name="Graphic 24" descr="Puzzle with solid fill">
              <a:extLst>
                <a:ext uri="{FF2B5EF4-FFF2-40B4-BE49-F238E27FC236}">
                  <a16:creationId xmlns:a16="http://schemas.microsoft.com/office/drawing/2014/main" id="{7AB3CF74-4364-D260-2C62-CF4E964C7AA0}"/>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5403273" y="1877051"/>
              <a:ext cx="914400" cy="914400"/>
            </a:xfrm>
            <a:prstGeom prst="rect">
              <a:avLst/>
            </a:prstGeom>
            <a:effectLst>
              <a:outerShdw blurRad="50800" dist="38100" dir="2700000" algn="tl" rotWithShape="0">
                <a:prstClr val="black">
                  <a:alpha val="40000"/>
                </a:prstClr>
              </a:outerShdw>
            </a:effectLst>
            <a:scene3d>
              <a:camera prst="perspectiveRelaxedModerately"/>
              <a:lightRig rig="threePt" dir="t"/>
            </a:scene3d>
          </p:spPr>
        </p:pic>
        <p:pic>
          <p:nvPicPr>
            <p:cNvPr id="26" name="Graphic 25" descr="Lights On with solid fill">
              <a:extLst>
                <a:ext uri="{FF2B5EF4-FFF2-40B4-BE49-F238E27FC236}">
                  <a16:creationId xmlns:a16="http://schemas.microsoft.com/office/drawing/2014/main" id="{00039523-831E-656B-8BB2-15838D5145FE}"/>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4137681" y="3946040"/>
              <a:ext cx="914400" cy="914400"/>
            </a:xfrm>
            <a:prstGeom prst="rect">
              <a:avLst/>
            </a:prstGeom>
            <a:effectLst>
              <a:outerShdw blurRad="50800" dist="38100" dir="2700000" algn="tl" rotWithShape="0">
                <a:prstClr val="black">
                  <a:alpha val="40000"/>
                </a:prstClr>
              </a:outerShdw>
            </a:effectLst>
            <a:scene3d>
              <a:camera prst="perspectiveRelaxedModerately"/>
              <a:lightRig rig="threePt" dir="t"/>
            </a:scene3d>
          </p:spPr>
        </p:pic>
        <p:pic>
          <p:nvPicPr>
            <p:cNvPr id="27" name="Graphic 26" descr="Shield Tick with solid fill">
              <a:extLst>
                <a:ext uri="{FF2B5EF4-FFF2-40B4-BE49-F238E27FC236}">
                  <a16:creationId xmlns:a16="http://schemas.microsoft.com/office/drawing/2014/main" id="{6EB774F5-3159-DCE5-739A-432FE6F7939B}"/>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6667435" y="3946040"/>
              <a:ext cx="914400" cy="914400"/>
            </a:xfrm>
            <a:prstGeom prst="rect">
              <a:avLst/>
            </a:prstGeom>
            <a:effectLst>
              <a:outerShdw blurRad="50800" dist="38100" dir="2700000" algn="tl" rotWithShape="0">
                <a:prstClr val="black">
                  <a:alpha val="40000"/>
                </a:prstClr>
              </a:outerShdw>
            </a:effectLst>
            <a:scene3d>
              <a:camera prst="perspectiveRelaxedModerately"/>
              <a:lightRig rig="threePt" dir="t"/>
            </a:scene3d>
          </p:spPr>
        </p:pic>
      </p:grpSp>
      <p:grpSp>
        <p:nvGrpSpPr>
          <p:cNvPr id="70" name="Group 69">
            <a:extLst>
              <a:ext uri="{FF2B5EF4-FFF2-40B4-BE49-F238E27FC236}">
                <a16:creationId xmlns:a16="http://schemas.microsoft.com/office/drawing/2014/main" id="{6BDC7F3A-F17B-64B8-7078-611CD0A8EA27}"/>
              </a:ext>
            </a:extLst>
          </p:cNvPr>
          <p:cNvGrpSpPr>
            <a:grpSpLocks noChangeAspect="1"/>
          </p:cNvGrpSpPr>
          <p:nvPr/>
        </p:nvGrpSpPr>
        <p:grpSpPr>
          <a:xfrm>
            <a:off x="7910945" y="1745592"/>
            <a:ext cx="3560618" cy="3201393"/>
            <a:chOff x="3227589" y="1521491"/>
            <a:chExt cx="5508172" cy="4952461"/>
          </a:xfrm>
        </p:grpSpPr>
        <p:grpSp>
          <p:nvGrpSpPr>
            <p:cNvPr id="29" name="Group 28">
              <a:extLst>
                <a:ext uri="{FF2B5EF4-FFF2-40B4-BE49-F238E27FC236}">
                  <a16:creationId xmlns:a16="http://schemas.microsoft.com/office/drawing/2014/main" id="{F167FB08-760C-04D9-9CE3-A583A3F9B49E}"/>
                </a:ext>
              </a:extLst>
            </p:cNvPr>
            <p:cNvGrpSpPr/>
            <p:nvPr/>
          </p:nvGrpSpPr>
          <p:grpSpPr>
            <a:xfrm>
              <a:off x="3227589" y="1521491"/>
              <a:ext cx="5508172" cy="4952461"/>
              <a:chOff x="3341914" y="902531"/>
              <a:chExt cx="5508172" cy="4952461"/>
            </a:xfrm>
          </p:grpSpPr>
          <p:sp>
            <p:nvSpPr>
              <p:cNvPr id="30" name="Freeform 29">
                <a:extLst>
                  <a:ext uri="{FF2B5EF4-FFF2-40B4-BE49-F238E27FC236}">
                    <a16:creationId xmlns:a16="http://schemas.microsoft.com/office/drawing/2014/main" id="{66881478-DB91-866F-DC7B-42008B4792D8}"/>
                  </a:ext>
                </a:extLst>
              </p:cNvPr>
              <p:cNvSpPr/>
              <p:nvPr/>
            </p:nvSpPr>
            <p:spPr>
              <a:xfrm>
                <a:off x="3341914" y="4284703"/>
                <a:ext cx="1377040" cy="1570289"/>
              </a:xfrm>
              <a:custGeom>
                <a:avLst/>
                <a:gdLst>
                  <a:gd name="connsiteX0" fmla="*/ 135662 w 272005"/>
                  <a:gd name="connsiteY0" fmla="*/ 0 h 310177"/>
                  <a:gd name="connsiteX1" fmla="*/ 0 w 272005"/>
                  <a:gd name="connsiteY1" fmla="*/ 87941 h 310177"/>
                  <a:gd name="connsiteX2" fmla="*/ 0 w 272005"/>
                  <a:gd name="connsiteY2" fmla="*/ 222919 h 310177"/>
                  <a:gd name="connsiteX3" fmla="*/ 135662 w 272005"/>
                  <a:gd name="connsiteY3" fmla="*/ 310178 h 310177"/>
                  <a:gd name="connsiteX4" fmla="*/ 272005 w 272005"/>
                  <a:gd name="connsiteY4" fmla="*/ 222919 h 310177"/>
                  <a:gd name="connsiteX5" fmla="*/ 272005 w 272005"/>
                  <a:gd name="connsiteY5" fmla="*/ 87941 h 310177"/>
                  <a:gd name="connsiteX6" fmla="*/ 135662 w 272005"/>
                  <a:gd name="connsiteY6" fmla="*/ 0 h 310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2005" h="310177">
                    <a:moveTo>
                      <a:pt x="135662" y="0"/>
                    </a:moveTo>
                    <a:lnTo>
                      <a:pt x="0" y="87941"/>
                    </a:lnTo>
                    <a:lnTo>
                      <a:pt x="0" y="222919"/>
                    </a:lnTo>
                    <a:lnTo>
                      <a:pt x="135662" y="310178"/>
                    </a:lnTo>
                    <a:lnTo>
                      <a:pt x="272005" y="222919"/>
                    </a:lnTo>
                    <a:lnTo>
                      <a:pt x="272005" y="87941"/>
                    </a:lnTo>
                    <a:lnTo>
                      <a:pt x="135662" y="0"/>
                    </a:lnTo>
                    <a:close/>
                  </a:path>
                </a:pathLst>
              </a:custGeom>
              <a:solidFill>
                <a:schemeClr val="accent1">
                  <a:lumMod val="75000"/>
                </a:schemeClr>
              </a:solidFill>
              <a:ln w="6814"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F0F477C6-09DC-0387-EF24-7AE4C16E81D7}"/>
                  </a:ext>
                </a:extLst>
              </p:cNvPr>
              <p:cNvSpPr/>
              <p:nvPr/>
            </p:nvSpPr>
            <p:spPr>
              <a:xfrm>
                <a:off x="3341914" y="4284703"/>
                <a:ext cx="1377040" cy="886955"/>
              </a:xfrm>
              <a:custGeom>
                <a:avLst/>
                <a:gdLst>
                  <a:gd name="connsiteX0" fmla="*/ 135662 w 272005"/>
                  <a:gd name="connsiteY0" fmla="*/ 0 h 175199"/>
                  <a:gd name="connsiteX1" fmla="*/ 272005 w 272005"/>
                  <a:gd name="connsiteY1" fmla="*/ 87941 h 175199"/>
                  <a:gd name="connsiteX2" fmla="*/ 135662 w 272005"/>
                  <a:gd name="connsiteY2" fmla="*/ 175199 h 175199"/>
                  <a:gd name="connsiteX3" fmla="*/ 0 w 272005"/>
                  <a:gd name="connsiteY3" fmla="*/ 87941 h 175199"/>
                  <a:gd name="connsiteX4" fmla="*/ 135662 w 272005"/>
                  <a:gd name="connsiteY4" fmla="*/ 0 h 1751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2005" h="175199">
                    <a:moveTo>
                      <a:pt x="135662" y="0"/>
                    </a:moveTo>
                    <a:lnTo>
                      <a:pt x="272005" y="87941"/>
                    </a:lnTo>
                    <a:lnTo>
                      <a:pt x="135662" y="175199"/>
                    </a:lnTo>
                    <a:lnTo>
                      <a:pt x="0" y="87941"/>
                    </a:lnTo>
                    <a:lnTo>
                      <a:pt x="135662" y="0"/>
                    </a:lnTo>
                    <a:close/>
                  </a:path>
                </a:pathLst>
              </a:custGeom>
              <a:solidFill>
                <a:schemeClr val="accent1"/>
              </a:solidFill>
              <a:ln w="6814"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2107395E-A7BA-A202-4AD8-C8869D5797A5}"/>
                  </a:ext>
                </a:extLst>
              </p:cNvPr>
              <p:cNvSpPr/>
              <p:nvPr/>
            </p:nvSpPr>
            <p:spPr>
              <a:xfrm>
                <a:off x="4718954" y="4284703"/>
                <a:ext cx="1377040" cy="1570289"/>
              </a:xfrm>
              <a:custGeom>
                <a:avLst/>
                <a:gdLst>
                  <a:gd name="connsiteX0" fmla="*/ 135662 w 272005"/>
                  <a:gd name="connsiteY0" fmla="*/ 0 h 310177"/>
                  <a:gd name="connsiteX1" fmla="*/ 0 w 272005"/>
                  <a:gd name="connsiteY1" fmla="*/ 87941 h 310177"/>
                  <a:gd name="connsiteX2" fmla="*/ 0 w 272005"/>
                  <a:gd name="connsiteY2" fmla="*/ 222919 h 310177"/>
                  <a:gd name="connsiteX3" fmla="*/ 135662 w 272005"/>
                  <a:gd name="connsiteY3" fmla="*/ 310178 h 310177"/>
                  <a:gd name="connsiteX4" fmla="*/ 272006 w 272005"/>
                  <a:gd name="connsiteY4" fmla="*/ 222919 h 310177"/>
                  <a:gd name="connsiteX5" fmla="*/ 272006 w 272005"/>
                  <a:gd name="connsiteY5" fmla="*/ 87941 h 310177"/>
                  <a:gd name="connsiteX6" fmla="*/ 135662 w 272005"/>
                  <a:gd name="connsiteY6" fmla="*/ 0 h 310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2005" h="310177">
                    <a:moveTo>
                      <a:pt x="135662" y="0"/>
                    </a:moveTo>
                    <a:lnTo>
                      <a:pt x="0" y="87941"/>
                    </a:lnTo>
                    <a:lnTo>
                      <a:pt x="0" y="222919"/>
                    </a:lnTo>
                    <a:lnTo>
                      <a:pt x="135662" y="310178"/>
                    </a:lnTo>
                    <a:lnTo>
                      <a:pt x="272006" y="222919"/>
                    </a:lnTo>
                    <a:lnTo>
                      <a:pt x="272006" y="87941"/>
                    </a:lnTo>
                    <a:lnTo>
                      <a:pt x="135662" y="0"/>
                    </a:lnTo>
                    <a:close/>
                  </a:path>
                </a:pathLst>
              </a:custGeom>
              <a:solidFill>
                <a:schemeClr val="accent2">
                  <a:lumMod val="75000"/>
                </a:schemeClr>
              </a:solidFill>
              <a:ln w="6814" cap="flat">
                <a:noFill/>
                <a:prstDash val="solid"/>
                <a:miter/>
              </a:ln>
            </p:spPr>
            <p:txBody>
              <a:bodyPr rtlCol="0" anchor="ctr"/>
              <a:lstStyle/>
              <a:p>
                <a:endParaRPr lang="en-US"/>
              </a:p>
            </p:txBody>
          </p:sp>
          <p:sp>
            <p:nvSpPr>
              <p:cNvPr id="33" name="Freeform 32">
                <a:extLst>
                  <a:ext uri="{FF2B5EF4-FFF2-40B4-BE49-F238E27FC236}">
                    <a16:creationId xmlns:a16="http://schemas.microsoft.com/office/drawing/2014/main" id="{33AB6A4E-E3E9-4142-A244-CB9027C7BA74}"/>
                  </a:ext>
                </a:extLst>
              </p:cNvPr>
              <p:cNvSpPr/>
              <p:nvPr/>
            </p:nvSpPr>
            <p:spPr>
              <a:xfrm>
                <a:off x="4718954" y="4284703"/>
                <a:ext cx="1377040" cy="886955"/>
              </a:xfrm>
              <a:custGeom>
                <a:avLst/>
                <a:gdLst>
                  <a:gd name="connsiteX0" fmla="*/ 135662 w 272005"/>
                  <a:gd name="connsiteY0" fmla="*/ 0 h 175199"/>
                  <a:gd name="connsiteX1" fmla="*/ 272006 w 272005"/>
                  <a:gd name="connsiteY1" fmla="*/ 87941 h 175199"/>
                  <a:gd name="connsiteX2" fmla="*/ 135662 w 272005"/>
                  <a:gd name="connsiteY2" fmla="*/ 175199 h 175199"/>
                  <a:gd name="connsiteX3" fmla="*/ 0 w 272005"/>
                  <a:gd name="connsiteY3" fmla="*/ 87941 h 175199"/>
                  <a:gd name="connsiteX4" fmla="*/ 135662 w 272005"/>
                  <a:gd name="connsiteY4" fmla="*/ 0 h 1751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2005" h="175199">
                    <a:moveTo>
                      <a:pt x="135662" y="0"/>
                    </a:moveTo>
                    <a:lnTo>
                      <a:pt x="272006" y="87941"/>
                    </a:lnTo>
                    <a:lnTo>
                      <a:pt x="135662" y="175199"/>
                    </a:lnTo>
                    <a:lnTo>
                      <a:pt x="0" y="87941"/>
                    </a:lnTo>
                    <a:lnTo>
                      <a:pt x="135662" y="0"/>
                    </a:lnTo>
                    <a:close/>
                  </a:path>
                </a:pathLst>
              </a:custGeom>
              <a:solidFill>
                <a:schemeClr val="accent2"/>
              </a:solidFill>
              <a:ln w="6814" cap="flat">
                <a:noFill/>
                <a:prstDash val="solid"/>
                <a:miter/>
              </a:ln>
            </p:spPr>
            <p:txBody>
              <a:bodyPr rtlCol="0" anchor="ctr"/>
              <a:lstStyle/>
              <a:p>
                <a:endParaRPr lang="en-US"/>
              </a:p>
            </p:txBody>
          </p:sp>
          <p:sp>
            <p:nvSpPr>
              <p:cNvPr id="34" name="Freeform 33">
                <a:extLst>
                  <a:ext uri="{FF2B5EF4-FFF2-40B4-BE49-F238E27FC236}">
                    <a16:creationId xmlns:a16="http://schemas.microsoft.com/office/drawing/2014/main" id="{8C8F9D58-5D82-FF37-7ACA-942C3E3D206A}"/>
                  </a:ext>
                </a:extLst>
              </p:cNvPr>
              <p:cNvSpPr/>
              <p:nvPr/>
            </p:nvSpPr>
            <p:spPr>
              <a:xfrm>
                <a:off x="6096000" y="4284703"/>
                <a:ext cx="1377040" cy="1570289"/>
              </a:xfrm>
              <a:custGeom>
                <a:avLst/>
                <a:gdLst>
                  <a:gd name="connsiteX0" fmla="*/ 135662 w 272005"/>
                  <a:gd name="connsiteY0" fmla="*/ 0 h 310177"/>
                  <a:gd name="connsiteX1" fmla="*/ 0 w 272005"/>
                  <a:gd name="connsiteY1" fmla="*/ 87941 h 310177"/>
                  <a:gd name="connsiteX2" fmla="*/ 0 w 272005"/>
                  <a:gd name="connsiteY2" fmla="*/ 222919 h 310177"/>
                  <a:gd name="connsiteX3" fmla="*/ 135662 w 272005"/>
                  <a:gd name="connsiteY3" fmla="*/ 310178 h 310177"/>
                  <a:gd name="connsiteX4" fmla="*/ 272006 w 272005"/>
                  <a:gd name="connsiteY4" fmla="*/ 222919 h 310177"/>
                  <a:gd name="connsiteX5" fmla="*/ 272006 w 272005"/>
                  <a:gd name="connsiteY5" fmla="*/ 87941 h 310177"/>
                  <a:gd name="connsiteX6" fmla="*/ 135662 w 272005"/>
                  <a:gd name="connsiteY6" fmla="*/ 0 h 310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2005" h="310177">
                    <a:moveTo>
                      <a:pt x="135662" y="0"/>
                    </a:moveTo>
                    <a:lnTo>
                      <a:pt x="0" y="87941"/>
                    </a:lnTo>
                    <a:lnTo>
                      <a:pt x="0" y="222919"/>
                    </a:lnTo>
                    <a:lnTo>
                      <a:pt x="135662" y="310178"/>
                    </a:lnTo>
                    <a:lnTo>
                      <a:pt x="272006" y="222919"/>
                    </a:lnTo>
                    <a:lnTo>
                      <a:pt x="272006" y="87941"/>
                    </a:lnTo>
                    <a:lnTo>
                      <a:pt x="135662" y="0"/>
                    </a:lnTo>
                    <a:close/>
                  </a:path>
                </a:pathLst>
              </a:custGeom>
              <a:solidFill>
                <a:schemeClr val="accent1">
                  <a:lumMod val="75000"/>
                </a:schemeClr>
              </a:solidFill>
              <a:ln w="6814" cap="flat">
                <a:noFill/>
                <a:prstDash val="solid"/>
                <a:miter/>
              </a:ln>
            </p:spPr>
            <p:txBody>
              <a:bodyPr rtlCol="0" anchor="ctr"/>
              <a:lstStyle/>
              <a:p>
                <a:endParaRPr lang="en-US"/>
              </a:p>
            </p:txBody>
          </p:sp>
          <p:sp>
            <p:nvSpPr>
              <p:cNvPr id="35" name="Freeform 34">
                <a:extLst>
                  <a:ext uri="{FF2B5EF4-FFF2-40B4-BE49-F238E27FC236}">
                    <a16:creationId xmlns:a16="http://schemas.microsoft.com/office/drawing/2014/main" id="{21B99A4D-A881-2742-F4D3-91B4D6659B6E}"/>
                  </a:ext>
                </a:extLst>
              </p:cNvPr>
              <p:cNvSpPr/>
              <p:nvPr/>
            </p:nvSpPr>
            <p:spPr>
              <a:xfrm>
                <a:off x="6096000" y="4284703"/>
                <a:ext cx="1377040" cy="886955"/>
              </a:xfrm>
              <a:custGeom>
                <a:avLst/>
                <a:gdLst>
                  <a:gd name="connsiteX0" fmla="*/ 135662 w 272005"/>
                  <a:gd name="connsiteY0" fmla="*/ 0 h 175199"/>
                  <a:gd name="connsiteX1" fmla="*/ 272006 w 272005"/>
                  <a:gd name="connsiteY1" fmla="*/ 87941 h 175199"/>
                  <a:gd name="connsiteX2" fmla="*/ 135662 w 272005"/>
                  <a:gd name="connsiteY2" fmla="*/ 175199 h 175199"/>
                  <a:gd name="connsiteX3" fmla="*/ 0 w 272005"/>
                  <a:gd name="connsiteY3" fmla="*/ 87941 h 175199"/>
                  <a:gd name="connsiteX4" fmla="*/ 135662 w 272005"/>
                  <a:gd name="connsiteY4" fmla="*/ 0 h 1751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2005" h="175199">
                    <a:moveTo>
                      <a:pt x="135662" y="0"/>
                    </a:moveTo>
                    <a:lnTo>
                      <a:pt x="272006" y="87941"/>
                    </a:lnTo>
                    <a:lnTo>
                      <a:pt x="135662" y="175199"/>
                    </a:lnTo>
                    <a:lnTo>
                      <a:pt x="0" y="87941"/>
                    </a:lnTo>
                    <a:lnTo>
                      <a:pt x="135662" y="0"/>
                    </a:lnTo>
                    <a:close/>
                  </a:path>
                </a:pathLst>
              </a:custGeom>
              <a:solidFill>
                <a:schemeClr val="accent1"/>
              </a:solidFill>
              <a:ln w="6814" cap="flat">
                <a:noFill/>
                <a:prstDash val="solid"/>
                <a:miter/>
              </a:ln>
            </p:spPr>
            <p:txBody>
              <a:bodyPr rtlCol="0" anchor="ctr"/>
              <a:lstStyle/>
              <a:p>
                <a:endParaRPr lang="en-US"/>
              </a:p>
            </p:txBody>
          </p:sp>
          <p:sp>
            <p:nvSpPr>
              <p:cNvPr id="36" name="Freeform 35">
                <a:extLst>
                  <a:ext uri="{FF2B5EF4-FFF2-40B4-BE49-F238E27FC236}">
                    <a16:creationId xmlns:a16="http://schemas.microsoft.com/office/drawing/2014/main" id="{39039C2E-7BDC-3439-5934-AB5F724D2964}"/>
                  </a:ext>
                </a:extLst>
              </p:cNvPr>
              <p:cNvSpPr/>
              <p:nvPr/>
            </p:nvSpPr>
            <p:spPr>
              <a:xfrm>
                <a:off x="7473046" y="4284703"/>
                <a:ext cx="1377040" cy="1570289"/>
              </a:xfrm>
              <a:custGeom>
                <a:avLst/>
                <a:gdLst>
                  <a:gd name="connsiteX0" fmla="*/ 135662 w 272005"/>
                  <a:gd name="connsiteY0" fmla="*/ 0 h 310177"/>
                  <a:gd name="connsiteX1" fmla="*/ 0 w 272005"/>
                  <a:gd name="connsiteY1" fmla="*/ 87941 h 310177"/>
                  <a:gd name="connsiteX2" fmla="*/ 0 w 272005"/>
                  <a:gd name="connsiteY2" fmla="*/ 222919 h 310177"/>
                  <a:gd name="connsiteX3" fmla="*/ 135662 w 272005"/>
                  <a:gd name="connsiteY3" fmla="*/ 310178 h 310177"/>
                  <a:gd name="connsiteX4" fmla="*/ 272005 w 272005"/>
                  <a:gd name="connsiteY4" fmla="*/ 222919 h 310177"/>
                  <a:gd name="connsiteX5" fmla="*/ 272005 w 272005"/>
                  <a:gd name="connsiteY5" fmla="*/ 87941 h 310177"/>
                  <a:gd name="connsiteX6" fmla="*/ 135662 w 272005"/>
                  <a:gd name="connsiteY6" fmla="*/ 0 h 310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2005" h="310177">
                    <a:moveTo>
                      <a:pt x="135662" y="0"/>
                    </a:moveTo>
                    <a:lnTo>
                      <a:pt x="0" y="87941"/>
                    </a:lnTo>
                    <a:lnTo>
                      <a:pt x="0" y="222919"/>
                    </a:lnTo>
                    <a:lnTo>
                      <a:pt x="135662" y="310178"/>
                    </a:lnTo>
                    <a:lnTo>
                      <a:pt x="272005" y="222919"/>
                    </a:lnTo>
                    <a:lnTo>
                      <a:pt x="272005" y="87941"/>
                    </a:lnTo>
                    <a:lnTo>
                      <a:pt x="135662" y="0"/>
                    </a:lnTo>
                    <a:close/>
                  </a:path>
                </a:pathLst>
              </a:custGeom>
              <a:solidFill>
                <a:schemeClr val="accent2">
                  <a:lumMod val="75000"/>
                </a:schemeClr>
              </a:solidFill>
              <a:ln w="6814"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F8DCCB64-3FE9-6861-A62B-E0E8509486A1}"/>
                  </a:ext>
                </a:extLst>
              </p:cNvPr>
              <p:cNvSpPr/>
              <p:nvPr/>
            </p:nvSpPr>
            <p:spPr>
              <a:xfrm>
                <a:off x="7473046" y="4284703"/>
                <a:ext cx="1377040" cy="886955"/>
              </a:xfrm>
              <a:custGeom>
                <a:avLst/>
                <a:gdLst>
                  <a:gd name="connsiteX0" fmla="*/ 135662 w 272005"/>
                  <a:gd name="connsiteY0" fmla="*/ 0 h 175199"/>
                  <a:gd name="connsiteX1" fmla="*/ 272005 w 272005"/>
                  <a:gd name="connsiteY1" fmla="*/ 87941 h 175199"/>
                  <a:gd name="connsiteX2" fmla="*/ 135662 w 272005"/>
                  <a:gd name="connsiteY2" fmla="*/ 175199 h 175199"/>
                  <a:gd name="connsiteX3" fmla="*/ 0 w 272005"/>
                  <a:gd name="connsiteY3" fmla="*/ 87941 h 175199"/>
                  <a:gd name="connsiteX4" fmla="*/ 135662 w 272005"/>
                  <a:gd name="connsiteY4" fmla="*/ 0 h 1751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2005" h="175199">
                    <a:moveTo>
                      <a:pt x="135662" y="0"/>
                    </a:moveTo>
                    <a:lnTo>
                      <a:pt x="272005" y="87941"/>
                    </a:lnTo>
                    <a:lnTo>
                      <a:pt x="135662" y="175199"/>
                    </a:lnTo>
                    <a:lnTo>
                      <a:pt x="0" y="87941"/>
                    </a:lnTo>
                    <a:lnTo>
                      <a:pt x="135662" y="0"/>
                    </a:lnTo>
                    <a:close/>
                  </a:path>
                </a:pathLst>
              </a:custGeom>
              <a:solidFill>
                <a:schemeClr val="accent2"/>
              </a:solidFill>
              <a:ln w="6814" cap="flat">
                <a:noFill/>
                <a:prstDash val="solid"/>
                <a:miter/>
              </a:ln>
            </p:spPr>
            <p:txBody>
              <a:bodyPr rtlCol="0" anchor="ctr"/>
              <a:lstStyle/>
              <a:p>
                <a:endParaRPr lang="en-US"/>
              </a:p>
            </p:txBody>
          </p:sp>
          <p:sp>
            <p:nvSpPr>
              <p:cNvPr id="38" name="Freeform 37">
                <a:extLst>
                  <a:ext uri="{FF2B5EF4-FFF2-40B4-BE49-F238E27FC236}">
                    <a16:creationId xmlns:a16="http://schemas.microsoft.com/office/drawing/2014/main" id="{2E628681-B0E4-7EE2-4793-61F83D1F287B}"/>
                  </a:ext>
                </a:extLst>
              </p:cNvPr>
              <p:cNvSpPr/>
              <p:nvPr/>
            </p:nvSpPr>
            <p:spPr>
              <a:xfrm>
                <a:off x="4028705" y="3159611"/>
                <a:ext cx="1377040" cy="1570294"/>
              </a:xfrm>
              <a:custGeom>
                <a:avLst/>
                <a:gdLst>
                  <a:gd name="connsiteX0" fmla="*/ 136344 w 272005"/>
                  <a:gd name="connsiteY0" fmla="*/ 0 h 310178"/>
                  <a:gd name="connsiteX1" fmla="*/ 0 w 272005"/>
                  <a:gd name="connsiteY1" fmla="*/ 87259 h 310178"/>
                  <a:gd name="connsiteX2" fmla="*/ 0 w 272005"/>
                  <a:gd name="connsiteY2" fmla="*/ 222237 h 310178"/>
                  <a:gd name="connsiteX3" fmla="*/ 136344 w 272005"/>
                  <a:gd name="connsiteY3" fmla="*/ 310178 h 310178"/>
                  <a:gd name="connsiteX4" fmla="*/ 272006 w 272005"/>
                  <a:gd name="connsiteY4" fmla="*/ 222237 h 310178"/>
                  <a:gd name="connsiteX5" fmla="*/ 272006 w 272005"/>
                  <a:gd name="connsiteY5" fmla="*/ 87259 h 310178"/>
                  <a:gd name="connsiteX6" fmla="*/ 136344 w 272005"/>
                  <a:gd name="connsiteY6" fmla="*/ 0 h 310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2005" h="310178">
                    <a:moveTo>
                      <a:pt x="136344" y="0"/>
                    </a:moveTo>
                    <a:lnTo>
                      <a:pt x="0" y="87259"/>
                    </a:lnTo>
                    <a:lnTo>
                      <a:pt x="0" y="222237"/>
                    </a:lnTo>
                    <a:lnTo>
                      <a:pt x="136344" y="310178"/>
                    </a:lnTo>
                    <a:lnTo>
                      <a:pt x="272006" y="222237"/>
                    </a:lnTo>
                    <a:lnTo>
                      <a:pt x="272006" y="87259"/>
                    </a:lnTo>
                    <a:lnTo>
                      <a:pt x="136344" y="0"/>
                    </a:lnTo>
                    <a:close/>
                  </a:path>
                </a:pathLst>
              </a:custGeom>
              <a:solidFill>
                <a:schemeClr val="accent4">
                  <a:lumMod val="75000"/>
                </a:schemeClr>
              </a:solidFill>
              <a:ln w="6814"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653DA10D-0A91-54DE-8EC2-25F35E6C4871}"/>
                  </a:ext>
                </a:extLst>
              </p:cNvPr>
              <p:cNvSpPr/>
              <p:nvPr/>
            </p:nvSpPr>
            <p:spPr>
              <a:xfrm>
                <a:off x="4028705" y="3159611"/>
                <a:ext cx="1377040" cy="883502"/>
              </a:xfrm>
              <a:custGeom>
                <a:avLst/>
                <a:gdLst>
                  <a:gd name="connsiteX0" fmla="*/ 136344 w 272005"/>
                  <a:gd name="connsiteY0" fmla="*/ 0 h 174517"/>
                  <a:gd name="connsiteX1" fmla="*/ 272006 w 272005"/>
                  <a:gd name="connsiteY1" fmla="*/ 87259 h 174517"/>
                  <a:gd name="connsiteX2" fmla="*/ 136344 w 272005"/>
                  <a:gd name="connsiteY2" fmla="*/ 174518 h 174517"/>
                  <a:gd name="connsiteX3" fmla="*/ 0 w 272005"/>
                  <a:gd name="connsiteY3" fmla="*/ 87259 h 174517"/>
                  <a:gd name="connsiteX4" fmla="*/ 136344 w 272005"/>
                  <a:gd name="connsiteY4" fmla="*/ 0 h 1745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2005" h="174517">
                    <a:moveTo>
                      <a:pt x="136344" y="0"/>
                    </a:moveTo>
                    <a:lnTo>
                      <a:pt x="272006" y="87259"/>
                    </a:lnTo>
                    <a:lnTo>
                      <a:pt x="136344" y="174518"/>
                    </a:lnTo>
                    <a:lnTo>
                      <a:pt x="0" y="87259"/>
                    </a:lnTo>
                    <a:lnTo>
                      <a:pt x="136344" y="0"/>
                    </a:lnTo>
                    <a:close/>
                  </a:path>
                </a:pathLst>
              </a:custGeom>
              <a:solidFill>
                <a:schemeClr val="accent4"/>
              </a:solidFill>
              <a:ln w="6814"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908253E-DAAF-C9D8-61D5-4D7407781660}"/>
                  </a:ext>
                </a:extLst>
              </p:cNvPr>
              <p:cNvSpPr/>
              <p:nvPr/>
            </p:nvSpPr>
            <p:spPr>
              <a:xfrm>
                <a:off x="5405751" y="3159611"/>
                <a:ext cx="1377040" cy="1570294"/>
              </a:xfrm>
              <a:custGeom>
                <a:avLst/>
                <a:gdLst>
                  <a:gd name="connsiteX0" fmla="*/ 136344 w 272005"/>
                  <a:gd name="connsiteY0" fmla="*/ 0 h 310178"/>
                  <a:gd name="connsiteX1" fmla="*/ 0 w 272005"/>
                  <a:gd name="connsiteY1" fmla="*/ 87259 h 310178"/>
                  <a:gd name="connsiteX2" fmla="*/ 0 w 272005"/>
                  <a:gd name="connsiteY2" fmla="*/ 222237 h 310178"/>
                  <a:gd name="connsiteX3" fmla="*/ 136344 w 272005"/>
                  <a:gd name="connsiteY3" fmla="*/ 310178 h 310178"/>
                  <a:gd name="connsiteX4" fmla="*/ 272006 w 272005"/>
                  <a:gd name="connsiteY4" fmla="*/ 222237 h 310178"/>
                  <a:gd name="connsiteX5" fmla="*/ 272006 w 272005"/>
                  <a:gd name="connsiteY5" fmla="*/ 87259 h 310178"/>
                  <a:gd name="connsiteX6" fmla="*/ 136344 w 272005"/>
                  <a:gd name="connsiteY6" fmla="*/ 0 h 310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2005" h="310178">
                    <a:moveTo>
                      <a:pt x="136344" y="0"/>
                    </a:moveTo>
                    <a:lnTo>
                      <a:pt x="0" y="87259"/>
                    </a:lnTo>
                    <a:lnTo>
                      <a:pt x="0" y="222237"/>
                    </a:lnTo>
                    <a:lnTo>
                      <a:pt x="136344" y="310178"/>
                    </a:lnTo>
                    <a:lnTo>
                      <a:pt x="272006" y="222237"/>
                    </a:lnTo>
                    <a:lnTo>
                      <a:pt x="272006" y="87259"/>
                    </a:lnTo>
                    <a:lnTo>
                      <a:pt x="136344" y="0"/>
                    </a:lnTo>
                    <a:close/>
                  </a:path>
                </a:pathLst>
              </a:custGeom>
              <a:solidFill>
                <a:schemeClr val="accent5">
                  <a:lumMod val="75000"/>
                </a:schemeClr>
              </a:solidFill>
              <a:ln w="6814" cap="flat">
                <a:noFill/>
                <a:prstDash val="solid"/>
                <a:miter/>
              </a:ln>
            </p:spPr>
            <p:txBody>
              <a:bodyPr rtlCol="0" anchor="ctr"/>
              <a:lstStyle/>
              <a:p>
                <a:endParaRPr lang="en-US"/>
              </a:p>
            </p:txBody>
          </p:sp>
          <p:sp>
            <p:nvSpPr>
              <p:cNvPr id="41" name="Freeform 40">
                <a:extLst>
                  <a:ext uri="{FF2B5EF4-FFF2-40B4-BE49-F238E27FC236}">
                    <a16:creationId xmlns:a16="http://schemas.microsoft.com/office/drawing/2014/main" id="{FB72133A-20EE-C6E5-B518-F7E09390BEC8}"/>
                  </a:ext>
                </a:extLst>
              </p:cNvPr>
              <p:cNvSpPr/>
              <p:nvPr/>
            </p:nvSpPr>
            <p:spPr>
              <a:xfrm>
                <a:off x="5405751" y="3159611"/>
                <a:ext cx="1377040" cy="883502"/>
              </a:xfrm>
              <a:custGeom>
                <a:avLst/>
                <a:gdLst>
                  <a:gd name="connsiteX0" fmla="*/ 136344 w 272005"/>
                  <a:gd name="connsiteY0" fmla="*/ 0 h 174517"/>
                  <a:gd name="connsiteX1" fmla="*/ 272006 w 272005"/>
                  <a:gd name="connsiteY1" fmla="*/ 87259 h 174517"/>
                  <a:gd name="connsiteX2" fmla="*/ 136344 w 272005"/>
                  <a:gd name="connsiteY2" fmla="*/ 174518 h 174517"/>
                  <a:gd name="connsiteX3" fmla="*/ 0 w 272005"/>
                  <a:gd name="connsiteY3" fmla="*/ 87259 h 174517"/>
                  <a:gd name="connsiteX4" fmla="*/ 136344 w 272005"/>
                  <a:gd name="connsiteY4" fmla="*/ 0 h 1745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2005" h="174517">
                    <a:moveTo>
                      <a:pt x="136344" y="0"/>
                    </a:moveTo>
                    <a:lnTo>
                      <a:pt x="272006" y="87259"/>
                    </a:lnTo>
                    <a:lnTo>
                      <a:pt x="136344" y="174518"/>
                    </a:lnTo>
                    <a:lnTo>
                      <a:pt x="0" y="87259"/>
                    </a:lnTo>
                    <a:lnTo>
                      <a:pt x="136344" y="0"/>
                    </a:lnTo>
                    <a:close/>
                  </a:path>
                </a:pathLst>
              </a:custGeom>
              <a:solidFill>
                <a:schemeClr val="accent5"/>
              </a:solidFill>
              <a:ln w="6814" cap="flat">
                <a:noFill/>
                <a:prstDash val="solid"/>
                <a:miter/>
              </a:ln>
            </p:spPr>
            <p:txBody>
              <a:bodyPr rtlCol="0" anchor="ctr"/>
              <a:lstStyle/>
              <a:p>
                <a:endParaRPr lang="en-US"/>
              </a:p>
            </p:txBody>
          </p:sp>
          <p:sp>
            <p:nvSpPr>
              <p:cNvPr id="42" name="Freeform 41">
                <a:extLst>
                  <a:ext uri="{FF2B5EF4-FFF2-40B4-BE49-F238E27FC236}">
                    <a16:creationId xmlns:a16="http://schemas.microsoft.com/office/drawing/2014/main" id="{E5C8392A-1549-DA56-CB0B-3CC8E83A2396}"/>
                  </a:ext>
                </a:extLst>
              </p:cNvPr>
              <p:cNvSpPr/>
              <p:nvPr/>
            </p:nvSpPr>
            <p:spPr>
              <a:xfrm>
                <a:off x="4718954" y="2031071"/>
                <a:ext cx="1377040" cy="1570289"/>
              </a:xfrm>
              <a:custGeom>
                <a:avLst/>
                <a:gdLst>
                  <a:gd name="connsiteX0" fmla="*/ 135662 w 272005"/>
                  <a:gd name="connsiteY0" fmla="*/ 0 h 310177"/>
                  <a:gd name="connsiteX1" fmla="*/ 0 w 272005"/>
                  <a:gd name="connsiteY1" fmla="*/ 87259 h 310177"/>
                  <a:gd name="connsiteX2" fmla="*/ 0 w 272005"/>
                  <a:gd name="connsiteY2" fmla="*/ 222919 h 310177"/>
                  <a:gd name="connsiteX3" fmla="*/ 135662 w 272005"/>
                  <a:gd name="connsiteY3" fmla="*/ 310178 h 310177"/>
                  <a:gd name="connsiteX4" fmla="*/ 272006 w 272005"/>
                  <a:gd name="connsiteY4" fmla="*/ 222919 h 310177"/>
                  <a:gd name="connsiteX5" fmla="*/ 272006 w 272005"/>
                  <a:gd name="connsiteY5" fmla="*/ 87259 h 310177"/>
                  <a:gd name="connsiteX6" fmla="*/ 135662 w 272005"/>
                  <a:gd name="connsiteY6" fmla="*/ 0 h 310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2005" h="310177">
                    <a:moveTo>
                      <a:pt x="135662" y="0"/>
                    </a:moveTo>
                    <a:lnTo>
                      <a:pt x="0" y="87259"/>
                    </a:lnTo>
                    <a:lnTo>
                      <a:pt x="0" y="222919"/>
                    </a:lnTo>
                    <a:lnTo>
                      <a:pt x="135662" y="310178"/>
                    </a:lnTo>
                    <a:lnTo>
                      <a:pt x="272006" y="222919"/>
                    </a:lnTo>
                    <a:lnTo>
                      <a:pt x="272006" y="87259"/>
                    </a:lnTo>
                    <a:lnTo>
                      <a:pt x="135662" y="0"/>
                    </a:lnTo>
                    <a:close/>
                  </a:path>
                </a:pathLst>
              </a:custGeom>
              <a:solidFill>
                <a:schemeClr val="accent3">
                  <a:lumMod val="75000"/>
                </a:schemeClr>
              </a:solidFill>
              <a:ln w="6814" cap="flat">
                <a:noFill/>
                <a:prstDash val="solid"/>
                <a:miter/>
              </a:ln>
            </p:spPr>
            <p:txBody>
              <a:bodyPr rtlCol="0" anchor="ctr"/>
              <a:lstStyle/>
              <a:p>
                <a:endParaRPr lang="en-US"/>
              </a:p>
            </p:txBody>
          </p:sp>
          <p:sp>
            <p:nvSpPr>
              <p:cNvPr id="43" name="Freeform 42">
                <a:extLst>
                  <a:ext uri="{FF2B5EF4-FFF2-40B4-BE49-F238E27FC236}">
                    <a16:creationId xmlns:a16="http://schemas.microsoft.com/office/drawing/2014/main" id="{AAE2FFD0-FC5C-BFBD-CEE6-66DCC5EE42F1}"/>
                  </a:ext>
                </a:extLst>
              </p:cNvPr>
              <p:cNvSpPr/>
              <p:nvPr/>
            </p:nvSpPr>
            <p:spPr>
              <a:xfrm>
                <a:off x="4718954" y="2031071"/>
                <a:ext cx="1377040" cy="886955"/>
              </a:xfrm>
              <a:custGeom>
                <a:avLst/>
                <a:gdLst>
                  <a:gd name="connsiteX0" fmla="*/ 135662 w 272005"/>
                  <a:gd name="connsiteY0" fmla="*/ 0 h 175199"/>
                  <a:gd name="connsiteX1" fmla="*/ 272006 w 272005"/>
                  <a:gd name="connsiteY1" fmla="*/ 87259 h 175199"/>
                  <a:gd name="connsiteX2" fmla="*/ 135662 w 272005"/>
                  <a:gd name="connsiteY2" fmla="*/ 175199 h 175199"/>
                  <a:gd name="connsiteX3" fmla="*/ 0 w 272005"/>
                  <a:gd name="connsiteY3" fmla="*/ 87259 h 175199"/>
                  <a:gd name="connsiteX4" fmla="*/ 135662 w 272005"/>
                  <a:gd name="connsiteY4" fmla="*/ 0 h 1751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2005" h="175199">
                    <a:moveTo>
                      <a:pt x="135662" y="0"/>
                    </a:moveTo>
                    <a:lnTo>
                      <a:pt x="272006" y="87259"/>
                    </a:lnTo>
                    <a:lnTo>
                      <a:pt x="135662" y="175199"/>
                    </a:lnTo>
                    <a:lnTo>
                      <a:pt x="0" y="87259"/>
                    </a:lnTo>
                    <a:lnTo>
                      <a:pt x="135662" y="0"/>
                    </a:lnTo>
                    <a:close/>
                  </a:path>
                </a:pathLst>
              </a:custGeom>
              <a:solidFill>
                <a:schemeClr val="accent3"/>
              </a:solidFill>
              <a:ln w="6814" cap="flat">
                <a:noFill/>
                <a:prstDash val="solid"/>
                <a:miter/>
              </a:ln>
            </p:spPr>
            <p:txBody>
              <a:bodyPr rtlCol="0" anchor="ctr"/>
              <a:lstStyle/>
              <a:p>
                <a:endParaRPr lang="en-US"/>
              </a:p>
            </p:txBody>
          </p:sp>
          <p:sp>
            <p:nvSpPr>
              <p:cNvPr id="44" name="Freeform 43">
                <a:extLst>
                  <a:ext uri="{FF2B5EF4-FFF2-40B4-BE49-F238E27FC236}">
                    <a16:creationId xmlns:a16="http://schemas.microsoft.com/office/drawing/2014/main" id="{2AA26CA3-E81D-9E94-56AC-418AD9985D15}"/>
                  </a:ext>
                </a:extLst>
              </p:cNvPr>
              <p:cNvSpPr/>
              <p:nvPr/>
            </p:nvSpPr>
            <p:spPr>
              <a:xfrm>
                <a:off x="6096000" y="2031071"/>
                <a:ext cx="1377040" cy="1570289"/>
              </a:xfrm>
              <a:custGeom>
                <a:avLst/>
                <a:gdLst>
                  <a:gd name="connsiteX0" fmla="*/ 135662 w 272005"/>
                  <a:gd name="connsiteY0" fmla="*/ 0 h 310177"/>
                  <a:gd name="connsiteX1" fmla="*/ 0 w 272005"/>
                  <a:gd name="connsiteY1" fmla="*/ 87259 h 310177"/>
                  <a:gd name="connsiteX2" fmla="*/ 0 w 272005"/>
                  <a:gd name="connsiteY2" fmla="*/ 222919 h 310177"/>
                  <a:gd name="connsiteX3" fmla="*/ 135662 w 272005"/>
                  <a:gd name="connsiteY3" fmla="*/ 310178 h 310177"/>
                  <a:gd name="connsiteX4" fmla="*/ 272006 w 272005"/>
                  <a:gd name="connsiteY4" fmla="*/ 222919 h 310177"/>
                  <a:gd name="connsiteX5" fmla="*/ 272006 w 272005"/>
                  <a:gd name="connsiteY5" fmla="*/ 87259 h 310177"/>
                  <a:gd name="connsiteX6" fmla="*/ 135662 w 272005"/>
                  <a:gd name="connsiteY6" fmla="*/ 0 h 310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2005" h="310177">
                    <a:moveTo>
                      <a:pt x="135662" y="0"/>
                    </a:moveTo>
                    <a:lnTo>
                      <a:pt x="0" y="87259"/>
                    </a:lnTo>
                    <a:lnTo>
                      <a:pt x="0" y="222919"/>
                    </a:lnTo>
                    <a:lnTo>
                      <a:pt x="135662" y="310178"/>
                    </a:lnTo>
                    <a:lnTo>
                      <a:pt x="272006" y="222919"/>
                    </a:lnTo>
                    <a:lnTo>
                      <a:pt x="272006" y="87259"/>
                    </a:lnTo>
                    <a:lnTo>
                      <a:pt x="135662" y="0"/>
                    </a:lnTo>
                    <a:close/>
                  </a:path>
                </a:pathLst>
              </a:custGeom>
              <a:solidFill>
                <a:srgbClr val="7030A0"/>
              </a:solidFill>
              <a:ln w="6814" cap="flat">
                <a:noFill/>
                <a:prstDash val="solid"/>
                <a:miter/>
              </a:ln>
            </p:spPr>
            <p:txBody>
              <a:bodyPr rtlCol="0" anchor="ctr"/>
              <a:lstStyle/>
              <a:p>
                <a:endParaRPr lang="en-US"/>
              </a:p>
            </p:txBody>
          </p:sp>
          <p:sp>
            <p:nvSpPr>
              <p:cNvPr id="45" name="Freeform 44">
                <a:extLst>
                  <a:ext uri="{FF2B5EF4-FFF2-40B4-BE49-F238E27FC236}">
                    <a16:creationId xmlns:a16="http://schemas.microsoft.com/office/drawing/2014/main" id="{8DC24488-DADE-463B-4DD8-E886EA6A186A}"/>
                  </a:ext>
                </a:extLst>
              </p:cNvPr>
              <p:cNvSpPr/>
              <p:nvPr/>
            </p:nvSpPr>
            <p:spPr>
              <a:xfrm>
                <a:off x="6096000" y="2031071"/>
                <a:ext cx="1377040" cy="886955"/>
              </a:xfrm>
              <a:custGeom>
                <a:avLst/>
                <a:gdLst>
                  <a:gd name="connsiteX0" fmla="*/ 135662 w 272005"/>
                  <a:gd name="connsiteY0" fmla="*/ 0 h 175199"/>
                  <a:gd name="connsiteX1" fmla="*/ 272006 w 272005"/>
                  <a:gd name="connsiteY1" fmla="*/ 87259 h 175199"/>
                  <a:gd name="connsiteX2" fmla="*/ 135662 w 272005"/>
                  <a:gd name="connsiteY2" fmla="*/ 175199 h 175199"/>
                  <a:gd name="connsiteX3" fmla="*/ 0 w 272005"/>
                  <a:gd name="connsiteY3" fmla="*/ 87259 h 175199"/>
                  <a:gd name="connsiteX4" fmla="*/ 135662 w 272005"/>
                  <a:gd name="connsiteY4" fmla="*/ 0 h 1751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2005" h="175199">
                    <a:moveTo>
                      <a:pt x="135662" y="0"/>
                    </a:moveTo>
                    <a:lnTo>
                      <a:pt x="272006" y="87259"/>
                    </a:lnTo>
                    <a:lnTo>
                      <a:pt x="135662" y="175199"/>
                    </a:lnTo>
                    <a:lnTo>
                      <a:pt x="0" y="87259"/>
                    </a:lnTo>
                    <a:lnTo>
                      <a:pt x="135662" y="0"/>
                    </a:lnTo>
                    <a:close/>
                  </a:path>
                </a:pathLst>
              </a:custGeom>
              <a:solidFill>
                <a:srgbClr val="805AAB"/>
              </a:solidFill>
              <a:ln w="6814" cap="flat">
                <a:noFill/>
                <a:prstDash val="solid"/>
                <a:miter/>
              </a:ln>
            </p:spPr>
            <p:txBody>
              <a:bodyPr rtlCol="0" anchor="ctr"/>
              <a:lstStyle/>
              <a:p>
                <a:endParaRPr lang="en-US"/>
              </a:p>
            </p:txBody>
          </p:sp>
          <p:sp>
            <p:nvSpPr>
              <p:cNvPr id="46" name="Freeform 45">
                <a:extLst>
                  <a:ext uri="{FF2B5EF4-FFF2-40B4-BE49-F238E27FC236}">
                    <a16:creationId xmlns:a16="http://schemas.microsoft.com/office/drawing/2014/main" id="{A7C79CC2-B5AD-1231-DA7D-40AC5F2E66BA}"/>
                  </a:ext>
                </a:extLst>
              </p:cNvPr>
              <p:cNvSpPr/>
              <p:nvPr/>
            </p:nvSpPr>
            <p:spPr>
              <a:xfrm>
                <a:off x="5405751" y="902531"/>
                <a:ext cx="1377040" cy="1570289"/>
              </a:xfrm>
              <a:custGeom>
                <a:avLst/>
                <a:gdLst>
                  <a:gd name="connsiteX0" fmla="*/ 136344 w 272005"/>
                  <a:gd name="connsiteY0" fmla="*/ 0 h 310177"/>
                  <a:gd name="connsiteX1" fmla="*/ 0 w 272005"/>
                  <a:gd name="connsiteY1" fmla="*/ 87941 h 310177"/>
                  <a:gd name="connsiteX2" fmla="*/ 0 w 272005"/>
                  <a:gd name="connsiteY2" fmla="*/ 222919 h 310177"/>
                  <a:gd name="connsiteX3" fmla="*/ 136344 w 272005"/>
                  <a:gd name="connsiteY3" fmla="*/ 310178 h 310177"/>
                  <a:gd name="connsiteX4" fmla="*/ 272006 w 272005"/>
                  <a:gd name="connsiteY4" fmla="*/ 222919 h 310177"/>
                  <a:gd name="connsiteX5" fmla="*/ 272006 w 272005"/>
                  <a:gd name="connsiteY5" fmla="*/ 87941 h 310177"/>
                  <a:gd name="connsiteX6" fmla="*/ 136344 w 272005"/>
                  <a:gd name="connsiteY6" fmla="*/ 0 h 310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2005" h="310177">
                    <a:moveTo>
                      <a:pt x="136344" y="0"/>
                    </a:moveTo>
                    <a:lnTo>
                      <a:pt x="0" y="87941"/>
                    </a:lnTo>
                    <a:lnTo>
                      <a:pt x="0" y="222919"/>
                    </a:lnTo>
                    <a:lnTo>
                      <a:pt x="136344" y="310178"/>
                    </a:lnTo>
                    <a:lnTo>
                      <a:pt x="272006" y="222919"/>
                    </a:lnTo>
                    <a:lnTo>
                      <a:pt x="272006" y="87941"/>
                    </a:lnTo>
                    <a:lnTo>
                      <a:pt x="136344" y="0"/>
                    </a:lnTo>
                    <a:close/>
                  </a:path>
                </a:pathLst>
              </a:custGeom>
              <a:solidFill>
                <a:schemeClr val="accent3">
                  <a:lumMod val="50000"/>
                </a:schemeClr>
              </a:solidFill>
              <a:ln w="6814" cap="flat">
                <a:noFill/>
                <a:prstDash val="solid"/>
                <a:miter/>
              </a:ln>
            </p:spPr>
            <p:txBody>
              <a:bodyPr rtlCol="0" anchor="ctr"/>
              <a:lstStyle/>
              <a:p>
                <a:endParaRPr lang="en-US"/>
              </a:p>
            </p:txBody>
          </p:sp>
          <p:sp>
            <p:nvSpPr>
              <p:cNvPr id="47" name="Freeform 46">
                <a:extLst>
                  <a:ext uri="{FF2B5EF4-FFF2-40B4-BE49-F238E27FC236}">
                    <a16:creationId xmlns:a16="http://schemas.microsoft.com/office/drawing/2014/main" id="{12F9810E-E663-2F3E-76AB-60B07FAE65DA}"/>
                  </a:ext>
                </a:extLst>
              </p:cNvPr>
              <p:cNvSpPr/>
              <p:nvPr/>
            </p:nvSpPr>
            <p:spPr>
              <a:xfrm>
                <a:off x="5405751" y="902531"/>
                <a:ext cx="1377040" cy="886955"/>
              </a:xfrm>
              <a:custGeom>
                <a:avLst/>
                <a:gdLst>
                  <a:gd name="connsiteX0" fmla="*/ 136344 w 272005"/>
                  <a:gd name="connsiteY0" fmla="*/ 0 h 175199"/>
                  <a:gd name="connsiteX1" fmla="*/ 272006 w 272005"/>
                  <a:gd name="connsiteY1" fmla="*/ 87941 h 175199"/>
                  <a:gd name="connsiteX2" fmla="*/ 136344 w 272005"/>
                  <a:gd name="connsiteY2" fmla="*/ 175199 h 175199"/>
                  <a:gd name="connsiteX3" fmla="*/ 0 w 272005"/>
                  <a:gd name="connsiteY3" fmla="*/ 87941 h 175199"/>
                  <a:gd name="connsiteX4" fmla="*/ 136344 w 272005"/>
                  <a:gd name="connsiteY4" fmla="*/ 0 h 1751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2005" h="175199">
                    <a:moveTo>
                      <a:pt x="136344" y="0"/>
                    </a:moveTo>
                    <a:lnTo>
                      <a:pt x="272006" y="87941"/>
                    </a:lnTo>
                    <a:lnTo>
                      <a:pt x="136344" y="175199"/>
                    </a:lnTo>
                    <a:lnTo>
                      <a:pt x="0" y="87941"/>
                    </a:lnTo>
                    <a:lnTo>
                      <a:pt x="136344" y="0"/>
                    </a:lnTo>
                    <a:close/>
                  </a:path>
                </a:pathLst>
              </a:custGeom>
              <a:solidFill>
                <a:srgbClr val="CEBA8B"/>
              </a:solidFill>
              <a:ln w="6814" cap="flat">
                <a:noFill/>
                <a:prstDash val="solid"/>
                <a:miter/>
              </a:ln>
            </p:spPr>
            <p:txBody>
              <a:bodyPr rtlCol="0" anchor="ctr"/>
              <a:lstStyle/>
              <a:p>
                <a:endParaRPr lang="en-US"/>
              </a:p>
            </p:txBody>
          </p:sp>
          <p:sp>
            <p:nvSpPr>
              <p:cNvPr id="48" name="Freeform 47">
                <a:extLst>
                  <a:ext uri="{FF2B5EF4-FFF2-40B4-BE49-F238E27FC236}">
                    <a16:creationId xmlns:a16="http://schemas.microsoft.com/office/drawing/2014/main" id="{5BD46ED7-1C0A-0BBC-C0E3-B36F76791344}"/>
                  </a:ext>
                </a:extLst>
              </p:cNvPr>
              <p:cNvSpPr/>
              <p:nvPr/>
            </p:nvSpPr>
            <p:spPr>
              <a:xfrm>
                <a:off x="6782796" y="3159611"/>
                <a:ext cx="1377040" cy="1570294"/>
              </a:xfrm>
              <a:custGeom>
                <a:avLst/>
                <a:gdLst>
                  <a:gd name="connsiteX0" fmla="*/ 136344 w 272005"/>
                  <a:gd name="connsiteY0" fmla="*/ 0 h 310178"/>
                  <a:gd name="connsiteX1" fmla="*/ 0 w 272005"/>
                  <a:gd name="connsiteY1" fmla="*/ 87259 h 310178"/>
                  <a:gd name="connsiteX2" fmla="*/ 0 w 272005"/>
                  <a:gd name="connsiteY2" fmla="*/ 222237 h 310178"/>
                  <a:gd name="connsiteX3" fmla="*/ 136344 w 272005"/>
                  <a:gd name="connsiteY3" fmla="*/ 310178 h 310178"/>
                  <a:gd name="connsiteX4" fmla="*/ 272005 w 272005"/>
                  <a:gd name="connsiteY4" fmla="*/ 222237 h 310178"/>
                  <a:gd name="connsiteX5" fmla="*/ 272005 w 272005"/>
                  <a:gd name="connsiteY5" fmla="*/ 87259 h 310178"/>
                  <a:gd name="connsiteX6" fmla="*/ 136344 w 272005"/>
                  <a:gd name="connsiteY6" fmla="*/ 0 h 310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2005" h="310178">
                    <a:moveTo>
                      <a:pt x="136344" y="0"/>
                    </a:moveTo>
                    <a:lnTo>
                      <a:pt x="0" y="87259"/>
                    </a:lnTo>
                    <a:lnTo>
                      <a:pt x="0" y="222237"/>
                    </a:lnTo>
                    <a:lnTo>
                      <a:pt x="136344" y="310178"/>
                    </a:lnTo>
                    <a:lnTo>
                      <a:pt x="272005" y="222237"/>
                    </a:lnTo>
                    <a:lnTo>
                      <a:pt x="272005" y="87259"/>
                    </a:lnTo>
                    <a:lnTo>
                      <a:pt x="136344" y="0"/>
                    </a:lnTo>
                    <a:close/>
                  </a:path>
                </a:pathLst>
              </a:custGeom>
              <a:solidFill>
                <a:schemeClr val="accent4">
                  <a:lumMod val="75000"/>
                </a:schemeClr>
              </a:solidFill>
              <a:ln w="6814" cap="flat">
                <a:noFill/>
                <a:prstDash val="solid"/>
                <a:miter/>
              </a:ln>
            </p:spPr>
            <p:txBody>
              <a:bodyPr rtlCol="0" anchor="ctr"/>
              <a:lstStyle/>
              <a:p>
                <a:endParaRPr lang="en-US"/>
              </a:p>
            </p:txBody>
          </p:sp>
          <p:sp>
            <p:nvSpPr>
              <p:cNvPr id="49" name="Freeform 48">
                <a:extLst>
                  <a:ext uri="{FF2B5EF4-FFF2-40B4-BE49-F238E27FC236}">
                    <a16:creationId xmlns:a16="http://schemas.microsoft.com/office/drawing/2014/main" id="{E9B6B159-A6BE-5CC5-E91F-1109E24EC862}"/>
                  </a:ext>
                </a:extLst>
              </p:cNvPr>
              <p:cNvSpPr/>
              <p:nvPr/>
            </p:nvSpPr>
            <p:spPr>
              <a:xfrm>
                <a:off x="6782796" y="3159611"/>
                <a:ext cx="1377040" cy="883502"/>
              </a:xfrm>
              <a:custGeom>
                <a:avLst/>
                <a:gdLst>
                  <a:gd name="connsiteX0" fmla="*/ 136344 w 272005"/>
                  <a:gd name="connsiteY0" fmla="*/ 0 h 174517"/>
                  <a:gd name="connsiteX1" fmla="*/ 272005 w 272005"/>
                  <a:gd name="connsiteY1" fmla="*/ 87259 h 174517"/>
                  <a:gd name="connsiteX2" fmla="*/ 136344 w 272005"/>
                  <a:gd name="connsiteY2" fmla="*/ 174518 h 174517"/>
                  <a:gd name="connsiteX3" fmla="*/ 0 w 272005"/>
                  <a:gd name="connsiteY3" fmla="*/ 87259 h 174517"/>
                  <a:gd name="connsiteX4" fmla="*/ 136344 w 272005"/>
                  <a:gd name="connsiteY4" fmla="*/ 0 h 1745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2005" h="174517">
                    <a:moveTo>
                      <a:pt x="136344" y="0"/>
                    </a:moveTo>
                    <a:lnTo>
                      <a:pt x="272005" y="87259"/>
                    </a:lnTo>
                    <a:lnTo>
                      <a:pt x="136344" y="174518"/>
                    </a:lnTo>
                    <a:lnTo>
                      <a:pt x="0" y="87259"/>
                    </a:lnTo>
                    <a:lnTo>
                      <a:pt x="136344" y="0"/>
                    </a:lnTo>
                    <a:close/>
                  </a:path>
                </a:pathLst>
              </a:custGeom>
              <a:solidFill>
                <a:schemeClr val="accent4"/>
              </a:solidFill>
              <a:ln w="6814" cap="flat">
                <a:noFill/>
                <a:prstDash val="solid"/>
                <a:miter/>
              </a:ln>
            </p:spPr>
            <p:txBody>
              <a:bodyPr rtlCol="0" anchor="ctr"/>
              <a:lstStyle/>
              <a:p>
                <a:endParaRPr lang="en-US"/>
              </a:p>
            </p:txBody>
          </p:sp>
        </p:grpSp>
        <p:pic>
          <p:nvPicPr>
            <p:cNvPr id="50" name="Graphic 49" descr="Bar graph with upward trend with solid fill">
              <a:extLst>
                <a:ext uri="{FF2B5EF4-FFF2-40B4-BE49-F238E27FC236}">
                  <a16:creationId xmlns:a16="http://schemas.microsoft.com/office/drawing/2014/main" id="{1FEF7303-374B-D186-A45B-BD27F7D14091}"/>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5674767" y="1659789"/>
              <a:ext cx="610358" cy="610358"/>
            </a:xfrm>
            <a:prstGeom prst="rect">
              <a:avLst/>
            </a:prstGeom>
            <a:effectLst>
              <a:outerShdw blurRad="50800" dist="38100" dir="2700000" algn="tl" rotWithShape="0">
                <a:prstClr val="black">
                  <a:alpha val="40000"/>
                </a:prstClr>
              </a:outerShdw>
            </a:effectLst>
            <a:scene3d>
              <a:camera prst="perspectiveRelaxedModerately"/>
              <a:lightRig rig="threePt" dir="t"/>
            </a:scene3d>
          </p:spPr>
        </p:pic>
        <p:pic>
          <p:nvPicPr>
            <p:cNvPr id="51" name="Graphic 50" descr="Rocket with solid fill">
              <a:extLst>
                <a:ext uri="{FF2B5EF4-FFF2-40B4-BE49-F238E27FC236}">
                  <a16:creationId xmlns:a16="http://schemas.microsoft.com/office/drawing/2014/main" id="{93D05E3B-48D7-C5FB-68E3-1BF23249D85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987970" y="2788329"/>
              <a:ext cx="610358" cy="610358"/>
            </a:xfrm>
            <a:prstGeom prst="rect">
              <a:avLst/>
            </a:prstGeom>
            <a:effectLst>
              <a:outerShdw blurRad="50800" dist="38100" dir="2700000" algn="tl" rotWithShape="0">
                <a:prstClr val="black">
                  <a:alpha val="40000"/>
                </a:prstClr>
              </a:outerShdw>
            </a:effectLst>
            <a:scene3d>
              <a:camera prst="perspectiveRelaxedModerately"/>
              <a:lightRig rig="threePt" dir="t"/>
            </a:scene3d>
          </p:spPr>
        </p:pic>
        <p:pic>
          <p:nvPicPr>
            <p:cNvPr id="52" name="Graphic 51" descr="Dollar with solid fill">
              <a:extLst>
                <a:ext uri="{FF2B5EF4-FFF2-40B4-BE49-F238E27FC236}">
                  <a16:creationId xmlns:a16="http://schemas.microsoft.com/office/drawing/2014/main" id="{C6D33692-DFF7-AE89-20C2-3EA15BC6BEFB}"/>
                </a:ext>
              </a:extLst>
            </p:cNvPr>
            <p:cNvPicPr>
              <a:picLocks noChangeAspect="1"/>
            </p:cNvPicPr>
            <p:nvPr/>
          </p:nvPicPr>
          <p:blipFill>
            <a:blip r:embed="rId12">
              <a:extLst>
                <a:ext uri="{96DAC541-7B7A-43D3-8B79-37D633B846F1}">
                  <asvg:svgBlip xmlns:asvg="http://schemas.microsoft.com/office/drawing/2016/SVG/main" r:embed="rId13"/>
                </a:ext>
              </a:extLst>
            </a:blip>
            <a:srcRect/>
            <a:stretch/>
          </p:blipFill>
          <p:spPr>
            <a:xfrm>
              <a:off x="6365016" y="2788329"/>
              <a:ext cx="610358" cy="610358"/>
            </a:xfrm>
            <a:prstGeom prst="rect">
              <a:avLst/>
            </a:prstGeom>
            <a:effectLst>
              <a:outerShdw blurRad="50800" dist="38100" dir="2700000" algn="tl" rotWithShape="0">
                <a:prstClr val="black">
                  <a:alpha val="40000"/>
                </a:prstClr>
              </a:outerShdw>
            </a:effectLst>
            <a:scene3d>
              <a:camera prst="perspectiveRelaxedModerately"/>
              <a:lightRig rig="threePt" dir="t"/>
            </a:scene3d>
          </p:spPr>
        </p:pic>
        <p:pic>
          <p:nvPicPr>
            <p:cNvPr id="53" name="Graphic 52" descr="Trophy with solid fill">
              <a:extLst>
                <a:ext uri="{FF2B5EF4-FFF2-40B4-BE49-F238E27FC236}">
                  <a16:creationId xmlns:a16="http://schemas.microsoft.com/office/drawing/2014/main" id="{A76E1D8A-E66D-1C88-2ECC-DDD459171E16}"/>
                </a:ext>
              </a:extLst>
            </p:cNvPr>
            <p:cNvPicPr>
              <a:picLocks noChangeAspect="1"/>
            </p:cNvPicPr>
            <p:nvPr/>
          </p:nvPicPr>
          <p:blipFill>
            <a:blip r:embed="rId14">
              <a:extLst>
                <a:ext uri="{96DAC541-7B7A-43D3-8B79-37D633B846F1}">
                  <asvg:svgBlip xmlns:asvg="http://schemas.microsoft.com/office/drawing/2016/SVG/main" r:embed="rId15"/>
                </a:ext>
              </a:extLst>
            </a:blip>
            <a:srcRect/>
            <a:stretch/>
          </p:blipFill>
          <p:spPr>
            <a:xfrm>
              <a:off x="4297721" y="3915143"/>
              <a:ext cx="610358" cy="610358"/>
            </a:xfrm>
            <a:prstGeom prst="rect">
              <a:avLst/>
            </a:prstGeom>
            <a:effectLst>
              <a:outerShdw blurRad="50800" dist="38100" dir="2700000" algn="tl" rotWithShape="0">
                <a:prstClr val="black">
                  <a:alpha val="40000"/>
                </a:prstClr>
              </a:outerShdw>
            </a:effectLst>
            <a:scene3d>
              <a:camera prst="perspectiveRelaxedModerately"/>
              <a:lightRig rig="threePt" dir="t"/>
            </a:scene3d>
          </p:spPr>
        </p:pic>
        <p:pic>
          <p:nvPicPr>
            <p:cNvPr id="54" name="Graphic 53" descr="Flag with solid fill">
              <a:extLst>
                <a:ext uri="{FF2B5EF4-FFF2-40B4-BE49-F238E27FC236}">
                  <a16:creationId xmlns:a16="http://schemas.microsoft.com/office/drawing/2014/main" id="{A3C0CA37-398E-B03A-147F-1B6BF137016B}"/>
                </a:ext>
              </a:extLst>
            </p:cNvPr>
            <p:cNvPicPr>
              <a:picLocks noChangeAspect="1"/>
            </p:cNvPicPr>
            <p:nvPr/>
          </p:nvPicPr>
          <p:blipFill>
            <a:blip r:embed="rId16">
              <a:extLst>
                <a:ext uri="{96DAC541-7B7A-43D3-8B79-37D633B846F1}">
                  <asvg:svgBlip xmlns:asvg="http://schemas.microsoft.com/office/drawing/2016/SVG/main" r:embed="rId17"/>
                </a:ext>
              </a:extLst>
            </a:blip>
            <a:srcRect/>
            <a:stretch/>
          </p:blipFill>
          <p:spPr>
            <a:xfrm>
              <a:off x="5674767" y="3915143"/>
              <a:ext cx="610358" cy="610358"/>
            </a:xfrm>
            <a:prstGeom prst="rect">
              <a:avLst/>
            </a:prstGeom>
            <a:effectLst>
              <a:outerShdw blurRad="50800" dist="38100" dir="2700000" algn="tl" rotWithShape="0">
                <a:prstClr val="black">
                  <a:alpha val="40000"/>
                </a:prstClr>
              </a:outerShdw>
            </a:effectLst>
            <a:scene3d>
              <a:camera prst="perspectiveRelaxedModerately"/>
              <a:lightRig rig="threePt" dir="t"/>
            </a:scene3d>
          </p:spPr>
        </p:pic>
        <p:pic>
          <p:nvPicPr>
            <p:cNvPr id="55" name="Graphic 54" descr="Gears with solid fill">
              <a:extLst>
                <a:ext uri="{FF2B5EF4-FFF2-40B4-BE49-F238E27FC236}">
                  <a16:creationId xmlns:a16="http://schemas.microsoft.com/office/drawing/2014/main" id="{52571743-0363-4544-2151-57579CAE1085}"/>
                </a:ext>
              </a:extLst>
            </p:cNvPr>
            <p:cNvPicPr>
              <a:picLocks noChangeAspect="1"/>
            </p:cNvPicPr>
            <p:nvPr/>
          </p:nvPicPr>
          <p:blipFill>
            <a:blip r:embed="rId18">
              <a:extLst>
                <a:ext uri="{96DAC541-7B7A-43D3-8B79-37D633B846F1}">
                  <asvg:svgBlip xmlns:asvg="http://schemas.microsoft.com/office/drawing/2016/SVG/main" r:embed="rId19"/>
                </a:ext>
              </a:extLst>
            </a:blip>
            <a:srcRect/>
            <a:stretch/>
          </p:blipFill>
          <p:spPr>
            <a:xfrm>
              <a:off x="7051812" y="3915143"/>
              <a:ext cx="610358" cy="610358"/>
            </a:xfrm>
            <a:prstGeom prst="rect">
              <a:avLst/>
            </a:prstGeom>
            <a:effectLst>
              <a:outerShdw blurRad="50800" dist="38100" dir="2700000" algn="tl" rotWithShape="0">
                <a:prstClr val="black">
                  <a:alpha val="40000"/>
                </a:prstClr>
              </a:outerShdw>
            </a:effectLst>
            <a:scene3d>
              <a:camera prst="perspectiveRelaxedModerately"/>
              <a:lightRig rig="threePt" dir="t"/>
            </a:scene3d>
          </p:spPr>
        </p:pic>
        <p:pic>
          <p:nvPicPr>
            <p:cNvPr id="56" name="Graphic 55" descr="Diploma roll with solid fill">
              <a:extLst>
                <a:ext uri="{FF2B5EF4-FFF2-40B4-BE49-F238E27FC236}">
                  <a16:creationId xmlns:a16="http://schemas.microsoft.com/office/drawing/2014/main" id="{A0BE62AE-0719-F42B-4F38-463984090595}"/>
                </a:ext>
              </a:extLst>
            </p:cNvPr>
            <p:cNvPicPr>
              <a:picLocks noChangeAspect="1"/>
            </p:cNvPicPr>
            <p:nvPr/>
          </p:nvPicPr>
          <p:blipFill>
            <a:blip r:embed="rId20">
              <a:extLst>
                <a:ext uri="{96DAC541-7B7A-43D3-8B79-37D633B846F1}">
                  <asvg:svgBlip xmlns:asvg="http://schemas.microsoft.com/office/drawing/2016/SVG/main" r:embed="rId21"/>
                </a:ext>
              </a:extLst>
            </a:blip>
            <a:srcRect/>
            <a:stretch/>
          </p:blipFill>
          <p:spPr>
            <a:xfrm>
              <a:off x="3610930" y="5041961"/>
              <a:ext cx="610358" cy="610358"/>
            </a:xfrm>
            <a:prstGeom prst="rect">
              <a:avLst/>
            </a:prstGeom>
            <a:effectLst>
              <a:outerShdw blurRad="50800" dist="38100" dir="2700000" algn="tl" rotWithShape="0">
                <a:prstClr val="black">
                  <a:alpha val="40000"/>
                </a:prstClr>
              </a:outerShdw>
            </a:effectLst>
            <a:scene3d>
              <a:camera prst="perspectiveRelaxedModerately"/>
              <a:lightRig rig="threePt" dir="t"/>
            </a:scene3d>
          </p:spPr>
        </p:pic>
        <p:pic>
          <p:nvPicPr>
            <p:cNvPr id="57" name="Graphic 56" descr="Heart with solid fill">
              <a:extLst>
                <a:ext uri="{FF2B5EF4-FFF2-40B4-BE49-F238E27FC236}">
                  <a16:creationId xmlns:a16="http://schemas.microsoft.com/office/drawing/2014/main" id="{53A4A8D0-9A0D-18E7-9B6F-3BEDBDC54E92}"/>
                </a:ext>
              </a:extLst>
            </p:cNvPr>
            <p:cNvPicPr>
              <a:picLocks noChangeAspect="1"/>
            </p:cNvPicPr>
            <p:nvPr/>
          </p:nvPicPr>
          <p:blipFill>
            <a:blip r:embed="rId22">
              <a:extLst>
                <a:ext uri="{96DAC541-7B7A-43D3-8B79-37D633B846F1}">
                  <asvg:svgBlip xmlns:asvg="http://schemas.microsoft.com/office/drawing/2016/SVG/main" r:embed="rId23"/>
                </a:ext>
              </a:extLst>
            </a:blip>
            <a:srcRect/>
            <a:stretch/>
          </p:blipFill>
          <p:spPr>
            <a:xfrm>
              <a:off x="4987970" y="5041961"/>
              <a:ext cx="610358" cy="610358"/>
            </a:xfrm>
            <a:prstGeom prst="rect">
              <a:avLst/>
            </a:prstGeom>
            <a:effectLst>
              <a:outerShdw blurRad="50800" dist="38100" dir="2700000" algn="tl" rotWithShape="0">
                <a:prstClr val="black">
                  <a:alpha val="40000"/>
                </a:prstClr>
              </a:outerShdw>
            </a:effectLst>
            <a:scene3d>
              <a:camera prst="perspectiveRelaxedModerately"/>
              <a:lightRig rig="threePt" dir="t"/>
            </a:scene3d>
          </p:spPr>
        </p:pic>
        <p:pic>
          <p:nvPicPr>
            <p:cNvPr id="58" name="Graphic 57" descr="Daily calendar with solid fill">
              <a:extLst>
                <a:ext uri="{FF2B5EF4-FFF2-40B4-BE49-F238E27FC236}">
                  <a16:creationId xmlns:a16="http://schemas.microsoft.com/office/drawing/2014/main" id="{B745593E-51D0-93FC-90B3-160DA9C3F5BC}"/>
                </a:ext>
              </a:extLst>
            </p:cNvPr>
            <p:cNvPicPr>
              <a:picLocks noChangeAspect="1"/>
            </p:cNvPicPr>
            <p:nvPr/>
          </p:nvPicPr>
          <p:blipFill>
            <a:blip r:embed="rId24">
              <a:extLst>
                <a:ext uri="{96DAC541-7B7A-43D3-8B79-37D633B846F1}">
                  <asvg:svgBlip xmlns:asvg="http://schemas.microsoft.com/office/drawing/2016/SVG/main" r:embed="rId25"/>
                </a:ext>
              </a:extLst>
            </a:blip>
            <a:srcRect/>
            <a:stretch/>
          </p:blipFill>
          <p:spPr>
            <a:xfrm>
              <a:off x="6365016" y="5041961"/>
              <a:ext cx="610358" cy="610358"/>
            </a:xfrm>
            <a:prstGeom prst="rect">
              <a:avLst/>
            </a:prstGeom>
            <a:effectLst>
              <a:outerShdw blurRad="50800" dist="38100" dir="2700000" algn="tl" rotWithShape="0">
                <a:prstClr val="black">
                  <a:alpha val="40000"/>
                </a:prstClr>
              </a:outerShdw>
            </a:effectLst>
            <a:scene3d>
              <a:camera prst="perspectiveRelaxedModerately"/>
              <a:lightRig rig="threePt" dir="t"/>
            </a:scene3d>
          </p:spPr>
        </p:pic>
        <p:pic>
          <p:nvPicPr>
            <p:cNvPr id="59" name="Graphic 58" descr="Compass with solid fill">
              <a:extLst>
                <a:ext uri="{FF2B5EF4-FFF2-40B4-BE49-F238E27FC236}">
                  <a16:creationId xmlns:a16="http://schemas.microsoft.com/office/drawing/2014/main" id="{2ACCFC5F-991F-BB24-A500-05F290568492}"/>
                </a:ext>
              </a:extLst>
            </p:cNvPr>
            <p:cNvPicPr>
              <a:picLocks noChangeAspect="1"/>
            </p:cNvPicPr>
            <p:nvPr/>
          </p:nvPicPr>
          <p:blipFill>
            <a:blip r:embed="rId26">
              <a:extLst>
                <a:ext uri="{96DAC541-7B7A-43D3-8B79-37D633B846F1}">
                  <asvg:svgBlip xmlns:asvg="http://schemas.microsoft.com/office/drawing/2016/SVG/main" r:embed="rId27"/>
                </a:ext>
              </a:extLst>
            </a:blip>
            <a:srcRect/>
            <a:stretch/>
          </p:blipFill>
          <p:spPr>
            <a:xfrm>
              <a:off x="7742062" y="5041961"/>
              <a:ext cx="610358" cy="610358"/>
            </a:xfrm>
            <a:prstGeom prst="rect">
              <a:avLst/>
            </a:prstGeom>
            <a:effectLst>
              <a:outerShdw blurRad="50800" dist="38100" dir="2700000" algn="tl" rotWithShape="0">
                <a:prstClr val="black">
                  <a:alpha val="40000"/>
                </a:prstClr>
              </a:outerShdw>
            </a:effectLst>
            <a:scene3d>
              <a:camera prst="perspectiveRelaxedModerately"/>
              <a:lightRig rig="threePt" dir="t"/>
            </a:scene3d>
          </p:spPr>
        </p:pic>
      </p:grpSp>
      <p:sp>
        <p:nvSpPr>
          <p:cNvPr id="73" name="Text Placeholder 2">
            <a:extLst>
              <a:ext uri="{FF2B5EF4-FFF2-40B4-BE49-F238E27FC236}">
                <a16:creationId xmlns:a16="http://schemas.microsoft.com/office/drawing/2014/main" id="{3D909F80-6D8C-4A0A-3C91-371A597FB8CB}"/>
              </a:ext>
            </a:extLst>
          </p:cNvPr>
          <p:cNvSpPr txBox="1">
            <a:spLocks/>
          </p:cNvSpPr>
          <p:nvPr/>
        </p:nvSpPr>
        <p:spPr>
          <a:xfrm>
            <a:off x="384175" y="1231900"/>
            <a:ext cx="6700019" cy="4957763"/>
          </a:xfrm>
          <a:prstGeom prst="rect">
            <a:avLst/>
          </a:prstGeom>
        </p:spPr>
        <p:txBody>
          <a:bodyPr/>
          <a:lstStyle>
            <a:lvl1pPr marL="342895" indent="-342895" algn="l" defTabSz="457192" rtl="0" eaLnBrk="1" latinLnBrk="0" hangingPunct="1">
              <a:spcBef>
                <a:spcPct val="20000"/>
              </a:spcBef>
              <a:buFont typeface="Arial"/>
              <a:buChar char="•"/>
              <a:defRPr sz="2400" b="0" i="0" kern="1200">
                <a:solidFill>
                  <a:schemeClr val="tx1"/>
                </a:solidFill>
                <a:latin typeface="Trebuchet MS"/>
                <a:ea typeface="+mn-ea"/>
                <a:cs typeface="Arial"/>
              </a:defRPr>
            </a:lvl1pPr>
            <a:lvl2pPr marL="742937" indent="-285745" algn="l" defTabSz="457192" rtl="0" eaLnBrk="1" latinLnBrk="0" hangingPunct="1">
              <a:spcBef>
                <a:spcPct val="20000"/>
              </a:spcBef>
              <a:buFont typeface="Arial"/>
              <a:buChar char="–"/>
              <a:defRPr sz="2000" b="0" i="0" kern="1200">
                <a:solidFill>
                  <a:schemeClr val="tx1"/>
                </a:solidFill>
                <a:latin typeface="Trebuchet MS"/>
                <a:ea typeface="+mn-ea"/>
                <a:cs typeface="Arial"/>
              </a:defRPr>
            </a:lvl2pPr>
            <a:lvl3pPr marL="1142980" indent="-228596" algn="l" defTabSz="457192" rtl="0" eaLnBrk="1" latinLnBrk="0" hangingPunct="1">
              <a:spcBef>
                <a:spcPct val="20000"/>
              </a:spcBef>
              <a:buFont typeface="Arial"/>
              <a:buChar char="•"/>
              <a:defRPr sz="1800" b="0" i="0" kern="1200">
                <a:solidFill>
                  <a:schemeClr val="tx1"/>
                </a:solidFill>
                <a:latin typeface="Trebuchet MS"/>
                <a:ea typeface="+mn-ea"/>
                <a:cs typeface="Arial"/>
              </a:defRPr>
            </a:lvl3pPr>
            <a:lvl4pPr marL="1600172" indent="-228596" algn="l" defTabSz="457192" rtl="0" eaLnBrk="1" latinLnBrk="0" hangingPunct="1">
              <a:spcBef>
                <a:spcPct val="20000"/>
              </a:spcBef>
              <a:buFont typeface="Arial"/>
              <a:buChar char="–"/>
              <a:defRPr sz="1600" b="0" i="0" kern="1200">
                <a:solidFill>
                  <a:schemeClr val="tx1"/>
                </a:solidFill>
                <a:latin typeface="Trebuchet MS"/>
                <a:ea typeface="+mn-ea"/>
                <a:cs typeface="Arial"/>
              </a:defRPr>
            </a:lvl4pPr>
            <a:lvl5pPr marL="2057364" indent="-228596" algn="l" defTabSz="457192" rtl="0" eaLnBrk="1" latinLnBrk="0" hangingPunct="1">
              <a:spcBef>
                <a:spcPct val="20000"/>
              </a:spcBef>
              <a:buFont typeface="Arial"/>
              <a:buChar char="»"/>
              <a:defRPr sz="1400" b="0" i="0" kern="1200">
                <a:solidFill>
                  <a:schemeClr val="tx1"/>
                </a:solidFill>
                <a:latin typeface="Trebuchet MS"/>
                <a:ea typeface="+mn-ea"/>
                <a:cs typeface="Arial"/>
              </a:defRPr>
            </a:lvl5pPr>
            <a:lvl6pPr marL="2514556" indent="-228596" algn="l" defTabSz="457192" rtl="0" eaLnBrk="1" latinLnBrk="0" hangingPunct="1">
              <a:spcBef>
                <a:spcPct val="20000"/>
              </a:spcBef>
              <a:buFont typeface="Arial"/>
              <a:buChar char="•"/>
              <a:defRPr sz="2000" kern="1200">
                <a:solidFill>
                  <a:schemeClr val="tx1"/>
                </a:solidFill>
                <a:latin typeface="+mn-lt"/>
                <a:ea typeface="+mn-ea"/>
                <a:cs typeface="+mn-cs"/>
              </a:defRPr>
            </a:lvl6pPr>
            <a:lvl7pPr marL="2971748" indent="-228596" algn="l" defTabSz="457192" rtl="0" eaLnBrk="1" latinLnBrk="0" hangingPunct="1">
              <a:spcBef>
                <a:spcPct val="20000"/>
              </a:spcBef>
              <a:buFont typeface="Arial"/>
              <a:buChar char="•"/>
              <a:defRPr sz="2000" kern="1200">
                <a:solidFill>
                  <a:schemeClr val="tx1"/>
                </a:solidFill>
                <a:latin typeface="+mn-lt"/>
                <a:ea typeface="+mn-ea"/>
                <a:cs typeface="+mn-cs"/>
              </a:defRPr>
            </a:lvl7pPr>
            <a:lvl8pPr marL="3428940" indent="-228596" algn="l" defTabSz="457192" rtl="0" eaLnBrk="1" latinLnBrk="0" hangingPunct="1">
              <a:spcBef>
                <a:spcPct val="20000"/>
              </a:spcBef>
              <a:buFont typeface="Arial"/>
              <a:buChar char="•"/>
              <a:defRPr sz="2000" kern="1200">
                <a:solidFill>
                  <a:schemeClr val="tx1"/>
                </a:solidFill>
                <a:latin typeface="+mn-lt"/>
                <a:ea typeface="+mn-ea"/>
                <a:cs typeface="+mn-cs"/>
              </a:defRPr>
            </a:lvl8pPr>
            <a:lvl9pPr marL="3886132" indent="-228596" algn="l" defTabSz="457192" rtl="0" eaLnBrk="1" latinLnBrk="0" hangingPunct="1">
              <a:spcBef>
                <a:spcPct val="20000"/>
              </a:spcBef>
              <a:buFont typeface="Arial"/>
              <a:buChar char="•"/>
              <a:defRPr sz="2000" kern="1200">
                <a:solidFill>
                  <a:schemeClr val="tx1"/>
                </a:solidFill>
                <a:latin typeface="+mn-lt"/>
                <a:ea typeface="+mn-ea"/>
                <a:cs typeface="+mn-cs"/>
              </a:defRPr>
            </a:lvl9pPr>
          </a:lstStyle>
          <a:p>
            <a:r>
              <a:rPr lang="en-US" sz="1800"/>
              <a:t>AI agents can be </a:t>
            </a:r>
            <a:r>
              <a:rPr lang="en-US" sz="1800" err="1"/>
              <a:t>defacto</a:t>
            </a:r>
            <a:r>
              <a:rPr lang="en-US" sz="1800"/>
              <a:t> tools themselves.</a:t>
            </a:r>
          </a:p>
          <a:p>
            <a:pPr marL="0" indent="0">
              <a:buNone/>
            </a:pPr>
            <a:endParaRPr lang="en-US" sz="1800"/>
          </a:p>
          <a:p>
            <a:r>
              <a:rPr lang="en-US" sz="1800"/>
              <a:t>Other agents can ask another agent to provide certain findings</a:t>
            </a:r>
          </a:p>
          <a:p>
            <a:endParaRPr lang="en-US" sz="1800"/>
          </a:p>
          <a:p>
            <a:r>
              <a:rPr lang="en-US" sz="1800"/>
              <a:t>The agents are called ‘experts’</a:t>
            </a:r>
            <a:br>
              <a:rPr lang="en-US" sz="1800"/>
            </a:br>
            <a:endParaRPr lang="en-US" sz="1800"/>
          </a:p>
          <a:p>
            <a:r>
              <a:rPr lang="en-US" sz="1800"/>
              <a:t>(Right) We have a hierarchical structure where various agents can only see a couple of tools or peer agents at a time.</a:t>
            </a:r>
            <a:br>
              <a:rPr lang="en-US" sz="1800"/>
            </a:br>
            <a:endParaRPr lang="en-US" sz="1800"/>
          </a:p>
          <a:p>
            <a:r>
              <a:rPr lang="en-US" sz="1800"/>
              <a:t>Example: One agent might handle raw data processing, another built to decipher the data and a third with decision making. This is called “distributed intelligence”</a:t>
            </a:r>
            <a:br>
              <a:rPr lang="en-US" sz="1800"/>
            </a:br>
            <a:endParaRPr lang="en-US" sz="1800"/>
          </a:p>
          <a:p>
            <a:r>
              <a:rPr lang="en-US" sz="1800"/>
              <a:t>o3 uses real time web browsing while o3-mini without the real time browsing performs much worse. </a:t>
            </a:r>
          </a:p>
        </p:txBody>
      </p:sp>
      <p:sp>
        <p:nvSpPr>
          <p:cNvPr id="74" name="TextBox 73">
            <a:extLst>
              <a:ext uri="{FF2B5EF4-FFF2-40B4-BE49-F238E27FC236}">
                <a16:creationId xmlns:a16="http://schemas.microsoft.com/office/drawing/2014/main" id="{C8D7D4D8-2E71-2365-8BD7-667D5D25841B}"/>
              </a:ext>
            </a:extLst>
          </p:cNvPr>
          <p:cNvSpPr txBox="1"/>
          <p:nvPr/>
        </p:nvSpPr>
        <p:spPr>
          <a:xfrm>
            <a:off x="716376" y="6439915"/>
            <a:ext cx="4201987" cy="276999"/>
          </a:xfrm>
          <a:prstGeom prst="rect">
            <a:avLst/>
          </a:prstGeom>
          <a:noFill/>
        </p:spPr>
        <p:txBody>
          <a:bodyPr wrap="square" rtlCol="0">
            <a:spAutoFit/>
          </a:bodyPr>
          <a:lstStyle/>
          <a:p>
            <a:r>
              <a:rPr lang="en-US" sz="1200"/>
              <a:t>https://</a:t>
            </a:r>
            <a:r>
              <a:rPr lang="en-US" sz="1200" err="1"/>
              <a:t>x.com</a:t>
            </a:r>
            <a:r>
              <a:rPr lang="en-US" sz="1200"/>
              <a:t>/</a:t>
            </a:r>
            <a:r>
              <a:rPr lang="en-US" sz="1200" err="1"/>
              <a:t>DanHendrycks</a:t>
            </a:r>
            <a:r>
              <a:rPr lang="en-US" sz="1200"/>
              <a:t>/status/1886207504037945462</a:t>
            </a:r>
          </a:p>
        </p:txBody>
      </p:sp>
    </p:spTree>
    <p:extLst>
      <p:ext uri="{BB962C8B-B14F-4D97-AF65-F5344CB8AC3E}">
        <p14:creationId xmlns:p14="http://schemas.microsoft.com/office/powerpoint/2010/main" val="31301535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5000"/>
                                  </p:stCondLst>
                                  <p:childTnLst>
                                    <p:set>
                                      <p:cBhvr>
                                        <p:cTn id="6" dur="1" fill="hold">
                                          <p:stCondLst>
                                            <p:cond delay="0"/>
                                          </p:stCondLst>
                                        </p:cTn>
                                        <p:tgtEl>
                                          <p:spTgt spid="70"/>
                                        </p:tgtEl>
                                        <p:attrNameLst>
                                          <p:attrName>style.visibility</p:attrName>
                                        </p:attrNameLst>
                                      </p:cBhvr>
                                      <p:to>
                                        <p:strVal val="visible"/>
                                      </p:to>
                                    </p:set>
                                    <p:animEffect transition="in" filter="dissolve">
                                      <p:cBhvr>
                                        <p:cTn id="7" dur="10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364B9F-AA62-07C5-9532-0C9C69A8AD79}"/>
              </a:ext>
            </a:extLst>
          </p:cNvPr>
          <p:cNvSpPr>
            <a:spLocks noGrp="1"/>
          </p:cNvSpPr>
          <p:nvPr>
            <p:ph type="title"/>
          </p:nvPr>
        </p:nvSpPr>
        <p:spPr/>
        <p:txBody>
          <a:bodyPr/>
          <a:lstStyle/>
          <a:p>
            <a:r>
              <a:rPr lang="en-US"/>
              <a:t>What are some of the tools we can enable with Agents?</a:t>
            </a:r>
          </a:p>
        </p:txBody>
      </p:sp>
      <p:sp>
        <p:nvSpPr>
          <p:cNvPr id="3" name="Text Placeholder 2">
            <a:extLst>
              <a:ext uri="{FF2B5EF4-FFF2-40B4-BE49-F238E27FC236}">
                <a16:creationId xmlns:a16="http://schemas.microsoft.com/office/drawing/2014/main" id="{D078517E-4A7E-7162-A68F-D4129783CFFF}"/>
              </a:ext>
            </a:extLst>
          </p:cNvPr>
          <p:cNvSpPr>
            <a:spLocks noGrp="1"/>
          </p:cNvSpPr>
          <p:nvPr>
            <p:ph type="body" sz="quarter" idx="10"/>
          </p:nvPr>
        </p:nvSpPr>
        <p:spPr>
          <a:xfrm>
            <a:off x="258213" y="1257340"/>
            <a:ext cx="3840832" cy="4957763"/>
          </a:xfrm>
        </p:spPr>
        <p:txBody>
          <a:bodyPr/>
          <a:lstStyle/>
          <a:p>
            <a:r>
              <a:rPr lang="en-US"/>
              <a:t>APIs</a:t>
            </a:r>
          </a:p>
          <a:p>
            <a:r>
              <a:rPr lang="en-US"/>
              <a:t>System controls</a:t>
            </a:r>
          </a:p>
          <a:p>
            <a:r>
              <a:rPr lang="en-US"/>
              <a:t>Database connections</a:t>
            </a:r>
          </a:p>
          <a:p>
            <a:r>
              <a:rPr lang="en-US"/>
              <a:t>Custom built code</a:t>
            </a:r>
          </a:p>
          <a:p>
            <a:r>
              <a:rPr lang="en-US"/>
              <a:t>Applications (search engines)</a:t>
            </a:r>
          </a:p>
          <a:p>
            <a:r>
              <a:rPr lang="en-US"/>
              <a:t>Command line access to executables.. more apps</a:t>
            </a:r>
          </a:p>
        </p:txBody>
      </p:sp>
      <p:sp>
        <p:nvSpPr>
          <p:cNvPr id="4" name="TextBox 3">
            <a:extLst>
              <a:ext uri="{FF2B5EF4-FFF2-40B4-BE49-F238E27FC236}">
                <a16:creationId xmlns:a16="http://schemas.microsoft.com/office/drawing/2014/main" id="{874D6DC5-06F2-687B-CADA-62621B6DEAAD}"/>
              </a:ext>
            </a:extLst>
          </p:cNvPr>
          <p:cNvSpPr txBox="1"/>
          <p:nvPr/>
        </p:nvSpPr>
        <p:spPr>
          <a:xfrm>
            <a:off x="526473" y="6189663"/>
            <a:ext cx="3412024" cy="369332"/>
          </a:xfrm>
          <a:prstGeom prst="rect">
            <a:avLst/>
          </a:prstGeom>
          <a:noFill/>
        </p:spPr>
        <p:txBody>
          <a:bodyPr wrap="none" rtlCol="0">
            <a:spAutoFit/>
          </a:bodyPr>
          <a:lstStyle/>
          <a:p>
            <a:r>
              <a:rPr lang="en-US"/>
              <a:t>https://</a:t>
            </a:r>
            <a:r>
              <a:rPr lang="en-US" err="1"/>
              <a:t>arxiv.org</a:t>
            </a:r>
            <a:r>
              <a:rPr lang="en-US"/>
              <a:t>/pdf/2308.03427</a:t>
            </a:r>
          </a:p>
        </p:txBody>
      </p:sp>
      <p:sp>
        <p:nvSpPr>
          <p:cNvPr id="5" name="TextBox 4">
            <a:extLst>
              <a:ext uri="{FF2B5EF4-FFF2-40B4-BE49-F238E27FC236}">
                <a16:creationId xmlns:a16="http://schemas.microsoft.com/office/drawing/2014/main" id="{D839A6CB-7EC2-A385-7230-658863E9CDD1}"/>
              </a:ext>
            </a:extLst>
          </p:cNvPr>
          <p:cNvSpPr txBox="1"/>
          <p:nvPr/>
        </p:nvSpPr>
        <p:spPr>
          <a:xfrm>
            <a:off x="4475018" y="6189663"/>
            <a:ext cx="6823215" cy="369332"/>
          </a:xfrm>
          <a:prstGeom prst="rect">
            <a:avLst/>
          </a:prstGeom>
          <a:noFill/>
        </p:spPr>
        <p:txBody>
          <a:bodyPr wrap="none" rtlCol="0">
            <a:spAutoFit/>
          </a:bodyPr>
          <a:lstStyle/>
          <a:p>
            <a:r>
              <a:rPr lang="en-US"/>
              <a:t>https://</a:t>
            </a:r>
            <a:r>
              <a:rPr lang="en-US" err="1"/>
              <a:t>gorilla.cs.berkeley.edu</a:t>
            </a:r>
            <a:r>
              <a:rPr lang="en-US"/>
              <a:t>/blogs/15_bfcl_v4_web_search.html</a:t>
            </a:r>
          </a:p>
        </p:txBody>
      </p:sp>
      <p:pic>
        <p:nvPicPr>
          <p:cNvPr id="10" name="Picture 9" descr="A screenshot of a computer screen&#10;&#10;AI-generated content may be incorrect.">
            <a:extLst>
              <a:ext uri="{FF2B5EF4-FFF2-40B4-BE49-F238E27FC236}">
                <a16:creationId xmlns:a16="http://schemas.microsoft.com/office/drawing/2014/main" id="{3A0E2287-AFB3-52F7-7C28-7DC8526304B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67305" y="1257340"/>
            <a:ext cx="7772400" cy="4932323"/>
          </a:xfrm>
          <a:prstGeom prst="rect">
            <a:avLst/>
          </a:prstGeom>
        </p:spPr>
      </p:pic>
      <p:sp>
        <p:nvSpPr>
          <p:cNvPr id="8" name="TextBox 7">
            <a:extLst>
              <a:ext uri="{FF2B5EF4-FFF2-40B4-BE49-F238E27FC236}">
                <a16:creationId xmlns:a16="http://schemas.microsoft.com/office/drawing/2014/main" id="{129EB906-4CD1-E227-D1E4-6CB98166B85A}"/>
              </a:ext>
            </a:extLst>
          </p:cNvPr>
          <p:cNvSpPr txBox="1"/>
          <p:nvPr/>
        </p:nvSpPr>
        <p:spPr>
          <a:xfrm>
            <a:off x="4225007" y="927053"/>
            <a:ext cx="4172937" cy="369332"/>
          </a:xfrm>
          <a:prstGeom prst="rect">
            <a:avLst/>
          </a:prstGeom>
          <a:noFill/>
        </p:spPr>
        <p:txBody>
          <a:bodyPr wrap="none" rtlCol="0">
            <a:spAutoFit/>
          </a:bodyPr>
          <a:lstStyle/>
          <a:p>
            <a:r>
              <a:rPr lang="en-US"/>
              <a:t>Berkeley Function Calling Leaderboard</a:t>
            </a:r>
          </a:p>
        </p:txBody>
      </p:sp>
    </p:spTree>
    <p:extLst>
      <p:ext uri="{BB962C8B-B14F-4D97-AF65-F5344CB8AC3E}">
        <p14:creationId xmlns:p14="http://schemas.microsoft.com/office/powerpoint/2010/main" val="274695159"/>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Freeform: Shape 10">
            <a:extLst>
              <a:ext uri="{FF2B5EF4-FFF2-40B4-BE49-F238E27FC236}">
                <a16:creationId xmlns:a16="http://schemas.microsoft.com/office/drawing/2014/main" id="{E92AED47-4C8D-A765-6947-089EF484506F}"/>
              </a:ext>
            </a:extLst>
          </p:cNvPr>
          <p:cNvSpPr/>
          <p:nvPr/>
        </p:nvSpPr>
        <p:spPr>
          <a:xfrm>
            <a:off x="3408218" y="1147510"/>
            <a:ext cx="6025761" cy="4969272"/>
          </a:xfrm>
          <a:custGeom>
            <a:avLst/>
            <a:gdLst>
              <a:gd name="connsiteX0" fmla="*/ 0 w 5458691"/>
              <a:gd name="connsiteY0" fmla="*/ 4253346 h 4253346"/>
              <a:gd name="connsiteX1" fmla="*/ 1995055 w 5458691"/>
              <a:gd name="connsiteY1" fmla="*/ 1537855 h 4253346"/>
              <a:gd name="connsiteX2" fmla="*/ 5458691 w 5458691"/>
              <a:gd name="connsiteY2" fmla="*/ 0 h 4253346"/>
              <a:gd name="connsiteX0" fmla="*/ 0 w 5458691"/>
              <a:gd name="connsiteY0" fmla="*/ 4253346 h 4253346"/>
              <a:gd name="connsiteX1" fmla="*/ 2535382 w 5458691"/>
              <a:gd name="connsiteY1" fmla="*/ 1122218 h 4253346"/>
              <a:gd name="connsiteX2" fmla="*/ 5458691 w 5458691"/>
              <a:gd name="connsiteY2" fmla="*/ 0 h 4253346"/>
              <a:gd name="connsiteX0" fmla="*/ 0 w 6025761"/>
              <a:gd name="connsiteY0" fmla="*/ 4969272 h 4969272"/>
              <a:gd name="connsiteX1" fmla="*/ 2535382 w 6025761"/>
              <a:gd name="connsiteY1" fmla="*/ 1838144 h 4969272"/>
              <a:gd name="connsiteX2" fmla="*/ 6025761 w 6025761"/>
              <a:gd name="connsiteY2" fmla="*/ 0 h 4969272"/>
              <a:gd name="connsiteX0" fmla="*/ 0 w 6025761"/>
              <a:gd name="connsiteY0" fmla="*/ 4969272 h 4969272"/>
              <a:gd name="connsiteX1" fmla="*/ 2535382 w 6025761"/>
              <a:gd name="connsiteY1" fmla="*/ 1838144 h 4969272"/>
              <a:gd name="connsiteX2" fmla="*/ 6025761 w 6025761"/>
              <a:gd name="connsiteY2" fmla="*/ 0 h 4969272"/>
            </a:gdLst>
            <a:ahLst/>
            <a:cxnLst>
              <a:cxn ang="0">
                <a:pos x="connsiteX0" y="connsiteY0"/>
              </a:cxn>
              <a:cxn ang="0">
                <a:pos x="connsiteX1" y="connsiteY1"/>
              </a:cxn>
              <a:cxn ang="0">
                <a:pos x="connsiteX2" y="connsiteY2"/>
              </a:cxn>
            </a:cxnLst>
            <a:rect l="l" t="t" r="r" b="b"/>
            <a:pathLst>
              <a:path w="6025761" h="4969272">
                <a:moveTo>
                  <a:pt x="0" y="4969272"/>
                </a:moveTo>
                <a:cubicBezTo>
                  <a:pt x="542636" y="3965972"/>
                  <a:pt x="1625600" y="2547035"/>
                  <a:pt x="2535382" y="1838144"/>
                </a:cubicBezTo>
                <a:cubicBezTo>
                  <a:pt x="3445164" y="1129253"/>
                  <a:pt x="3887918" y="759208"/>
                  <a:pt x="6025761" y="0"/>
                </a:cubicBezTo>
              </a:path>
            </a:pathLst>
          </a:custGeom>
          <a:noFill/>
          <a:ln w="20955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Freeform 6">
            <a:extLst>
              <a:ext uri="{FF2B5EF4-FFF2-40B4-BE49-F238E27FC236}">
                <a16:creationId xmlns:a16="http://schemas.microsoft.com/office/drawing/2014/main" id="{55D0A601-0D4F-2BDF-5A54-EE04BCFEEB49}"/>
              </a:ext>
            </a:extLst>
          </p:cNvPr>
          <p:cNvSpPr>
            <a:spLocks/>
          </p:cNvSpPr>
          <p:nvPr/>
        </p:nvSpPr>
        <p:spPr bwMode="auto">
          <a:xfrm>
            <a:off x="6120533" y="655356"/>
            <a:ext cx="1759815" cy="974930"/>
          </a:xfrm>
          <a:custGeom>
            <a:avLst/>
            <a:gdLst>
              <a:gd name="T0" fmla="*/ 90 w 3705"/>
              <a:gd name="T1" fmla="*/ 1401 h 2049"/>
              <a:gd name="T2" fmla="*/ 133 w 3705"/>
              <a:gd name="T3" fmla="*/ 1569 h 2049"/>
              <a:gd name="T4" fmla="*/ 274 w 3705"/>
              <a:gd name="T5" fmla="*/ 1711 h 2049"/>
              <a:gd name="T6" fmla="*/ 442 w 3705"/>
              <a:gd name="T7" fmla="*/ 1753 h 2049"/>
              <a:gd name="T8" fmla="*/ 576 w 3705"/>
              <a:gd name="T9" fmla="*/ 1727 h 2049"/>
              <a:gd name="T10" fmla="*/ 673 w 3705"/>
              <a:gd name="T11" fmla="*/ 1711 h 2049"/>
              <a:gd name="T12" fmla="*/ 871 w 3705"/>
              <a:gd name="T13" fmla="*/ 1783 h 2049"/>
              <a:gd name="T14" fmla="*/ 1024 w 3705"/>
              <a:gd name="T15" fmla="*/ 1769 h 2049"/>
              <a:gd name="T16" fmla="*/ 1214 w 3705"/>
              <a:gd name="T17" fmla="*/ 1650 h 2049"/>
              <a:gd name="T18" fmla="*/ 1312 w 3705"/>
              <a:gd name="T19" fmla="*/ 1449 h 2049"/>
              <a:gd name="T20" fmla="*/ 1418 w 3705"/>
              <a:gd name="T21" fmla="*/ 1508 h 2049"/>
              <a:gd name="T22" fmla="*/ 1648 w 3705"/>
              <a:gd name="T23" fmla="*/ 1578 h 2049"/>
              <a:gd name="T24" fmla="*/ 1849 w 3705"/>
              <a:gd name="T25" fmla="*/ 1527 h 2049"/>
              <a:gd name="T26" fmla="*/ 1965 w 3705"/>
              <a:gd name="T27" fmla="*/ 1479 h 2049"/>
              <a:gd name="T28" fmla="*/ 2137 w 3705"/>
              <a:gd name="T29" fmla="*/ 1590 h 2049"/>
              <a:gd name="T30" fmla="*/ 2169 w 3705"/>
              <a:gd name="T31" fmla="*/ 1639 h 2049"/>
              <a:gd name="T32" fmla="*/ 2218 w 3705"/>
              <a:gd name="T33" fmla="*/ 1835 h 2049"/>
              <a:gd name="T34" fmla="*/ 2383 w 3705"/>
              <a:gd name="T35" fmla="*/ 2000 h 2049"/>
              <a:gd name="T36" fmla="*/ 2578 w 3705"/>
              <a:gd name="T37" fmla="*/ 2049 h 2049"/>
              <a:gd name="T38" fmla="*/ 2724 w 3705"/>
              <a:gd name="T39" fmla="*/ 2022 h 2049"/>
              <a:gd name="T40" fmla="*/ 2866 w 3705"/>
              <a:gd name="T41" fmla="*/ 1931 h 2049"/>
              <a:gd name="T42" fmla="*/ 2948 w 3705"/>
              <a:gd name="T43" fmla="*/ 1814 h 2049"/>
              <a:gd name="T44" fmla="*/ 3088 w 3705"/>
              <a:gd name="T45" fmla="*/ 1861 h 2049"/>
              <a:gd name="T46" fmla="*/ 3234 w 3705"/>
              <a:gd name="T47" fmla="*/ 1867 h 2049"/>
              <a:gd name="T48" fmla="*/ 3514 w 3705"/>
              <a:gd name="T49" fmla="*/ 1750 h 2049"/>
              <a:gd name="T50" fmla="*/ 3683 w 3705"/>
              <a:gd name="T51" fmla="*/ 1501 h 2049"/>
              <a:gd name="T52" fmla="*/ 3705 w 3705"/>
              <a:gd name="T53" fmla="*/ 1306 h 2049"/>
              <a:gd name="T54" fmla="*/ 3645 w 3705"/>
              <a:gd name="T55" fmla="*/ 1099 h 2049"/>
              <a:gd name="T56" fmla="*/ 3513 w 3705"/>
              <a:gd name="T57" fmla="*/ 937 h 2049"/>
              <a:gd name="T58" fmla="*/ 3396 w 3705"/>
              <a:gd name="T59" fmla="*/ 844 h 2049"/>
              <a:gd name="T60" fmla="*/ 3175 w 3705"/>
              <a:gd name="T61" fmla="*/ 691 h 2049"/>
              <a:gd name="T62" fmla="*/ 3085 w 3705"/>
              <a:gd name="T63" fmla="*/ 547 h 2049"/>
              <a:gd name="T64" fmla="*/ 2908 w 3705"/>
              <a:gd name="T65" fmla="*/ 343 h 2049"/>
              <a:gd name="T66" fmla="*/ 2648 w 3705"/>
              <a:gd name="T67" fmla="*/ 250 h 2049"/>
              <a:gd name="T68" fmla="*/ 2509 w 3705"/>
              <a:gd name="T69" fmla="*/ 256 h 2049"/>
              <a:gd name="T70" fmla="*/ 2367 w 3705"/>
              <a:gd name="T71" fmla="*/ 302 h 2049"/>
              <a:gd name="T72" fmla="*/ 2258 w 3705"/>
              <a:gd name="T73" fmla="*/ 151 h 2049"/>
              <a:gd name="T74" fmla="*/ 2072 w 3705"/>
              <a:gd name="T75" fmla="*/ 33 h 2049"/>
              <a:gd name="T76" fmla="*/ 1881 w 3705"/>
              <a:gd name="T77" fmla="*/ 0 h 2049"/>
              <a:gd name="T78" fmla="*/ 1701 w 3705"/>
              <a:gd name="T79" fmla="*/ 31 h 2049"/>
              <a:gd name="T80" fmla="*/ 1518 w 3705"/>
              <a:gd name="T81" fmla="*/ 138 h 2049"/>
              <a:gd name="T82" fmla="*/ 1409 w 3705"/>
              <a:gd name="T83" fmla="*/ 277 h 2049"/>
              <a:gd name="T84" fmla="*/ 1282 w 3705"/>
              <a:gd name="T85" fmla="*/ 268 h 2049"/>
              <a:gd name="T86" fmla="*/ 1091 w 3705"/>
              <a:gd name="T87" fmla="*/ 334 h 2049"/>
              <a:gd name="T88" fmla="*/ 957 w 3705"/>
              <a:gd name="T89" fmla="*/ 482 h 2049"/>
              <a:gd name="T90" fmla="*/ 883 w 3705"/>
              <a:gd name="T91" fmla="*/ 591 h 2049"/>
              <a:gd name="T92" fmla="*/ 703 w 3705"/>
              <a:gd name="T93" fmla="*/ 745 h 2049"/>
              <a:gd name="T94" fmla="*/ 593 w 3705"/>
              <a:gd name="T95" fmla="*/ 718 h 2049"/>
              <a:gd name="T96" fmla="*/ 410 w 3705"/>
              <a:gd name="T97" fmla="*/ 676 h 2049"/>
              <a:gd name="T98" fmla="*/ 214 w 3705"/>
              <a:gd name="T99" fmla="*/ 724 h 2049"/>
              <a:gd name="T100" fmla="*/ 50 w 3705"/>
              <a:gd name="T101" fmla="*/ 890 h 2049"/>
              <a:gd name="T102" fmla="*/ 0 w 3705"/>
              <a:gd name="T103" fmla="*/ 1085 h 2049"/>
              <a:gd name="T104" fmla="*/ 38 w 3705"/>
              <a:gd name="T105" fmla="*/ 1258 h 20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705" h="2049">
                <a:moveTo>
                  <a:pt x="95" y="1346"/>
                </a:moveTo>
                <a:lnTo>
                  <a:pt x="91" y="1372"/>
                </a:lnTo>
                <a:lnTo>
                  <a:pt x="90" y="1401"/>
                </a:lnTo>
                <a:lnTo>
                  <a:pt x="91" y="1437"/>
                </a:lnTo>
                <a:lnTo>
                  <a:pt x="105" y="1506"/>
                </a:lnTo>
                <a:lnTo>
                  <a:pt x="133" y="1569"/>
                </a:lnTo>
                <a:lnTo>
                  <a:pt x="170" y="1625"/>
                </a:lnTo>
                <a:lnTo>
                  <a:pt x="218" y="1673"/>
                </a:lnTo>
                <a:lnTo>
                  <a:pt x="274" y="1711"/>
                </a:lnTo>
                <a:lnTo>
                  <a:pt x="337" y="1738"/>
                </a:lnTo>
                <a:lnTo>
                  <a:pt x="406" y="1752"/>
                </a:lnTo>
                <a:lnTo>
                  <a:pt x="442" y="1753"/>
                </a:lnTo>
                <a:lnTo>
                  <a:pt x="471" y="1752"/>
                </a:lnTo>
                <a:lnTo>
                  <a:pt x="525" y="1743"/>
                </a:lnTo>
                <a:lnTo>
                  <a:pt x="576" y="1727"/>
                </a:lnTo>
                <a:lnTo>
                  <a:pt x="624" y="1703"/>
                </a:lnTo>
                <a:lnTo>
                  <a:pt x="646" y="1689"/>
                </a:lnTo>
                <a:lnTo>
                  <a:pt x="673" y="1711"/>
                </a:lnTo>
                <a:lnTo>
                  <a:pt x="734" y="1746"/>
                </a:lnTo>
                <a:lnTo>
                  <a:pt x="800" y="1770"/>
                </a:lnTo>
                <a:lnTo>
                  <a:pt x="871" y="1783"/>
                </a:lnTo>
                <a:lnTo>
                  <a:pt x="909" y="1785"/>
                </a:lnTo>
                <a:lnTo>
                  <a:pt x="949" y="1783"/>
                </a:lnTo>
                <a:lnTo>
                  <a:pt x="1024" y="1769"/>
                </a:lnTo>
                <a:lnTo>
                  <a:pt x="1096" y="1740"/>
                </a:lnTo>
                <a:lnTo>
                  <a:pt x="1159" y="1700"/>
                </a:lnTo>
                <a:lnTo>
                  <a:pt x="1214" y="1650"/>
                </a:lnTo>
                <a:lnTo>
                  <a:pt x="1258" y="1590"/>
                </a:lnTo>
                <a:lnTo>
                  <a:pt x="1291" y="1523"/>
                </a:lnTo>
                <a:lnTo>
                  <a:pt x="1312" y="1449"/>
                </a:lnTo>
                <a:lnTo>
                  <a:pt x="1317" y="1410"/>
                </a:lnTo>
                <a:lnTo>
                  <a:pt x="1346" y="1448"/>
                </a:lnTo>
                <a:lnTo>
                  <a:pt x="1418" y="1508"/>
                </a:lnTo>
                <a:lnTo>
                  <a:pt x="1503" y="1553"/>
                </a:lnTo>
                <a:lnTo>
                  <a:pt x="1597" y="1576"/>
                </a:lnTo>
                <a:lnTo>
                  <a:pt x="1648" y="1578"/>
                </a:lnTo>
                <a:lnTo>
                  <a:pt x="1691" y="1577"/>
                </a:lnTo>
                <a:lnTo>
                  <a:pt x="1774" y="1560"/>
                </a:lnTo>
                <a:lnTo>
                  <a:pt x="1849" y="1527"/>
                </a:lnTo>
                <a:lnTo>
                  <a:pt x="1915" y="1480"/>
                </a:lnTo>
                <a:lnTo>
                  <a:pt x="1943" y="1451"/>
                </a:lnTo>
                <a:lnTo>
                  <a:pt x="1965" y="1479"/>
                </a:lnTo>
                <a:lnTo>
                  <a:pt x="2016" y="1525"/>
                </a:lnTo>
                <a:lnTo>
                  <a:pt x="2073" y="1562"/>
                </a:lnTo>
                <a:lnTo>
                  <a:pt x="2137" y="1590"/>
                </a:lnTo>
                <a:lnTo>
                  <a:pt x="2172" y="1599"/>
                </a:lnTo>
                <a:lnTo>
                  <a:pt x="2169" y="1619"/>
                </a:lnTo>
                <a:lnTo>
                  <a:pt x="2169" y="1639"/>
                </a:lnTo>
                <a:lnTo>
                  <a:pt x="2170" y="1681"/>
                </a:lnTo>
                <a:lnTo>
                  <a:pt x="2187" y="1761"/>
                </a:lnTo>
                <a:lnTo>
                  <a:pt x="2218" y="1835"/>
                </a:lnTo>
                <a:lnTo>
                  <a:pt x="2262" y="1900"/>
                </a:lnTo>
                <a:lnTo>
                  <a:pt x="2318" y="1956"/>
                </a:lnTo>
                <a:lnTo>
                  <a:pt x="2383" y="2000"/>
                </a:lnTo>
                <a:lnTo>
                  <a:pt x="2457" y="2031"/>
                </a:lnTo>
                <a:lnTo>
                  <a:pt x="2536" y="2046"/>
                </a:lnTo>
                <a:lnTo>
                  <a:pt x="2578" y="2049"/>
                </a:lnTo>
                <a:lnTo>
                  <a:pt x="2608" y="2048"/>
                </a:lnTo>
                <a:lnTo>
                  <a:pt x="2668" y="2039"/>
                </a:lnTo>
                <a:lnTo>
                  <a:pt x="2724" y="2022"/>
                </a:lnTo>
                <a:lnTo>
                  <a:pt x="2776" y="1998"/>
                </a:lnTo>
                <a:lnTo>
                  <a:pt x="2823" y="1967"/>
                </a:lnTo>
                <a:lnTo>
                  <a:pt x="2866" y="1931"/>
                </a:lnTo>
                <a:lnTo>
                  <a:pt x="2904" y="1888"/>
                </a:lnTo>
                <a:lnTo>
                  <a:pt x="2935" y="1840"/>
                </a:lnTo>
                <a:lnTo>
                  <a:pt x="2948" y="1814"/>
                </a:lnTo>
                <a:lnTo>
                  <a:pt x="2975" y="1827"/>
                </a:lnTo>
                <a:lnTo>
                  <a:pt x="3030" y="1848"/>
                </a:lnTo>
                <a:lnTo>
                  <a:pt x="3088" y="1861"/>
                </a:lnTo>
                <a:lnTo>
                  <a:pt x="3149" y="1869"/>
                </a:lnTo>
                <a:lnTo>
                  <a:pt x="3180" y="1869"/>
                </a:lnTo>
                <a:lnTo>
                  <a:pt x="3234" y="1867"/>
                </a:lnTo>
                <a:lnTo>
                  <a:pt x="3337" y="1845"/>
                </a:lnTo>
                <a:lnTo>
                  <a:pt x="3431" y="1807"/>
                </a:lnTo>
                <a:lnTo>
                  <a:pt x="3514" y="1750"/>
                </a:lnTo>
                <a:lnTo>
                  <a:pt x="3586" y="1678"/>
                </a:lnTo>
                <a:lnTo>
                  <a:pt x="3643" y="1594"/>
                </a:lnTo>
                <a:lnTo>
                  <a:pt x="3683" y="1501"/>
                </a:lnTo>
                <a:lnTo>
                  <a:pt x="3704" y="1398"/>
                </a:lnTo>
                <a:lnTo>
                  <a:pt x="3705" y="1344"/>
                </a:lnTo>
                <a:lnTo>
                  <a:pt x="3705" y="1306"/>
                </a:lnTo>
                <a:lnTo>
                  <a:pt x="3694" y="1234"/>
                </a:lnTo>
                <a:lnTo>
                  <a:pt x="3674" y="1164"/>
                </a:lnTo>
                <a:lnTo>
                  <a:pt x="3645" y="1099"/>
                </a:lnTo>
                <a:lnTo>
                  <a:pt x="3608" y="1039"/>
                </a:lnTo>
                <a:lnTo>
                  <a:pt x="3564" y="985"/>
                </a:lnTo>
                <a:lnTo>
                  <a:pt x="3513" y="937"/>
                </a:lnTo>
                <a:lnTo>
                  <a:pt x="3455" y="895"/>
                </a:lnTo>
                <a:lnTo>
                  <a:pt x="3424" y="879"/>
                </a:lnTo>
                <a:lnTo>
                  <a:pt x="3396" y="844"/>
                </a:lnTo>
                <a:lnTo>
                  <a:pt x="3332" y="780"/>
                </a:lnTo>
                <a:lnTo>
                  <a:pt x="3258" y="729"/>
                </a:lnTo>
                <a:lnTo>
                  <a:pt x="3175" y="691"/>
                </a:lnTo>
                <a:lnTo>
                  <a:pt x="3131" y="678"/>
                </a:lnTo>
                <a:lnTo>
                  <a:pt x="3119" y="632"/>
                </a:lnTo>
                <a:lnTo>
                  <a:pt x="3085" y="547"/>
                </a:lnTo>
                <a:lnTo>
                  <a:pt x="3037" y="469"/>
                </a:lnTo>
                <a:lnTo>
                  <a:pt x="2978" y="402"/>
                </a:lnTo>
                <a:lnTo>
                  <a:pt x="2908" y="343"/>
                </a:lnTo>
                <a:lnTo>
                  <a:pt x="2829" y="298"/>
                </a:lnTo>
                <a:lnTo>
                  <a:pt x="2742" y="267"/>
                </a:lnTo>
                <a:lnTo>
                  <a:pt x="2648" y="250"/>
                </a:lnTo>
                <a:lnTo>
                  <a:pt x="2601" y="249"/>
                </a:lnTo>
                <a:lnTo>
                  <a:pt x="2569" y="250"/>
                </a:lnTo>
                <a:lnTo>
                  <a:pt x="2509" y="256"/>
                </a:lnTo>
                <a:lnTo>
                  <a:pt x="2450" y="269"/>
                </a:lnTo>
                <a:lnTo>
                  <a:pt x="2394" y="289"/>
                </a:lnTo>
                <a:lnTo>
                  <a:pt x="2367" y="302"/>
                </a:lnTo>
                <a:lnTo>
                  <a:pt x="2350" y="268"/>
                </a:lnTo>
                <a:lnTo>
                  <a:pt x="2309" y="207"/>
                </a:lnTo>
                <a:lnTo>
                  <a:pt x="2258" y="151"/>
                </a:lnTo>
                <a:lnTo>
                  <a:pt x="2203" y="103"/>
                </a:lnTo>
                <a:lnTo>
                  <a:pt x="2139" y="65"/>
                </a:lnTo>
                <a:lnTo>
                  <a:pt x="2072" y="33"/>
                </a:lnTo>
                <a:lnTo>
                  <a:pt x="1998" y="11"/>
                </a:lnTo>
                <a:lnTo>
                  <a:pt x="1921" y="1"/>
                </a:lnTo>
                <a:lnTo>
                  <a:pt x="1881" y="0"/>
                </a:lnTo>
                <a:lnTo>
                  <a:pt x="1844" y="1"/>
                </a:lnTo>
                <a:lnTo>
                  <a:pt x="1771" y="11"/>
                </a:lnTo>
                <a:lnTo>
                  <a:pt x="1701" y="31"/>
                </a:lnTo>
                <a:lnTo>
                  <a:pt x="1635" y="58"/>
                </a:lnTo>
                <a:lnTo>
                  <a:pt x="1574" y="96"/>
                </a:lnTo>
                <a:lnTo>
                  <a:pt x="1518" y="138"/>
                </a:lnTo>
                <a:lnTo>
                  <a:pt x="1469" y="189"/>
                </a:lnTo>
                <a:lnTo>
                  <a:pt x="1426" y="246"/>
                </a:lnTo>
                <a:lnTo>
                  <a:pt x="1409" y="277"/>
                </a:lnTo>
                <a:lnTo>
                  <a:pt x="1364" y="268"/>
                </a:lnTo>
                <a:lnTo>
                  <a:pt x="1319" y="267"/>
                </a:lnTo>
                <a:lnTo>
                  <a:pt x="1282" y="268"/>
                </a:lnTo>
                <a:lnTo>
                  <a:pt x="1214" y="280"/>
                </a:lnTo>
                <a:lnTo>
                  <a:pt x="1150" y="302"/>
                </a:lnTo>
                <a:lnTo>
                  <a:pt x="1091" y="334"/>
                </a:lnTo>
                <a:lnTo>
                  <a:pt x="1039" y="376"/>
                </a:lnTo>
                <a:lnTo>
                  <a:pt x="993" y="425"/>
                </a:lnTo>
                <a:lnTo>
                  <a:pt x="957" y="482"/>
                </a:lnTo>
                <a:lnTo>
                  <a:pt x="930" y="544"/>
                </a:lnTo>
                <a:lnTo>
                  <a:pt x="921" y="577"/>
                </a:lnTo>
                <a:lnTo>
                  <a:pt x="883" y="591"/>
                </a:lnTo>
                <a:lnTo>
                  <a:pt x="813" y="631"/>
                </a:lnTo>
                <a:lnTo>
                  <a:pt x="752" y="683"/>
                </a:lnTo>
                <a:lnTo>
                  <a:pt x="703" y="745"/>
                </a:lnTo>
                <a:lnTo>
                  <a:pt x="684" y="780"/>
                </a:lnTo>
                <a:lnTo>
                  <a:pt x="656" y="757"/>
                </a:lnTo>
                <a:lnTo>
                  <a:pt x="593" y="718"/>
                </a:lnTo>
                <a:lnTo>
                  <a:pt x="524" y="691"/>
                </a:lnTo>
                <a:lnTo>
                  <a:pt x="449" y="676"/>
                </a:lnTo>
                <a:lnTo>
                  <a:pt x="410" y="676"/>
                </a:lnTo>
                <a:lnTo>
                  <a:pt x="367" y="678"/>
                </a:lnTo>
                <a:lnTo>
                  <a:pt x="288" y="693"/>
                </a:lnTo>
                <a:lnTo>
                  <a:pt x="214" y="724"/>
                </a:lnTo>
                <a:lnTo>
                  <a:pt x="150" y="768"/>
                </a:lnTo>
                <a:lnTo>
                  <a:pt x="94" y="824"/>
                </a:lnTo>
                <a:lnTo>
                  <a:pt x="50" y="890"/>
                </a:lnTo>
                <a:lnTo>
                  <a:pt x="19" y="963"/>
                </a:lnTo>
                <a:lnTo>
                  <a:pt x="2" y="1043"/>
                </a:lnTo>
                <a:lnTo>
                  <a:pt x="0" y="1085"/>
                </a:lnTo>
                <a:lnTo>
                  <a:pt x="2" y="1122"/>
                </a:lnTo>
                <a:lnTo>
                  <a:pt x="15" y="1192"/>
                </a:lnTo>
                <a:lnTo>
                  <a:pt x="38" y="1258"/>
                </a:lnTo>
                <a:lnTo>
                  <a:pt x="73" y="1319"/>
                </a:lnTo>
                <a:lnTo>
                  <a:pt x="95" y="1346"/>
                </a:lnTo>
                <a:close/>
              </a:path>
            </a:pathLst>
          </a:custGeom>
          <a:solidFill>
            <a:srgbClr val="B6DC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 name="Freeform 6">
            <a:extLst>
              <a:ext uri="{FF2B5EF4-FFF2-40B4-BE49-F238E27FC236}">
                <a16:creationId xmlns:a16="http://schemas.microsoft.com/office/drawing/2014/main" id="{471DF5D9-4956-35BD-A55C-02076A01396C}"/>
              </a:ext>
            </a:extLst>
          </p:cNvPr>
          <p:cNvSpPr>
            <a:spLocks/>
          </p:cNvSpPr>
          <p:nvPr/>
        </p:nvSpPr>
        <p:spPr bwMode="auto">
          <a:xfrm>
            <a:off x="10283998" y="1138302"/>
            <a:ext cx="1759815" cy="974930"/>
          </a:xfrm>
          <a:custGeom>
            <a:avLst/>
            <a:gdLst>
              <a:gd name="T0" fmla="*/ 90 w 3705"/>
              <a:gd name="T1" fmla="*/ 1401 h 2049"/>
              <a:gd name="T2" fmla="*/ 133 w 3705"/>
              <a:gd name="T3" fmla="*/ 1569 h 2049"/>
              <a:gd name="T4" fmla="*/ 274 w 3705"/>
              <a:gd name="T5" fmla="*/ 1711 h 2049"/>
              <a:gd name="T6" fmla="*/ 442 w 3705"/>
              <a:gd name="T7" fmla="*/ 1753 h 2049"/>
              <a:gd name="T8" fmla="*/ 576 w 3705"/>
              <a:gd name="T9" fmla="*/ 1727 h 2049"/>
              <a:gd name="T10" fmla="*/ 673 w 3705"/>
              <a:gd name="T11" fmla="*/ 1711 h 2049"/>
              <a:gd name="T12" fmla="*/ 871 w 3705"/>
              <a:gd name="T13" fmla="*/ 1783 h 2049"/>
              <a:gd name="T14" fmla="*/ 1024 w 3705"/>
              <a:gd name="T15" fmla="*/ 1769 h 2049"/>
              <a:gd name="T16" fmla="*/ 1214 w 3705"/>
              <a:gd name="T17" fmla="*/ 1650 h 2049"/>
              <a:gd name="T18" fmla="*/ 1312 w 3705"/>
              <a:gd name="T19" fmla="*/ 1449 h 2049"/>
              <a:gd name="T20" fmla="*/ 1418 w 3705"/>
              <a:gd name="T21" fmla="*/ 1508 h 2049"/>
              <a:gd name="T22" fmla="*/ 1648 w 3705"/>
              <a:gd name="T23" fmla="*/ 1578 h 2049"/>
              <a:gd name="T24" fmla="*/ 1849 w 3705"/>
              <a:gd name="T25" fmla="*/ 1527 h 2049"/>
              <a:gd name="T26" fmla="*/ 1965 w 3705"/>
              <a:gd name="T27" fmla="*/ 1479 h 2049"/>
              <a:gd name="T28" fmla="*/ 2137 w 3705"/>
              <a:gd name="T29" fmla="*/ 1590 h 2049"/>
              <a:gd name="T30" fmla="*/ 2169 w 3705"/>
              <a:gd name="T31" fmla="*/ 1639 h 2049"/>
              <a:gd name="T32" fmla="*/ 2218 w 3705"/>
              <a:gd name="T33" fmla="*/ 1835 h 2049"/>
              <a:gd name="T34" fmla="*/ 2383 w 3705"/>
              <a:gd name="T35" fmla="*/ 2000 h 2049"/>
              <a:gd name="T36" fmla="*/ 2578 w 3705"/>
              <a:gd name="T37" fmla="*/ 2049 h 2049"/>
              <a:gd name="T38" fmla="*/ 2724 w 3705"/>
              <a:gd name="T39" fmla="*/ 2022 h 2049"/>
              <a:gd name="T40" fmla="*/ 2866 w 3705"/>
              <a:gd name="T41" fmla="*/ 1931 h 2049"/>
              <a:gd name="T42" fmla="*/ 2948 w 3705"/>
              <a:gd name="T43" fmla="*/ 1814 h 2049"/>
              <a:gd name="T44" fmla="*/ 3088 w 3705"/>
              <a:gd name="T45" fmla="*/ 1861 h 2049"/>
              <a:gd name="T46" fmla="*/ 3234 w 3705"/>
              <a:gd name="T47" fmla="*/ 1867 h 2049"/>
              <a:gd name="T48" fmla="*/ 3514 w 3705"/>
              <a:gd name="T49" fmla="*/ 1750 h 2049"/>
              <a:gd name="T50" fmla="*/ 3683 w 3705"/>
              <a:gd name="T51" fmla="*/ 1501 h 2049"/>
              <a:gd name="T52" fmla="*/ 3705 w 3705"/>
              <a:gd name="T53" fmla="*/ 1306 h 2049"/>
              <a:gd name="T54" fmla="*/ 3645 w 3705"/>
              <a:gd name="T55" fmla="*/ 1099 h 2049"/>
              <a:gd name="T56" fmla="*/ 3513 w 3705"/>
              <a:gd name="T57" fmla="*/ 937 h 2049"/>
              <a:gd name="T58" fmla="*/ 3396 w 3705"/>
              <a:gd name="T59" fmla="*/ 844 h 2049"/>
              <a:gd name="T60" fmla="*/ 3175 w 3705"/>
              <a:gd name="T61" fmla="*/ 691 h 2049"/>
              <a:gd name="T62" fmla="*/ 3085 w 3705"/>
              <a:gd name="T63" fmla="*/ 547 h 2049"/>
              <a:gd name="T64" fmla="*/ 2908 w 3705"/>
              <a:gd name="T65" fmla="*/ 343 h 2049"/>
              <a:gd name="T66" fmla="*/ 2648 w 3705"/>
              <a:gd name="T67" fmla="*/ 250 h 2049"/>
              <a:gd name="T68" fmla="*/ 2509 w 3705"/>
              <a:gd name="T69" fmla="*/ 256 h 2049"/>
              <a:gd name="T70" fmla="*/ 2367 w 3705"/>
              <a:gd name="T71" fmla="*/ 302 h 2049"/>
              <a:gd name="T72" fmla="*/ 2258 w 3705"/>
              <a:gd name="T73" fmla="*/ 151 h 2049"/>
              <a:gd name="T74" fmla="*/ 2072 w 3705"/>
              <a:gd name="T75" fmla="*/ 33 h 2049"/>
              <a:gd name="T76" fmla="*/ 1881 w 3705"/>
              <a:gd name="T77" fmla="*/ 0 h 2049"/>
              <a:gd name="T78" fmla="*/ 1701 w 3705"/>
              <a:gd name="T79" fmla="*/ 31 h 2049"/>
              <a:gd name="T80" fmla="*/ 1518 w 3705"/>
              <a:gd name="T81" fmla="*/ 138 h 2049"/>
              <a:gd name="T82" fmla="*/ 1409 w 3705"/>
              <a:gd name="T83" fmla="*/ 277 h 2049"/>
              <a:gd name="T84" fmla="*/ 1282 w 3705"/>
              <a:gd name="T85" fmla="*/ 268 h 2049"/>
              <a:gd name="T86" fmla="*/ 1091 w 3705"/>
              <a:gd name="T87" fmla="*/ 334 h 2049"/>
              <a:gd name="T88" fmla="*/ 957 w 3705"/>
              <a:gd name="T89" fmla="*/ 482 h 2049"/>
              <a:gd name="T90" fmla="*/ 883 w 3705"/>
              <a:gd name="T91" fmla="*/ 591 h 2049"/>
              <a:gd name="T92" fmla="*/ 703 w 3705"/>
              <a:gd name="T93" fmla="*/ 745 h 2049"/>
              <a:gd name="T94" fmla="*/ 593 w 3705"/>
              <a:gd name="T95" fmla="*/ 718 h 2049"/>
              <a:gd name="T96" fmla="*/ 410 w 3705"/>
              <a:gd name="T97" fmla="*/ 676 h 2049"/>
              <a:gd name="T98" fmla="*/ 214 w 3705"/>
              <a:gd name="T99" fmla="*/ 724 h 2049"/>
              <a:gd name="T100" fmla="*/ 50 w 3705"/>
              <a:gd name="T101" fmla="*/ 890 h 2049"/>
              <a:gd name="T102" fmla="*/ 0 w 3705"/>
              <a:gd name="T103" fmla="*/ 1085 h 2049"/>
              <a:gd name="T104" fmla="*/ 38 w 3705"/>
              <a:gd name="T105" fmla="*/ 1258 h 20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705" h="2049">
                <a:moveTo>
                  <a:pt x="95" y="1346"/>
                </a:moveTo>
                <a:lnTo>
                  <a:pt x="91" y="1372"/>
                </a:lnTo>
                <a:lnTo>
                  <a:pt x="90" y="1401"/>
                </a:lnTo>
                <a:lnTo>
                  <a:pt x="91" y="1437"/>
                </a:lnTo>
                <a:lnTo>
                  <a:pt x="105" y="1506"/>
                </a:lnTo>
                <a:lnTo>
                  <a:pt x="133" y="1569"/>
                </a:lnTo>
                <a:lnTo>
                  <a:pt x="170" y="1625"/>
                </a:lnTo>
                <a:lnTo>
                  <a:pt x="218" y="1673"/>
                </a:lnTo>
                <a:lnTo>
                  <a:pt x="274" y="1711"/>
                </a:lnTo>
                <a:lnTo>
                  <a:pt x="337" y="1738"/>
                </a:lnTo>
                <a:lnTo>
                  <a:pt x="406" y="1752"/>
                </a:lnTo>
                <a:lnTo>
                  <a:pt x="442" y="1753"/>
                </a:lnTo>
                <a:lnTo>
                  <a:pt x="471" y="1752"/>
                </a:lnTo>
                <a:lnTo>
                  <a:pt x="525" y="1743"/>
                </a:lnTo>
                <a:lnTo>
                  <a:pt x="576" y="1727"/>
                </a:lnTo>
                <a:lnTo>
                  <a:pt x="624" y="1703"/>
                </a:lnTo>
                <a:lnTo>
                  <a:pt x="646" y="1689"/>
                </a:lnTo>
                <a:lnTo>
                  <a:pt x="673" y="1711"/>
                </a:lnTo>
                <a:lnTo>
                  <a:pt x="734" y="1746"/>
                </a:lnTo>
                <a:lnTo>
                  <a:pt x="800" y="1770"/>
                </a:lnTo>
                <a:lnTo>
                  <a:pt x="871" y="1783"/>
                </a:lnTo>
                <a:lnTo>
                  <a:pt x="909" y="1785"/>
                </a:lnTo>
                <a:lnTo>
                  <a:pt x="949" y="1783"/>
                </a:lnTo>
                <a:lnTo>
                  <a:pt x="1024" y="1769"/>
                </a:lnTo>
                <a:lnTo>
                  <a:pt x="1096" y="1740"/>
                </a:lnTo>
                <a:lnTo>
                  <a:pt x="1159" y="1700"/>
                </a:lnTo>
                <a:lnTo>
                  <a:pt x="1214" y="1650"/>
                </a:lnTo>
                <a:lnTo>
                  <a:pt x="1258" y="1590"/>
                </a:lnTo>
                <a:lnTo>
                  <a:pt x="1291" y="1523"/>
                </a:lnTo>
                <a:lnTo>
                  <a:pt x="1312" y="1449"/>
                </a:lnTo>
                <a:lnTo>
                  <a:pt x="1317" y="1410"/>
                </a:lnTo>
                <a:lnTo>
                  <a:pt x="1346" y="1448"/>
                </a:lnTo>
                <a:lnTo>
                  <a:pt x="1418" y="1508"/>
                </a:lnTo>
                <a:lnTo>
                  <a:pt x="1503" y="1553"/>
                </a:lnTo>
                <a:lnTo>
                  <a:pt x="1597" y="1576"/>
                </a:lnTo>
                <a:lnTo>
                  <a:pt x="1648" y="1578"/>
                </a:lnTo>
                <a:lnTo>
                  <a:pt x="1691" y="1577"/>
                </a:lnTo>
                <a:lnTo>
                  <a:pt x="1774" y="1560"/>
                </a:lnTo>
                <a:lnTo>
                  <a:pt x="1849" y="1527"/>
                </a:lnTo>
                <a:lnTo>
                  <a:pt x="1915" y="1480"/>
                </a:lnTo>
                <a:lnTo>
                  <a:pt x="1943" y="1451"/>
                </a:lnTo>
                <a:lnTo>
                  <a:pt x="1965" y="1479"/>
                </a:lnTo>
                <a:lnTo>
                  <a:pt x="2016" y="1525"/>
                </a:lnTo>
                <a:lnTo>
                  <a:pt x="2073" y="1562"/>
                </a:lnTo>
                <a:lnTo>
                  <a:pt x="2137" y="1590"/>
                </a:lnTo>
                <a:lnTo>
                  <a:pt x="2172" y="1599"/>
                </a:lnTo>
                <a:lnTo>
                  <a:pt x="2169" y="1619"/>
                </a:lnTo>
                <a:lnTo>
                  <a:pt x="2169" y="1639"/>
                </a:lnTo>
                <a:lnTo>
                  <a:pt x="2170" y="1681"/>
                </a:lnTo>
                <a:lnTo>
                  <a:pt x="2187" y="1761"/>
                </a:lnTo>
                <a:lnTo>
                  <a:pt x="2218" y="1835"/>
                </a:lnTo>
                <a:lnTo>
                  <a:pt x="2262" y="1900"/>
                </a:lnTo>
                <a:lnTo>
                  <a:pt x="2318" y="1956"/>
                </a:lnTo>
                <a:lnTo>
                  <a:pt x="2383" y="2000"/>
                </a:lnTo>
                <a:lnTo>
                  <a:pt x="2457" y="2031"/>
                </a:lnTo>
                <a:lnTo>
                  <a:pt x="2536" y="2046"/>
                </a:lnTo>
                <a:lnTo>
                  <a:pt x="2578" y="2049"/>
                </a:lnTo>
                <a:lnTo>
                  <a:pt x="2608" y="2048"/>
                </a:lnTo>
                <a:lnTo>
                  <a:pt x="2668" y="2039"/>
                </a:lnTo>
                <a:lnTo>
                  <a:pt x="2724" y="2022"/>
                </a:lnTo>
                <a:lnTo>
                  <a:pt x="2776" y="1998"/>
                </a:lnTo>
                <a:lnTo>
                  <a:pt x="2823" y="1967"/>
                </a:lnTo>
                <a:lnTo>
                  <a:pt x="2866" y="1931"/>
                </a:lnTo>
                <a:lnTo>
                  <a:pt x="2904" y="1888"/>
                </a:lnTo>
                <a:lnTo>
                  <a:pt x="2935" y="1840"/>
                </a:lnTo>
                <a:lnTo>
                  <a:pt x="2948" y="1814"/>
                </a:lnTo>
                <a:lnTo>
                  <a:pt x="2975" y="1827"/>
                </a:lnTo>
                <a:lnTo>
                  <a:pt x="3030" y="1848"/>
                </a:lnTo>
                <a:lnTo>
                  <a:pt x="3088" y="1861"/>
                </a:lnTo>
                <a:lnTo>
                  <a:pt x="3149" y="1869"/>
                </a:lnTo>
                <a:lnTo>
                  <a:pt x="3180" y="1869"/>
                </a:lnTo>
                <a:lnTo>
                  <a:pt x="3234" y="1867"/>
                </a:lnTo>
                <a:lnTo>
                  <a:pt x="3337" y="1845"/>
                </a:lnTo>
                <a:lnTo>
                  <a:pt x="3431" y="1807"/>
                </a:lnTo>
                <a:lnTo>
                  <a:pt x="3514" y="1750"/>
                </a:lnTo>
                <a:lnTo>
                  <a:pt x="3586" y="1678"/>
                </a:lnTo>
                <a:lnTo>
                  <a:pt x="3643" y="1594"/>
                </a:lnTo>
                <a:lnTo>
                  <a:pt x="3683" y="1501"/>
                </a:lnTo>
                <a:lnTo>
                  <a:pt x="3704" y="1398"/>
                </a:lnTo>
                <a:lnTo>
                  <a:pt x="3705" y="1344"/>
                </a:lnTo>
                <a:lnTo>
                  <a:pt x="3705" y="1306"/>
                </a:lnTo>
                <a:lnTo>
                  <a:pt x="3694" y="1234"/>
                </a:lnTo>
                <a:lnTo>
                  <a:pt x="3674" y="1164"/>
                </a:lnTo>
                <a:lnTo>
                  <a:pt x="3645" y="1099"/>
                </a:lnTo>
                <a:lnTo>
                  <a:pt x="3608" y="1039"/>
                </a:lnTo>
                <a:lnTo>
                  <a:pt x="3564" y="985"/>
                </a:lnTo>
                <a:lnTo>
                  <a:pt x="3513" y="937"/>
                </a:lnTo>
                <a:lnTo>
                  <a:pt x="3455" y="895"/>
                </a:lnTo>
                <a:lnTo>
                  <a:pt x="3424" y="879"/>
                </a:lnTo>
                <a:lnTo>
                  <a:pt x="3396" y="844"/>
                </a:lnTo>
                <a:lnTo>
                  <a:pt x="3332" y="780"/>
                </a:lnTo>
                <a:lnTo>
                  <a:pt x="3258" y="729"/>
                </a:lnTo>
                <a:lnTo>
                  <a:pt x="3175" y="691"/>
                </a:lnTo>
                <a:lnTo>
                  <a:pt x="3131" y="678"/>
                </a:lnTo>
                <a:lnTo>
                  <a:pt x="3119" y="632"/>
                </a:lnTo>
                <a:lnTo>
                  <a:pt x="3085" y="547"/>
                </a:lnTo>
                <a:lnTo>
                  <a:pt x="3037" y="469"/>
                </a:lnTo>
                <a:lnTo>
                  <a:pt x="2978" y="402"/>
                </a:lnTo>
                <a:lnTo>
                  <a:pt x="2908" y="343"/>
                </a:lnTo>
                <a:lnTo>
                  <a:pt x="2829" y="298"/>
                </a:lnTo>
                <a:lnTo>
                  <a:pt x="2742" y="267"/>
                </a:lnTo>
                <a:lnTo>
                  <a:pt x="2648" y="250"/>
                </a:lnTo>
                <a:lnTo>
                  <a:pt x="2601" y="249"/>
                </a:lnTo>
                <a:lnTo>
                  <a:pt x="2569" y="250"/>
                </a:lnTo>
                <a:lnTo>
                  <a:pt x="2509" y="256"/>
                </a:lnTo>
                <a:lnTo>
                  <a:pt x="2450" y="269"/>
                </a:lnTo>
                <a:lnTo>
                  <a:pt x="2394" y="289"/>
                </a:lnTo>
                <a:lnTo>
                  <a:pt x="2367" y="302"/>
                </a:lnTo>
                <a:lnTo>
                  <a:pt x="2350" y="268"/>
                </a:lnTo>
                <a:lnTo>
                  <a:pt x="2309" y="207"/>
                </a:lnTo>
                <a:lnTo>
                  <a:pt x="2258" y="151"/>
                </a:lnTo>
                <a:lnTo>
                  <a:pt x="2203" y="103"/>
                </a:lnTo>
                <a:lnTo>
                  <a:pt x="2139" y="65"/>
                </a:lnTo>
                <a:lnTo>
                  <a:pt x="2072" y="33"/>
                </a:lnTo>
                <a:lnTo>
                  <a:pt x="1998" y="11"/>
                </a:lnTo>
                <a:lnTo>
                  <a:pt x="1921" y="1"/>
                </a:lnTo>
                <a:lnTo>
                  <a:pt x="1881" y="0"/>
                </a:lnTo>
                <a:lnTo>
                  <a:pt x="1844" y="1"/>
                </a:lnTo>
                <a:lnTo>
                  <a:pt x="1771" y="11"/>
                </a:lnTo>
                <a:lnTo>
                  <a:pt x="1701" y="31"/>
                </a:lnTo>
                <a:lnTo>
                  <a:pt x="1635" y="58"/>
                </a:lnTo>
                <a:lnTo>
                  <a:pt x="1574" y="96"/>
                </a:lnTo>
                <a:lnTo>
                  <a:pt x="1518" y="138"/>
                </a:lnTo>
                <a:lnTo>
                  <a:pt x="1469" y="189"/>
                </a:lnTo>
                <a:lnTo>
                  <a:pt x="1426" y="246"/>
                </a:lnTo>
                <a:lnTo>
                  <a:pt x="1409" y="277"/>
                </a:lnTo>
                <a:lnTo>
                  <a:pt x="1364" y="268"/>
                </a:lnTo>
                <a:lnTo>
                  <a:pt x="1319" y="267"/>
                </a:lnTo>
                <a:lnTo>
                  <a:pt x="1282" y="268"/>
                </a:lnTo>
                <a:lnTo>
                  <a:pt x="1214" y="280"/>
                </a:lnTo>
                <a:lnTo>
                  <a:pt x="1150" y="302"/>
                </a:lnTo>
                <a:lnTo>
                  <a:pt x="1091" y="334"/>
                </a:lnTo>
                <a:lnTo>
                  <a:pt x="1039" y="376"/>
                </a:lnTo>
                <a:lnTo>
                  <a:pt x="993" y="425"/>
                </a:lnTo>
                <a:lnTo>
                  <a:pt x="957" y="482"/>
                </a:lnTo>
                <a:lnTo>
                  <a:pt x="930" y="544"/>
                </a:lnTo>
                <a:lnTo>
                  <a:pt x="921" y="577"/>
                </a:lnTo>
                <a:lnTo>
                  <a:pt x="883" y="591"/>
                </a:lnTo>
                <a:lnTo>
                  <a:pt x="813" y="631"/>
                </a:lnTo>
                <a:lnTo>
                  <a:pt x="752" y="683"/>
                </a:lnTo>
                <a:lnTo>
                  <a:pt x="703" y="745"/>
                </a:lnTo>
                <a:lnTo>
                  <a:pt x="684" y="780"/>
                </a:lnTo>
                <a:lnTo>
                  <a:pt x="656" y="757"/>
                </a:lnTo>
                <a:lnTo>
                  <a:pt x="593" y="718"/>
                </a:lnTo>
                <a:lnTo>
                  <a:pt x="524" y="691"/>
                </a:lnTo>
                <a:lnTo>
                  <a:pt x="449" y="676"/>
                </a:lnTo>
                <a:lnTo>
                  <a:pt x="410" y="676"/>
                </a:lnTo>
                <a:lnTo>
                  <a:pt x="367" y="678"/>
                </a:lnTo>
                <a:lnTo>
                  <a:pt x="288" y="693"/>
                </a:lnTo>
                <a:lnTo>
                  <a:pt x="214" y="724"/>
                </a:lnTo>
                <a:lnTo>
                  <a:pt x="150" y="768"/>
                </a:lnTo>
                <a:lnTo>
                  <a:pt x="94" y="824"/>
                </a:lnTo>
                <a:lnTo>
                  <a:pt x="50" y="890"/>
                </a:lnTo>
                <a:lnTo>
                  <a:pt x="19" y="963"/>
                </a:lnTo>
                <a:lnTo>
                  <a:pt x="2" y="1043"/>
                </a:lnTo>
                <a:lnTo>
                  <a:pt x="0" y="1085"/>
                </a:lnTo>
                <a:lnTo>
                  <a:pt x="2" y="1122"/>
                </a:lnTo>
                <a:lnTo>
                  <a:pt x="15" y="1192"/>
                </a:lnTo>
                <a:lnTo>
                  <a:pt x="38" y="1258"/>
                </a:lnTo>
                <a:lnTo>
                  <a:pt x="73" y="1319"/>
                </a:lnTo>
                <a:lnTo>
                  <a:pt x="95" y="1346"/>
                </a:lnTo>
                <a:close/>
              </a:path>
            </a:pathLst>
          </a:custGeom>
          <a:solidFill>
            <a:srgbClr val="B6DC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 name="Freeform 6">
            <a:extLst>
              <a:ext uri="{FF2B5EF4-FFF2-40B4-BE49-F238E27FC236}">
                <a16:creationId xmlns:a16="http://schemas.microsoft.com/office/drawing/2014/main" id="{2A2C5125-311A-0677-9EA8-8C868FC779CF}"/>
              </a:ext>
            </a:extLst>
          </p:cNvPr>
          <p:cNvSpPr>
            <a:spLocks/>
          </p:cNvSpPr>
          <p:nvPr/>
        </p:nvSpPr>
        <p:spPr bwMode="auto">
          <a:xfrm>
            <a:off x="8914289" y="3916743"/>
            <a:ext cx="1759815" cy="974930"/>
          </a:xfrm>
          <a:custGeom>
            <a:avLst/>
            <a:gdLst>
              <a:gd name="T0" fmla="*/ 90 w 3705"/>
              <a:gd name="T1" fmla="*/ 1401 h 2049"/>
              <a:gd name="T2" fmla="*/ 133 w 3705"/>
              <a:gd name="T3" fmla="*/ 1569 h 2049"/>
              <a:gd name="T4" fmla="*/ 274 w 3705"/>
              <a:gd name="T5" fmla="*/ 1711 h 2049"/>
              <a:gd name="T6" fmla="*/ 442 w 3705"/>
              <a:gd name="T7" fmla="*/ 1753 h 2049"/>
              <a:gd name="T8" fmla="*/ 576 w 3705"/>
              <a:gd name="T9" fmla="*/ 1727 h 2049"/>
              <a:gd name="T10" fmla="*/ 673 w 3705"/>
              <a:gd name="T11" fmla="*/ 1711 h 2049"/>
              <a:gd name="T12" fmla="*/ 871 w 3705"/>
              <a:gd name="T13" fmla="*/ 1783 h 2049"/>
              <a:gd name="T14" fmla="*/ 1024 w 3705"/>
              <a:gd name="T15" fmla="*/ 1769 h 2049"/>
              <a:gd name="T16" fmla="*/ 1214 w 3705"/>
              <a:gd name="T17" fmla="*/ 1650 h 2049"/>
              <a:gd name="T18" fmla="*/ 1312 w 3705"/>
              <a:gd name="T19" fmla="*/ 1449 h 2049"/>
              <a:gd name="T20" fmla="*/ 1418 w 3705"/>
              <a:gd name="T21" fmla="*/ 1508 h 2049"/>
              <a:gd name="T22" fmla="*/ 1648 w 3705"/>
              <a:gd name="T23" fmla="*/ 1578 h 2049"/>
              <a:gd name="T24" fmla="*/ 1849 w 3705"/>
              <a:gd name="T25" fmla="*/ 1527 h 2049"/>
              <a:gd name="T26" fmla="*/ 1965 w 3705"/>
              <a:gd name="T27" fmla="*/ 1479 h 2049"/>
              <a:gd name="T28" fmla="*/ 2137 w 3705"/>
              <a:gd name="T29" fmla="*/ 1590 h 2049"/>
              <a:gd name="T30" fmla="*/ 2169 w 3705"/>
              <a:gd name="T31" fmla="*/ 1639 h 2049"/>
              <a:gd name="T32" fmla="*/ 2218 w 3705"/>
              <a:gd name="T33" fmla="*/ 1835 h 2049"/>
              <a:gd name="T34" fmla="*/ 2383 w 3705"/>
              <a:gd name="T35" fmla="*/ 2000 h 2049"/>
              <a:gd name="T36" fmla="*/ 2578 w 3705"/>
              <a:gd name="T37" fmla="*/ 2049 h 2049"/>
              <a:gd name="T38" fmla="*/ 2724 w 3705"/>
              <a:gd name="T39" fmla="*/ 2022 h 2049"/>
              <a:gd name="T40" fmla="*/ 2866 w 3705"/>
              <a:gd name="T41" fmla="*/ 1931 h 2049"/>
              <a:gd name="T42" fmla="*/ 2948 w 3705"/>
              <a:gd name="T43" fmla="*/ 1814 h 2049"/>
              <a:gd name="T44" fmla="*/ 3088 w 3705"/>
              <a:gd name="T45" fmla="*/ 1861 h 2049"/>
              <a:gd name="T46" fmla="*/ 3234 w 3705"/>
              <a:gd name="T47" fmla="*/ 1867 h 2049"/>
              <a:gd name="T48" fmla="*/ 3514 w 3705"/>
              <a:gd name="T49" fmla="*/ 1750 h 2049"/>
              <a:gd name="T50" fmla="*/ 3683 w 3705"/>
              <a:gd name="T51" fmla="*/ 1501 h 2049"/>
              <a:gd name="T52" fmla="*/ 3705 w 3705"/>
              <a:gd name="T53" fmla="*/ 1306 h 2049"/>
              <a:gd name="T54" fmla="*/ 3645 w 3705"/>
              <a:gd name="T55" fmla="*/ 1099 h 2049"/>
              <a:gd name="T56" fmla="*/ 3513 w 3705"/>
              <a:gd name="T57" fmla="*/ 937 h 2049"/>
              <a:gd name="T58" fmla="*/ 3396 w 3705"/>
              <a:gd name="T59" fmla="*/ 844 h 2049"/>
              <a:gd name="T60" fmla="*/ 3175 w 3705"/>
              <a:gd name="T61" fmla="*/ 691 h 2049"/>
              <a:gd name="T62" fmla="*/ 3085 w 3705"/>
              <a:gd name="T63" fmla="*/ 547 h 2049"/>
              <a:gd name="T64" fmla="*/ 2908 w 3705"/>
              <a:gd name="T65" fmla="*/ 343 h 2049"/>
              <a:gd name="T66" fmla="*/ 2648 w 3705"/>
              <a:gd name="T67" fmla="*/ 250 h 2049"/>
              <a:gd name="T68" fmla="*/ 2509 w 3705"/>
              <a:gd name="T69" fmla="*/ 256 h 2049"/>
              <a:gd name="T70" fmla="*/ 2367 w 3705"/>
              <a:gd name="T71" fmla="*/ 302 h 2049"/>
              <a:gd name="T72" fmla="*/ 2258 w 3705"/>
              <a:gd name="T73" fmla="*/ 151 h 2049"/>
              <a:gd name="T74" fmla="*/ 2072 w 3705"/>
              <a:gd name="T75" fmla="*/ 33 h 2049"/>
              <a:gd name="T76" fmla="*/ 1881 w 3705"/>
              <a:gd name="T77" fmla="*/ 0 h 2049"/>
              <a:gd name="T78" fmla="*/ 1701 w 3705"/>
              <a:gd name="T79" fmla="*/ 31 h 2049"/>
              <a:gd name="T80" fmla="*/ 1518 w 3705"/>
              <a:gd name="T81" fmla="*/ 138 h 2049"/>
              <a:gd name="T82" fmla="*/ 1409 w 3705"/>
              <a:gd name="T83" fmla="*/ 277 h 2049"/>
              <a:gd name="T84" fmla="*/ 1282 w 3705"/>
              <a:gd name="T85" fmla="*/ 268 h 2049"/>
              <a:gd name="T86" fmla="*/ 1091 w 3705"/>
              <a:gd name="T87" fmla="*/ 334 h 2049"/>
              <a:gd name="T88" fmla="*/ 957 w 3705"/>
              <a:gd name="T89" fmla="*/ 482 h 2049"/>
              <a:gd name="T90" fmla="*/ 883 w 3705"/>
              <a:gd name="T91" fmla="*/ 591 h 2049"/>
              <a:gd name="T92" fmla="*/ 703 w 3705"/>
              <a:gd name="T93" fmla="*/ 745 h 2049"/>
              <a:gd name="T94" fmla="*/ 593 w 3705"/>
              <a:gd name="T95" fmla="*/ 718 h 2049"/>
              <a:gd name="T96" fmla="*/ 410 w 3705"/>
              <a:gd name="T97" fmla="*/ 676 h 2049"/>
              <a:gd name="T98" fmla="*/ 214 w 3705"/>
              <a:gd name="T99" fmla="*/ 724 h 2049"/>
              <a:gd name="T100" fmla="*/ 50 w 3705"/>
              <a:gd name="T101" fmla="*/ 890 h 2049"/>
              <a:gd name="T102" fmla="*/ 0 w 3705"/>
              <a:gd name="T103" fmla="*/ 1085 h 2049"/>
              <a:gd name="T104" fmla="*/ 38 w 3705"/>
              <a:gd name="T105" fmla="*/ 1258 h 20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705" h="2049">
                <a:moveTo>
                  <a:pt x="95" y="1346"/>
                </a:moveTo>
                <a:lnTo>
                  <a:pt x="91" y="1372"/>
                </a:lnTo>
                <a:lnTo>
                  <a:pt x="90" y="1401"/>
                </a:lnTo>
                <a:lnTo>
                  <a:pt x="91" y="1437"/>
                </a:lnTo>
                <a:lnTo>
                  <a:pt x="105" y="1506"/>
                </a:lnTo>
                <a:lnTo>
                  <a:pt x="133" y="1569"/>
                </a:lnTo>
                <a:lnTo>
                  <a:pt x="170" y="1625"/>
                </a:lnTo>
                <a:lnTo>
                  <a:pt x="218" y="1673"/>
                </a:lnTo>
                <a:lnTo>
                  <a:pt x="274" y="1711"/>
                </a:lnTo>
                <a:lnTo>
                  <a:pt x="337" y="1738"/>
                </a:lnTo>
                <a:lnTo>
                  <a:pt x="406" y="1752"/>
                </a:lnTo>
                <a:lnTo>
                  <a:pt x="442" y="1753"/>
                </a:lnTo>
                <a:lnTo>
                  <a:pt x="471" y="1752"/>
                </a:lnTo>
                <a:lnTo>
                  <a:pt x="525" y="1743"/>
                </a:lnTo>
                <a:lnTo>
                  <a:pt x="576" y="1727"/>
                </a:lnTo>
                <a:lnTo>
                  <a:pt x="624" y="1703"/>
                </a:lnTo>
                <a:lnTo>
                  <a:pt x="646" y="1689"/>
                </a:lnTo>
                <a:lnTo>
                  <a:pt x="673" y="1711"/>
                </a:lnTo>
                <a:lnTo>
                  <a:pt x="734" y="1746"/>
                </a:lnTo>
                <a:lnTo>
                  <a:pt x="800" y="1770"/>
                </a:lnTo>
                <a:lnTo>
                  <a:pt x="871" y="1783"/>
                </a:lnTo>
                <a:lnTo>
                  <a:pt x="909" y="1785"/>
                </a:lnTo>
                <a:lnTo>
                  <a:pt x="949" y="1783"/>
                </a:lnTo>
                <a:lnTo>
                  <a:pt x="1024" y="1769"/>
                </a:lnTo>
                <a:lnTo>
                  <a:pt x="1096" y="1740"/>
                </a:lnTo>
                <a:lnTo>
                  <a:pt x="1159" y="1700"/>
                </a:lnTo>
                <a:lnTo>
                  <a:pt x="1214" y="1650"/>
                </a:lnTo>
                <a:lnTo>
                  <a:pt x="1258" y="1590"/>
                </a:lnTo>
                <a:lnTo>
                  <a:pt x="1291" y="1523"/>
                </a:lnTo>
                <a:lnTo>
                  <a:pt x="1312" y="1449"/>
                </a:lnTo>
                <a:lnTo>
                  <a:pt x="1317" y="1410"/>
                </a:lnTo>
                <a:lnTo>
                  <a:pt x="1346" y="1448"/>
                </a:lnTo>
                <a:lnTo>
                  <a:pt x="1418" y="1508"/>
                </a:lnTo>
                <a:lnTo>
                  <a:pt x="1503" y="1553"/>
                </a:lnTo>
                <a:lnTo>
                  <a:pt x="1597" y="1576"/>
                </a:lnTo>
                <a:lnTo>
                  <a:pt x="1648" y="1578"/>
                </a:lnTo>
                <a:lnTo>
                  <a:pt x="1691" y="1577"/>
                </a:lnTo>
                <a:lnTo>
                  <a:pt x="1774" y="1560"/>
                </a:lnTo>
                <a:lnTo>
                  <a:pt x="1849" y="1527"/>
                </a:lnTo>
                <a:lnTo>
                  <a:pt x="1915" y="1480"/>
                </a:lnTo>
                <a:lnTo>
                  <a:pt x="1943" y="1451"/>
                </a:lnTo>
                <a:lnTo>
                  <a:pt x="1965" y="1479"/>
                </a:lnTo>
                <a:lnTo>
                  <a:pt x="2016" y="1525"/>
                </a:lnTo>
                <a:lnTo>
                  <a:pt x="2073" y="1562"/>
                </a:lnTo>
                <a:lnTo>
                  <a:pt x="2137" y="1590"/>
                </a:lnTo>
                <a:lnTo>
                  <a:pt x="2172" y="1599"/>
                </a:lnTo>
                <a:lnTo>
                  <a:pt x="2169" y="1619"/>
                </a:lnTo>
                <a:lnTo>
                  <a:pt x="2169" y="1639"/>
                </a:lnTo>
                <a:lnTo>
                  <a:pt x="2170" y="1681"/>
                </a:lnTo>
                <a:lnTo>
                  <a:pt x="2187" y="1761"/>
                </a:lnTo>
                <a:lnTo>
                  <a:pt x="2218" y="1835"/>
                </a:lnTo>
                <a:lnTo>
                  <a:pt x="2262" y="1900"/>
                </a:lnTo>
                <a:lnTo>
                  <a:pt x="2318" y="1956"/>
                </a:lnTo>
                <a:lnTo>
                  <a:pt x="2383" y="2000"/>
                </a:lnTo>
                <a:lnTo>
                  <a:pt x="2457" y="2031"/>
                </a:lnTo>
                <a:lnTo>
                  <a:pt x="2536" y="2046"/>
                </a:lnTo>
                <a:lnTo>
                  <a:pt x="2578" y="2049"/>
                </a:lnTo>
                <a:lnTo>
                  <a:pt x="2608" y="2048"/>
                </a:lnTo>
                <a:lnTo>
                  <a:pt x="2668" y="2039"/>
                </a:lnTo>
                <a:lnTo>
                  <a:pt x="2724" y="2022"/>
                </a:lnTo>
                <a:lnTo>
                  <a:pt x="2776" y="1998"/>
                </a:lnTo>
                <a:lnTo>
                  <a:pt x="2823" y="1967"/>
                </a:lnTo>
                <a:lnTo>
                  <a:pt x="2866" y="1931"/>
                </a:lnTo>
                <a:lnTo>
                  <a:pt x="2904" y="1888"/>
                </a:lnTo>
                <a:lnTo>
                  <a:pt x="2935" y="1840"/>
                </a:lnTo>
                <a:lnTo>
                  <a:pt x="2948" y="1814"/>
                </a:lnTo>
                <a:lnTo>
                  <a:pt x="2975" y="1827"/>
                </a:lnTo>
                <a:lnTo>
                  <a:pt x="3030" y="1848"/>
                </a:lnTo>
                <a:lnTo>
                  <a:pt x="3088" y="1861"/>
                </a:lnTo>
                <a:lnTo>
                  <a:pt x="3149" y="1869"/>
                </a:lnTo>
                <a:lnTo>
                  <a:pt x="3180" y="1869"/>
                </a:lnTo>
                <a:lnTo>
                  <a:pt x="3234" y="1867"/>
                </a:lnTo>
                <a:lnTo>
                  <a:pt x="3337" y="1845"/>
                </a:lnTo>
                <a:lnTo>
                  <a:pt x="3431" y="1807"/>
                </a:lnTo>
                <a:lnTo>
                  <a:pt x="3514" y="1750"/>
                </a:lnTo>
                <a:lnTo>
                  <a:pt x="3586" y="1678"/>
                </a:lnTo>
                <a:lnTo>
                  <a:pt x="3643" y="1594"/>
                </a:lnTo>
                <a:lnTo>
                  <a:pt x="3683" y="1501"/>
                </a:lnTo>
                <a:lnTo>
                  <a:pt x="3704" y="1398"/>
                </a:lnTo>
                <a:lnTo>
                  <a:pt x="3705" y="1344"/>
                </a:lnTo>
                <a:lnTo>
                  <a:pt x="3705" y="1306"/>
                </a:lnTo>
                <a:lnTo>
                  <a:pt x="3694" y="1234"/>
                </a:lnTo>
                <a:lnTo>
                  <a:pt x="3674" y="1164"/>
                </a:lnTo>
                <a:lnTo>
                  <a:pt x="3645" y="1099"/>
                </a:lnTo>
                <a:lnTo>
                  <a:pt x="3608" y="1039"/>
                </a:lnTo>
                <a:lnTo>
                  <a:pt x="3564" y="985"/>
                </a:lnTo>
                <a:lnTo>
                  <a:pt x="3513" y="937"/>
                </a:lnTo>
                <a:lnTo>
                  <a:pt x="3455" y="895"/>
                </a:lnTo>
                <a:lnTo>
                  <a:pt x="3424" y="879"/>
                </a:lnTo>
                <a:lnTo>
                  <a:pt x="3396" y="844"/>
                </a:lnTo>
                <a:lnTo>
                  <a:pt x="3332" y="780"/>
                </a:lnTo>
                <a:lnTo>
                  <a:pt x="3258" y="729"/>
                </a:lnTo>
                <a:lnTo>
                  <a:pt x="3175" y="691"/>
                </a:lnTo>
                <a:lnTo>
                  <a:pt x="3131" y="678"/>
                </a:lnTo>
                <a:lnTo>
                  <a:pt x="3119" y="632"/>
                </a:lnTo>
                <a:lnTo>
                  <a:pt x="3085" y="547"/>
                </a:lnTo>
                <a:lnTo>
                  <a:pt x="3037" y="469"/>
                </a:lnTo>
                <a:lnTo>
                  <a:pt x="2978" y="402"/>
                </a:lnTo>
                <a:lnTo>
                  <a:pt x="2908" y="343"/>
                </a:lnTo>
                <a:lnTo>
                  <a:pt x="2829" y="298"/>
                </a:lnTo>
                <a:lnTo>
                  <a:pt x="2742" y="267"/>
                </a:lnTo>
                <a:lnTo>
                  <a:pt x="2648" y="250"/>
                </a:lnTo>
                <a:lnTo>
                  <a:pt x="2601" y="249"/>
                </a:lnTo>
                <a:lnTo>
                  <a:pt x="2569" y="250"/>
                </a:lnTo>
                <a:lnTo>
                  <a:pt x="2509" y="256"/>
                </a:lnTo>
                <a:lnTo>
                  <a:pt x="2450" y="269"/>
                </a:lnTo>
                <a:lnTo>
                  <a:pt x="2394" y="289"/>
                </a:lnTo>
                <a:lnTo>
                  <a:pt x="2367" y="302"/>
                </a:lnTo>
                <a:lnTo>
                  <a:pt x="2350" y="268"/>
                </a:lnTo>
                <a:lnTo>
                  <a:pt x="2309" y="207"/>
                </a:lnTo>
                <a:lnTo>
                  <a:pt x="2258" y="151"/>
                </a:lnTo>
                <a:lnTo>
                  <a:pt x="2203" y="103"/>
                </a:lnTo>
                <a:lnTo>
                  <a:pt x="2139" y="65"/>
                </a:lnTo>
                <a:lnTo>
                  <a:pt x="2072" y="33"/>
                </a:lnTo>
                <a:lnTo>
                  <a:pt x="1998" y="11"/>
                </a:lnTo>
                <a:lnTo>
                  <a:pt x="1921" y="1"/>
                </a:lnTo>
                <a:lnTo>
                  <a:pt x="1881" y="0"/>
                </a:lnTo>
                <a:lnTo>
                  <a:pt x="1844" y="1"/>
                </a:lnTo>
                <a:lnTo>
                  <a:pt x="1771" y="11"/>
                </a:lnTo>
                <a:lnTo>
                  <a:pt x="1701" y="31"/>
                </a:lnTo>
                <a:lnTo>
                  <a:pt x="1635" y="58"/>
                </a:lnTo>
                <a:lnTo>
                  <a:pt x="1574" y="96"/>
                </a:lnTo>
                <a:lnTo>
                  <a:pt x="1518" y="138"/>
                </a:lnTo>
                <a:lnTo>
                  <a:pt x="1469" y="189"/>
                </a:lnTo>
                <a:lnTo>
                  <a:pt x="1426" y="246"/>
                </a:lnTo>
                <a:lnTo>
                  <a:pt x="1409" y="277"/>
                </a:lnTo>
                <a:lnTo>
                  <a:pt x="1364" y="268"/>
                </a:lnTo>
                <a:lnTo>
                  <a:pt x="1319" y="267"/>
                </a:lnTo>
                <a:lnTo>
                  <a:pt x="1282" y="268"/>
                </a:lnTo>
                <a:lnTo>
                  <a:pt x="1214" y="280"/>
                </a:lnTo>
                <a:lnTo>
                  <a:pt x="1150" y="302"/>
                </a:lnTo>
                <a:lnTo>
                  <a:pt x="1091" y="334"/>
                </a:lnTo>
                <a:lnTo>
                  <a:pt x="1039" y="376"/>
                </a:lnTo>
                <a:lnTo>
                  <a:pt x="993" y="425"/>
                </a:lnTo>
                <a:lnTo>
                  <a:pt x="957" y="482"/>
                </a:lnTo>
                <a:lnTo>
                  <a:pt x="930" y="544"/>
                </a:lnTo>
                <a:lnTo>
                  <a:pt x="921" y="577"/>
                </a:lnTo>
                <a:lnTo>
                  <a:pt x="883" y="591"/>
                </a:lnTo>
                <a:lnTo>
                  <a:pt x="813" y="631"/>
                </a:lnTo>
                <a:lnTo>
                  <a:pt x="752" y="683"/>
                </a:lnTo>
                <a:lnTo>
                  <a:pt x="703" y="745"/>
                </a:lnTo>
                <a:lnTo>
                  <a:pt x="684" y="780"/>
                </a:lnTo>
                <a:lnTo>
                  <a:pt x="656" y="757"/>
                </a:lnTo>
                <a:lnTo>
                  <a:pt x="593" y="718"/>
                </a:lnTo>
                <a:lnTo>
                  <a:pt x="524" y="691"/>
                </a:lnTo>
                <a:lnTo>
                  <a:pt x="449" y="676"/>
                </a:lnTo>
                <a:lnTo>
                  <a:pt x="410" y="676"/>
                </a:lnTo>
                <a:lnTo>
                  <a:pt x="367" y="678"/>
                </a:lnTo>
                <a:lnTo>
                  <a:pt x="288" y="693"/>
                </a:lnTo>
                <a:lnTo>
                  <a:pt x="214" y="724"/>
                </a:lnTo>
                <a:lnTo>
                  <a:pt x="150" y="768"/>
                </a:lnTo>
                <a:lnTo>
                  <a:pt x="94" y="824"/>
                </a:lnTo>
                <a:lnTo>
                  <a:pt x="50" y="890"/>
                </a:lnTo>
                <a:lnTo>
                  <a:pt x="19" y="963"/>
                </a:lnTo>
                <a:lnTo>
                  <a:pt x="2" y="1043"/>
                </a:lnTo>
                <a:lnTo>
                  <a:pt x="0" y="1085"/>
                </a:lnTo>
                <a:lnTo>
                  <a:pt x="2" y="1122"/>
                </a:lnTo>
                <a:lnTo>
                  <a:pt x="15" y="1192"/>
                </a:lnTo>
                <a:lnTo>
                  <a:pt x="38" y="1258"/>
                </a:lnTo>
                <a:lnTo>
                  <a:pt x="73" y="1319"/>
                </a:lnTo>
                <a:lnTo>
                  <a:pt x="95" y="1346"/>
                </a:lnTo>
                <a:close/>
              </a:path>
            </a:pathLst>
          </a:custGeom>
          <a:solidFill>
            <a:srgbClr val="B6DC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nvGrpSpPr>
          <p:cNvPr id="10" name="Group 9">
            <a:extLst>
              <a:ext uri="{FF2B5EF4-FFF2-40B4-BE49-F238E27FC236}">
                <a16:creationId xmlns:a16="http://schemas.microsoft.com/office/drawing/2014/main" id="{CDB2D893-0420-308E-B5E3-20B4C4D4FD94}"/>
              </a:ext>
            </a:extLst>
          </p:cNvPr>
          <p:cNvGrpSpPr/>
          <p:nvPr/>
        </p:nvGrpSpPr>
        <p:grpSpPr>
          <a:xfrm>
            <a:off x="0" y="5285145"/>
            <a:ext cx="7815263" cy="1020765"/>
            <a:chOff x="2865108" y="5215223"/>
            <a:chExt cx="7815263" cy="1020765"/>
          </a:xfrm>
        </p:grpSpPr>
        <p:sp>
          <p:nvSpPr>
            <p:cNvPr id="11" name="Freeform 87">
              <a:extLst>
                <a:ext uri="{FF2B5EF4-FFF2-40B4-BE49-F238E27FC236}">
                  <a16:creationId xmlns:a16="http://schemas.microsoft.com/office/drawing/2014/main" id="{983438C8-A72D-B065-D102-1EACC10FEBB1}"/>
                </a:ext>
              </a:extLst>
            </p:cNvPr>
            <p:cNvSpPr>
              <a:spLocks/>
            </p:cNvSpPr>
            <p:nvPr/>
          </p:nvSpPr>
          <p:spPr bwMode="auto">
            <a:xfrm>
              <a:off x="2865108" y="5215223"/>
              <a:ext cx="3901258" cy="1020765"/>
            </a:xfrm>
            <a:custGeom>
              <a:avLst/>
              <a:gdLst>
                <a:gd name="connsiteX0" fmla="*/ 2086615 w 3901258"/>
                <a:gd name="connsiteY0" fmla="*/ 0 h 1020765"/>
                <a:gd name="connsiteX1" fmla="*/ 2108475 w 3901258"/>
                <a:gd name="connsiteY1" fmla="*/ 0 h 1020765"/>
                <a:gd name="connsiteX2" fmla="*/ 2131285 w 3901258"/>
                <a:gd name="connsiteY2" fmla="*/ 0 h 1020765"/>
                <a:gd name="connsiteX3" fmla="*/ 2176906 w 3901258"/>
                <a:gd name="connsiteY3" fmla="*/ 3327 h 1020765"/>
                <a:gd name="connsiteX4" fmla="*/ 2220626 w 3901258"/>
                <a:gd name="connsiteY4" fmla="*/ 9506 h 1020765"/>
                <a:gd name="connsiteX5" fmla="*/ 2264346 w 3901258"/>
                <a:gd name="connsiteY5" fmla="*/ 19012 h 1020765"/>
                <a:gd name="connsiteX6" fmla="*/ 2306165 w 3901258"/>
                <a:gd name="connsiteY6" fmla="*/ 31370 h 1020765"/>
                <a:gd name="connsiteX7" fmla="*/ 2347034 w 3901258"/>
                <a:gd name="connsiteY7" fmla="*/ 46580 h 1020765"/>
                <a:gd name="connsiteX8" fmla="*/ 2386478 w 3901258"/>
                <a:gd name="connsiteY8" fmla="*/ 64641 h 1020765"/>
                <a:gd name="connsiteX9" fmla="*/ 2424019 w 3901258"/>
                <a:gd name="connsiteY9" fmla="*/ 85080 h 1020765"/>
                <a:gd name="connsiteX10" fmla="*/ 2460136 w 3901258"/>
                <a:gd name="connsiteY10" fmla="*/ 108369 h 1020765"/>
                <a:gd name="connsiteX11" fmla="*/ 2494827 w 3901258"/>
                <a:gd name="connsiteY11" fmla="*/ 133560 h 1020765"/>
                <a:gd name="connsiteX12" fmla="*/ 2527617 w 3901258"/>
                <a:gd name="connsiteY12" fmla="*/ 160653 h 1020765"/>
                <a:gd name="connsiteX13" fmla="*/ 2558506 w 3901258"/>
                <a:gd name="connsiteY13" fmla="*/ 190122 h 1020765"/>
                <a:gd name="connsiteX14" fmla="*/ 2587019 w 3901258"/>
                <a:gd name="connsiteY14" fmla="*/ 222442 h 1020765"/>
                <a:gd name="connsiteX15" fmla="*/ 2613156 w 3901258"/>
                <a:gd name="connsiteY15" fmla="*/ 255713 h 1020765"/>
                <a:gd name="connsiteX16" fmla="*/ 2637867 w 3901258"/>
                <a:gd name="connsiteY16" fmla="*/ 291361 h 1020765"/>
                <a:gd name="connsiteX17" fmla="*/ 2659252 w 3901258"/>
                <a:gd name="connsiteY17" fmla="*/ 328435 h 1020765"/>
                <a:gd name="connsiteX18" fmla="*/ 2669232 w 3901258"/>
                <a:gd name="connsiteY18" fmla="*/ 347447 h 1020765"/>
                <a:gd name="connsiteX19" fmla="*/ 2700121 w 3901258"/>
                <a:gd name="connsiteY19" fmla="*/ 333188 h 1020765"/>
                <a:gd name="connsiteX20" fmla="*/ 2763800 w 3901258"/>
                <a:gd name="connsiteY20" fmla="*/ 310849 h 1020765"/>
                <a:gd name="connsiteX21" fmla="*/ 2831281 w 3901258"/>
                <a:gd name="connsiteY21" fmla="*/ 295639 h 1020765"/>
                <a:gd name="connsiteX22" fmla="*/ 2901613 w 3901258"/>
                <a:gd name="connsiteY22" fmla="*/ 287559 h 1020765"/>
                <a:gd name="connsiteX23" fmla="*/ 2937255 w 3901258"/>
                <a:gd name="connsiteY23" fmla="*/ 287083 h 1020765"/>
                <a:gd name="connsiteX24" fmla="*/ 2964817 w 3901258"/>
                <a:gd name="connsiteY24" fmla="*/ 287559 h 1020765"/>
                <a:gd name="connsiteX25" fmla="*/ 3020417 w 3901258"/>
                <a:gd name="connsiteY25" fmla="*/ 292312 h 1020765"/>
                <a:gd name="connsiteX26" fmla="*/ 3073642 w 3901258"/>
                <a:gd name="connsiteY26" fmla="*/ 301818 h 1020765"/>
                <a:gd name="connsiteX27" fmla="*/ 3125441 w 3901258"/>
                <a:gd name="connsiteY27" fmla="*/ 316077 h 1020765"/>
                <a:gd name="connsiteX28" fmla="*/ 3175339 w 3901258"/>
                <a:gd name="connsiteY28" fmla="*/ 334138 h 1020765"/>
                <a:gd name="connsiteX29" fmla="*/ 3223335 w 3901258"/>
                <a:gd name="connsiteY29" fmla="*/ 356478 h 1020765"/>
                <a:gd name="connsiteX30" fmla="*/ 3268956 w 3901258"/>
                <a:gd name="connsiteY30" fmla="*/ 382619 h 1020765"/>
                <a:gd name="connsiteX31" fmla="*/ 3312201 w 3901258"/>
                <a:gd name="connsiteY31" fmla="*/ 412088 h 1020765"/>
                <a:gd name="connsiteX32" fmla="*/ 3353070 w 3901258"/>
                <a:gd name="connsiteY32" fmla="*/ 445359 h 1020765"/>
                <a:gd name="connsiteX33" fmla="*/ 3390612 w 3901258"/>
                <a:gd name="connsiteY33" fmla="*/ 481482 h 1020765"/>
                <a:gd name="connsiteX34" fmla="*/ 3424828 w 3901258"/>
                <a:gd name="connsiteY34" fmla="*/ 520933 h 1020765"/>
                <a:gd name="connsiteX35" fmla="*/ 3455717 w 3901258"/>
                <a:gd name="connsiteY35" fmla="*/ 562759 h 1020765"/>
                <a:gd name="connsiteX36" fmla="*/ 3483279 w 3901258"/>
                <a:gd name="connsiteY36" fmla="*/ 607438 h 1020765"/>
                <a:gd name="connsiteX37" fmla="*/ 3507041 w 3901258"/>
                <a:gd name="connsiteY37" fmla="*/ 654493 h 1020765"/>
                <a:gd name="connsiteX38" fmla="*/ 3526999 w 3901258"/>
                <a:gd name="connsiteY38" fmla="*/ 703924 h 1020765"/>
                <a:gd name="connsiteX39" fmla="*/ 3542682 w 3901258"/>
                <a:gd name="connsiteY39" fmla="*/ 755257 h 1020765"/>
                <a:gd name="connsiteX40" fmla="*/ 3548859 w 3901258"/>
                <a:gd name="connsiteY40" fmla="*/ 781399 h 1020765"/>
                <a:gd name="connsiteX41" fmla="*/ 3574046 w 3901258"/>
                <a:gd name="connsiteY41" fmla="*/ 789004 h 1020765"/>
                <a:gd name="connsiteX42" fmla="*/ 3623944 w 3901258"/>
                <a:gd name="connsiteY42" fmla="*/ 807065 h 1020765"/>
                <a:gd name="connsiteX43" fmla="*/ 3671466 w 3901258"/>
                <a:gd name="connsiteY43" fmla="*/ 828929 h 1020765"/>
                <a:gd name="connsiteX44" fmla="*/ 3717087 w 3901258"/>
                <a:gd name="connsiteY44" fmla="*/ 855071 h 1020765"/>
                <a:gd name="connsiteX45" fmla="*/ 3759856 w 3901258"/>
                <a:gd name="connsiteY45" fmla="*/ 884540 h 1020765"/>
                <a:gd name="connsiteX46" fmla="*/ 3800250 w 3901258"/>
                <a:gd name="connsiteY46" fmla="*/ 917811 h 1020765"/>
                <a:gd name="connsiteX47" fmla="*/ 3837792 w 3901258"/>
                <a:gd name="connsiteY47" fmla="*/ 953458 h 1020765"/>
                <a:gd name="connsiteX48" fmla="*/ 3871532 w 3901258"/>
                <a:gd name="connsiteY48" fmla="*/ 992909 h 1020765"/>
                <a:gd name="connsiteX49" fmla="*/ 3887690 w 3901258"/>
                <a:gd name="connsiteY49" fmla="*/ 1013347 h 1020765"/>
                <a:gd name="connsiteX50" fmla="*/ 3901258 w 3901258"/>
                <a:gd name="connsiteY50" fmla="*/ 1020765 h 1020765"/>
                <a:gd name="connsiteX51" fmla="*/ 0 w 3901258"/>
                <a:gd name="connsiteY51" fmla="*/ 1020765 h 1020765"/>
                <a:gd name="connsiteX52" fmla="*/ 7538 w 3901258"/>
                <a:gd name="connsiteY52" fmla="*/ 1006692 h 1020765"/>
                <a:gd name="connsiteX53" fmla="*/ 32724 w 3901258"/>
                <a:gd name="connsiteY53" fmla="*/ 968668 h 1020765"/>
                <a:gd name="connsiteX54" fmla="*/ 61712 w 3901258"/>
                <a:gd name="connsiteY54" fmla="*/ 933971 h 1020765"/>
                <a:gd name="connsiteX55" fmla="*/ 94027 w 3901258"/>
                <a:gd name="connsiteY55" fmla="*/ 901650 h 1020765"/>
                <a:gd name="connsiteX56" fmla="*/ 129193 w 3901258"/>
                <a:gd name="connsiteY56" fmla="*/ 872657 h 1020765"/>
                <a:gd name="connsiteX57" fmla="*/ 166736 w 3901258"/>
                <a:gd name="connsiteY57" fmla="*/ 847466 h 1020765"/>
                <a:gd name="connsiteX58" fmla="*/ 206654 w 3901258"/>
                <a:gd name="connsiteY58" fmla="*/ 826077 h 1020765"/>
                <a:gd name="connsiteX59" fmla="*/ 248948 w 3901258"/>
                <a:gd name="connsiteY59" fmla="*/ 808016 h 1020765"/>
                <a:gd name="connsiteX60" fmla="*/ 293619 w 3901258"/>
                <a:gd name="connsiteY60" fmla="*/ 793757 h 1020765"/>
                <a:gd name="connsiteX61" fmla="*/ 339715 w 3901258"/>
                <a:gd name="connsiteY61" fmla="*/ 784726 h 1020765"/>
                <a:gd name="connsiteX62" fmla="*/ 387237 w 3901258"/>
                <a:gd name="connsiteY62" fmla="*/ 779973 h 1020765"/>
                <a:gd name="connsiteX63" fmla="*/ 411948 w 3901258"/>
                <a:gd name="connsiteY63" fmla="*/ 779022 h 1020765"/>
                <a:gd name="connsiteX64" fmla="*/ 433808 w 3901258"/>
                <a:gd name="connsiteY64" fmla="*/ 779973 h 1020765"/>
                <a:gd name="connsiteX65" fmla="*/ 478478 w 3901258"/>
                <a:gd name="connsiteY65" fmla="*/ 784251 h 1020765"/>
                <a:gd name="connsiteX66" fmla="*/ 521248 w 3901258"/>
                <a:gd name="connsiteY66" fmla="*/ 792331 h 1020765"/>
                <a:gd name="connsiteX67" fmla="*/ 563067 w 3901258"/>
                <a:gd name="connsiteY67" fmla="*/ 804213 h 1020765"/>
                <a:gd name="connsiteX68" fmla="*/ 603461 w 3901258"/>
                <a:gd name="connsiteY68" fmla="*/ 819898 h 1020765"/>
                <a:gd name="connsiteX69" fmla="*/ 641478 w 3901258"/>
                <a:gd name="connsiteY69" fmla="*/ 838910 h 1020765"/>
                <a:gd name="connsiteX70" fmla="*/ 677119 w 3901258"/>
                <a:gd name="connsiteY70" fmla="*/ 861250 h 1020765"/>
                <a:gd name="connsiteX71" fmla="*/ 710860 w 3901258"/>
                <a:gd name="connsiteY71" fmla="*/ 886441 h 1020765"/>
                <a:gd name="connsiteX72" fmla="*/ 727017 w 3901258"/>
                <a:gd name="connsiteY72" fmla="*/ 900700 h 1020765"/>
                <a:gd name="connsiteX73" fmla="*/ 738422 w 3901258"/>
                <a:gd name="connsiteY73" fmla="*/ 880262 h 1020765"/>
                <a:gd name="connsiteX74" fmla="*/ 762658 w 3901258"/>
                <a:gd name="connsiteY74" fmla="*/ 840812 h 1020765"/>
                <a:gd name="connsiteX75" fmla="*/ 791172 w 3901258"/>
                <a:gd name="connsiteY75" fmla="*/ 804213 h 1020765"/>
                <a:gd name="connsiteX76" fmla="*/ 823011 w 3901258"/>
                <a:gd name="connsiteY76" fmla="*/ 770942 h 1020765"/>
                <a:gd name="connsiteX77" fmla="*/ 857702 w 3901258"/>
                <a:gd name="connsiteY77" fmla="*/ 741473 h 1020765"/>
                <a:gd name="connsiteX78" fmla="*/ 895719 w 3901258"/>
                <a:gd name="connsiteY78" fmla="*/ 714381 h 1020765"/>
                <a:gd name="connsiteX79" fmla="*/ 936113 w 3901258"/>
                <a:gd name="connsiteY79" fmla="*/ 691566 h 1020765"/>
                <a:gd name="connsiteX80" fmla="*/ 978407 w 3901258"/>
                <a:gd name="connsiteY80" fmla="*/ 673030 h 1020765"/>
                <a:gd name="connsiteX81" fmla="*/ 1001218 w 3901258"/>
                <a:gd name="connsiteY81" fmla="*/ 665425 h 1020765"/>
                <a:gd name="connsiteX82" fmla="*/ 1005970 w 3901258"/>
                <a:gd name="connsiteY82" fmla="*/ 645937 h 1020765"/>
                <a:gd name="connsiteX83" fmla="*/ 1018326 w 3901258"/>
                <a:gd name="connsiteY83" fmla="*/ 609339 h 1020765"/>
                <a:gd name="connsiteX84" fmla="*/ 1034483 w 3901258"/>
                <a:gd name="connsiteY84" fmla="*/ 573216 h 1020765"/>
                <a:gd name="connsiteX85" fmla="*/ 1052541 w 3901258"/>
                <a:gd name="connsiteY85" fmla="*/ 538994 h 1020765"/>
                <a:gd name="connsiteX86" fmla="*/ 1073926 w 3901258"/>
                <a:gd name="connsiteY86" fmla="*/ 506198 h 1020765"/>
                <a:gd name="connsiteX87" fmla="*/ 1097212 w 3901258"/>
                <a:gd name="connsiteY87" fmla="*/ 476254 h 1020765"/>
                <a:gd name="connsiteX88" fmla="*/ 1123349 w 3901258"/>
                <a:gd name="connsiteY88" fmla="*/ 447736 h 1020765"/>
                <a:gd name="connsiteX89" fmla="*/ 1150911 w 3901258"/>
                <a:gd name="connsiteY89" fmla="*/ 421119 h 1020765"/>
                <a:gd name="connsiteX90" fmla="*/ 1180850 w 3901258"/>
                <a:gd name="connsiteY90" fmla="*/ 397354 h 1020765"/>
                <a:gd name="connsiteX91" fmla="*/ 1213640 w 3901258"/>
                <a:gd name="connsiteY91" fmla="*/ 375490 h 1020765"/>
                <a:gd name="connsiteX92" fmla="*/ 1247380 w 3901258"/>
                <a:gd name="connsiteY92" fmla="*/ 356953 h 1020765"/>
                <a:gd name="connsiteX93" fmla="*/ 1282547 w 3901258"/>
                <a:gd name="connsiteY93" fmla="*/ 341268 h 1020765"/>
                <a:gd name="connsiteX94" fmla="*/ 1319614 w 3901258"/>
                <a:gd name="connsiteY94" fmla="*/ 328435 h 1020765"/>
                <a:gd name="connsiteX95" fmla="*/ 1358581 w 3901258"/>
                <a:gd name="connsiteY95" fmla="*/ 317503 h 1020765"/>
                <a:gd name="connsiteX96" fmla="*/ 1398024 w 3901258"/>
                <a:gd name="connsiteY96" fmla="*/ 310849 h 1020765"/>
                <a:gd name="connsiteX97" fmla="*/ 1438418 w 3901258"/>
                <a:gd name="connsiteY97" fmla="*/ 307046 h 1020765"/>
                <a:gd name="connsiteX98" fmla="*/ 1458852 w 3901258"/>
                <a:gd name="connsiteY98" fmla="*/ 307046 h 1020765"/>
                <a:gd name="connsiteX99" fmla="*/ 1485940 w 3901258"/>
                <a:gd name="connsiteY99" fmla="*/ 307997 h 1020765"/>
                <a:gd name="connsiteX100" fmla="*/ 1537738 w 3901258"/>
                <a:gd name="connsiteY100" fmla="*/ 313225 h 1020765"/>
                <a:gd name="connsiteX101" fmla="*/ 1563400 w 3901258"/>
                <a:gd name="connsiteY101" fmla="*/ 318929 h 1020765"/>
                <a:gd name="connsiteX102" fmla="*/ 1583835 w 3901258"/>
                <a:gd name="connsiteY102" fmla="*/ 283756 h 1020765"/>
                <a:gd name="connsiteX103" fmla="*/ 1633257 w 3901258"/>
                <a:gd name="connsiteY103" fmla="*/ 218640 h 1020765"/>
                <a:gd name="connsiteX104" fmla="*/ 1689808 w 3901258"/>
                <a:gd name="connsiteY104" fmla="*/ 160177 h 1020765"/>
                <a:gd name="connsiteX105" fmla="*/ 1753963 w 3901258"/>
                <a:gd name="connsiteY105" fmla="*/ 109320 h 1020765"/>
                <a:gd name="connsiteX106" fmla="*/ 1824295 w 3901258"/>
                <a:gd name="connsiteY106" fmla="*/ 67493 h 1020765"/>
                <a:gd name="connsiteX107" fmla="*/ 1899854 w 3901258"/>
                <a:gd name="connsiteY107" fmla="*/ 35173 h 1020765"/>
                <a:gd name="connsiteX108" fmla="*/ 1980641 w 3901258"/>
                <a:gd name="connsiteY108" fmla="*/ 12358 h 1020765"/>
                <a:gd name="connsiteX109" fmla="*/ 2043370 w 3901258"/>
                <a:gd name="connsiteY109" fmla="*/ 2852 h 1020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Lst>
              <a:rect l="l" t="t" r="r" b="b"/>
              <a:pathLst>
                <a:path w="3901258" h="1020765">
                  <a:moveTo>
                    <a:pt x="2086615" y="0"/>
                  </a:moveTo>
                  <a:lnTo>
                    <a:pt x="2108475" y="0"/>
                  </a:lnTo>
                  <a:lnTo>
                    <a:pt x="2131285" y="0"/>
                  </a:lnTo>
                  <a:lnTo>
                    <a:pt x="2176906" y="3327"/>
                  </a:lnTo>
                  <a:lnTo>
                    <a:pt x="2220626" y="9506"/>
                  </a:lnTo>
                  <a:lnTo>
                    <a:pt x="2264346" y="19012"/>
                  </a:lnTo>
                  <a:lnTo>
                    <a:pt x="2306165" y="31370"/>
                  </a:lnTo>
                  <a:lnTo>
                    <a:pt x="2347034" y="46580"/>
                  </a:lnTo>
                  <a:lnTo>
                    <a:pt x="2386478" y="64641"/>
                  </a:lnTo>
                  <a:lnTo>
                    <a:pt x="2424019" y="85080"/>
                  </a:lnTo>
                  <a:lnTo>
                    <a:pt x="2460136" y="108369"/>
                  </a:lnTo>
                  <a:lnTo>
                    <a:pt x="2494827" y="133560"/>
                  </a:lnTo>
                  <a:lnTo>
                    <a:pt x="2527617" y="160653"/>
                  </a:lnTo>
                  <a:lnTo>
                    <a:pt x="2558506" y="190122"/>
                  </a:lnTo>
                  <a:lnTo>
                    <a:pt x="2587019" y="222442"/>
                  </a:lnTo>
                  <a:lnTo>
                    <a:pt x="2613156" y="255713"/>
                  </a:lnTo>
                  <a:lnTo>
                    <a:pt x="2637867" y="291361"/>
                  </a:lnTo>
                  <a:lnTo>
                    <a:pt x="2659252" y="328435"/>
                  </a:lnTo>
                  <a:lnTo>
                    <a:pt x="2669232" y="347447"/>
                  </a:lnTo>
                  <a:lnTo>
                    <a:pt x="2700121" y="333188"/>
                  </a:lnTo>
                  <a:lnTo>
                    <a:pt x="2763800" y="310849"/>
                  </a:lnTo>
                  <a:lnTo>
                    <a:pt x="2831281" y="295639"/>
                  </a:lnTo>
                  <a:lnTo>
                    <a:pt x="2901613" y="287559"/>
                  </a:lnTo>
                  <a:lnTo>
                    <a:pt x="2937255" y="287083"/>
                  </a:lnTo>
                  <a:lnTo>
                    <a:pt x="2964817" y="287559"/>
                  </a:lnTo>
                  <a:lnTo>
                    <a:pt x="3020417" y="292312"/>
                  </a:lnTo>
                  <a:lnTo>
                    <a:pt x="3073642" y="301818"/>
                  </a:lnTo>
                  <a:lnTo>
                    <a:pt x="3125441" y="316077"/>
                  </a:lnTo>
                  <a:lnTo>
                    <a:pt x="3175339" y="334138"/>
                  </a:lnTo>
                  <a:lnTo>
                    <a:pt x="3223335" y="356478"/>
                  </a:lnTo>
                  <a:lnTo>
                    <a:pt x="3268956" y="382619"/>
                  </a:lnTo>
                  <a:lnTo>
                    <a:pt x="3312201" y="412088"/>
                  </a:lnTo>
                  <a:lnTo>
                    <a:pt x="3353070" y="445359"/>
                  </a:lnTo>
                  <a:lnTo>
                    <a:pt x="3390612" y="481482"/>
                  </a:lnTo>
                  <a:lnTo>
                    <a:pt x="3424828" y="520933"/>
                  </a:lnTo>
                  <a:lnTo>
                    <a:pt x="3455717" y="562759"/>
                  </a:lnTo>
                  <a:lnTo>
                    <a:pt x="3483279" y="607438"/>
                  </a:lnTo>
                  <a:lnTo>
                    <a:pt x="3507041" y="654493"/>
                  </a:lnTo>
                  <a:lnTo>
                    <a:pt x="3526999" y="703924"/>
                  </a:lnTo>
                  <a:lnTo>
                    <a:pt x="3542682" y="755257"/>
                  </a:lnTo>
                  <a:lnTo>
                    <a:pt x="3548859" y="781399"/>
                  </a:lnTo>
                  <a:lnTo>
                    <a:pt x="3574046" y="789004"/>
                  </a:lnTo>
                  <a:lnTo>
                    <a:pt x="3623944" y="807065"/>
                  </a:lnTo>
                  <a:lnTo>
                    <a:pt x="3671466" y="828929"/>
                  </a:lnTo>
                  <a:lnTo>
                    <a:pt x="3717087" y="855071"/>
                  </a:lnTo>
                  <a:lnTo>
                    <a:pt x="3759856" y="884540"/>
                  </a:lnTo>
                  <a:lnTo>
                    <a:pt x="3800250" y="917811"/>
                  </a:lnTo>
                  <a:lnTo>
                    <a:pt x="3837792" y="953458"/>
                  </a:lnTo>
                  <a:lnTo>
                    <a:pt x="3871532" y="992909"/>
                  </a:lnTo>
                  <a:lnTo>
                    <a:pt x="3887690" y="1013347"/>
                  </a:lnTo>
                  <a:lnTo>
                    <a:pt x="3901258" y="1020765"/>
                  </a:lnTo>
                  <a:lnTo>
                    <a:pt x="0" y="1020765"/>
                  </a:lnTo>
                  <a:lnTo>
                    <a:pt x="7538" y="1006692"/>
                  </a:lnTo>
                  <a:lnTo>
                    <a:pt x="32724" y="968668"/>
                  </a:lnTo>
                  <a:lnTo>
                    <a:pt x="61712" y="933971"/>
                  </a:lnTo>
                  <a:lnTo>
                    <a:pt x="94027" y="901650"/>
                  </a:lnTo>
                  <a:lnTo>
                    <a:pt x="129193" y="872657"/>
                  </a:lnTo>
                  <a:lnTo>
                    <a:pt x="166736" y="847466"/>
                  </a:lnTo>
                  <a:lnTo>
                    <a:pt x="206654" y="826077"/>
                  </a:lnTo>
                  <a:lnTo>
                    <a:pt x="248948" y="808016"/>
                  </a:lnTo>
                  <a:lnTo>
                    <a:pt x="293619" y="793757"/>
                  </a:lnTo>
                  <a:lnTo>
                    <a:pt x="339715" y="784726"/>
                  </a:lnTo>
                  <a:lnTo>
                    <a:pt x="387237" y="779973"/>
                  </a:lnTo>
                  <a:lnTo>
                    <a:pt x="411948" y="779022"/>
                  </a:lnTo>
                  <a:lnTo>
                    <a:pt x="433808" y="779973"/>
                  </a:lnTo>
                  <a:lnTo>
                    <a:pt x="478478" y="784251"/>
                  </a:lnTo>
                  <a:lnTo>
                    <a:pt x="521248" y="792331"/>
                  </a:lnTo>
                  <a:lnTo>
                    <a:pt x="563067" y="804213"/>
                  </a:lnTo>
                  <a:lnTo>
                    <a:pt x="603461" y="819898"/>
                  </a:lnTo>
                  <a:lnTo>
                    <a:pt x="641478" y="838910"/>
                  </a:lnTo>
                  <a:lnTo>
                    <a:pt x="677119" y="861250"/>
                  </a:lnTo>
                  <a:lnTo>
                    <a:pt x="710860" y="886441"/>
                  </a:lnTo>
                  <a:lnTo>
                    <a:pt x="727017" y="900700"/>
                  </a:lnTo>
                  <a:lnTo>
                    <a:pt x="738422" y="880262"/>
                  </a:lnTo>
                  <a:lnTo>
                    <a:pt x="762658" y="840812"/>
                  </a:lnTo>
                  <a:lnTo>
                    <a:pt x="791172" y="804213"/>
                  </a:lnTo>
                  <a:lnTo>
                    <a:pt x="823011" y="770942"/>
                  </a:lnTo>
                  <a:lnTo>
                    <a:pt x="857702" y="741473"/>
                  </a:lnTo>
                  <a:lnTo>
                    <a:pt x="895719" y="714381"/>
                  </a:lnTo>
                  <a:lnTo>
                    <a:pt x="936113" y="691566"/>
                  </a:lnTo>
                  <a:lnTo>
                    <a:pt x="978407" y="673030"/>
                  </a:lnTo>
                  <a:lnTo>
                    <a:pt x="1001218" y="665425"/>
                  </a:lnTo>
                  <a:lnTo>
                    <a:pt x="1005970" y="645937"/>
                  </a:lnTo>
                  <a:lnTo>
                    <a:pt x="1018326" y="609339"/>
                  </a:lnTo>
                  <a:lnTo>
                    <a:pt x="1034483" y="573216"/>
                  </a:lnTo>
                  <a:lnTo>
                    <a:pt x="1052541" y="538994"/>
                  </a:lnTo>
                  <a:lnTo>
                    <a:pt x="1073926" y="506198"/>
                  </a:lnTo>
                  <a:lnTo>
                    <a:pt x="1097212" y="476254"/>
                  </a:lnTo>
                  <a:lnTo>
                    <a:pt x="1123349" y="447736"/>
                  </a:lnTo>
                  <a:lnTo>
                    <a:pt x="1150911" y="421119"/>
                  </a:lnTo>
                  <a:lnTo>
                    <a:pt x="1180850" y="397354"/>
                  </a:lnTo>
                  <a:lnTo>
                    <a:pt x="1213640" y="375490"/>
                  </a:lnTo>
                  <a:lnTo>
                    <a:pt x="1247380" y="356953"/>
                  </a:lnTo>
                  <a:lnTo>
                    <a:pt x="1282547" y="341268"/>
                  </a:lnTo>
                  <a:lnTo>
                    <a:pt x="1319614" y="328435"/>
                  </a:lnTo>
                  <a:lnTo>
                    <a:pt x="1358581" y="317503"/>
                  </a:lnTo>
                  <a:lnTo>
                    <a:pt x="1398024" y="310849"/>
                  </a:lnTo>
                  <a:lnTo>
                    <a:pt x="1438418" y="307046"/>
                  </a:lnTo>
                  <a:lnTo>
                    <a:pt x="1458852" y="307046"/>
                  </a:lnTo>
                  <a:lnTo>
                    <a:pt x="1485940" y="307997"/>
                  </a:lnTo>
                  <a:lnTo>
                    <a:pt x="1537738" y="313225"/>
                  </a:lnTo>
                  <a:lnTo>
                    <a:pt x="1563400" y="318929"/>
                  </a:lnTo>
                  <a:lnTo>
                    <a:pt x="1583835" y="283756"/>
                  </a:lnTo>
                  <a:lnTo>
                    <a:pt x="1633257" y="218640"/>
                  </a:lnTo>
                  <a:lnTo>
                    <a:pt x="1689808" y="160177"/>
                  </a:lnTo>
                  <a:lnTo>
                    <a:pt x="1753963" y="109320"/>
                  </a:lnTo>
                  <a:lnTo>
                    <a:pt x="1824295" y="67493"/>
                  </a:lnTo>
                  <a:lnTo>
                    <a:pt x="1899854" y="35173"/>
                  </a:lnTo>
                  <a:lnTo>
                    <a:pt x="1980641" y="12358"/>
                  </a:lnTo>
                  <a:lnTo>
                    <a:pt x="2043370" y="2852"/>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solidFill>
                  <a:prstClr val="black"/>
                </a:solidFill>
              </a:endParaRPr>
            </a:p>
          </p:txBody>
        </p:sp>
        <p:sp>
          <p:nvSpPr>
            <p:cNvPr id="12" name="Freeform: Shape 17">
              <a:extLst>
                <a:ext uri="{FF2B5EF4-FFF2-40B4-BE49-F238E27FC236}">
                  <a16:creationId xmlns:a16="http://schemas.microsoft.com/office/drawing/2014/main" id="{F74D3214-E002-E3EF-6F3B-29AD0ACFDD87}"/>
                </a:ext>
              </a:extLst>
            </p:cNvPr>
            <p:cNvSpPr/>
            <p:nvPr/>
          </p:nvSpPr>
          <p:spPr>
            <a:xfrm>
              <a:off x="5718906" y="5306445"/>
              <a:ext cx="4961465" cy="929543"/>
            </a:xfrm>
            <a:custGeom>
              <a:avLst/>
              <a:gdLst>
                <a:gd name="connsiteX0" fmla="*/ 2936312 w 4961465"/>
                <a:gd name="connsiteY0" fmla="*/ 0 h 929543"/>
                <a:gd name="connsiteX1" fmla="*/ 2970995 w 4961465"/>
                <a:gd name="connsiteY1" fmla="*/ 951 h 929543"/>
                <a:gd name="connsiteX2" fmla="*/ 3038461 w 4961465"/>
                <a:gd name="connsiteY2" fmla="*/ 10932 h 929543"/>
                <a:gd name="connsiteX3" fmla="*/ 3103076 w 4961465"/>
                <a:gd name="connsiteY3" fmla="*/ 29944 h 929543"/>
                <a:gd name="connsiteX4" fmla="*/ 3162940 w 4961465"/>
                <a:gd name="connsiteY4" fmla="*/ 57512 h 929543"/>
                <a:gd name="connsiteX5" fmla="*/ 3218528 w 4961465"/>
                <a:gd name="connsiteY5" fmla="*/ 93635 h 929543"/>
                <a:gd name="connsiteX6" fmla="*/ 3267465 w 4961465"/>
                <a:gd name="connsiteY6" fmla="*/ 135937 h 929543"/>
                <a:gd name="connsiteX7" fmla="*/ 3311175 w 4961465"/>
                <a:gd name="connsiteY7" fmla="*/ 185368 h 929543"/>
                <a:gd name="connsiteX8" fmla="*/ 3346809 w 4961465"/>
                <a:gd name="connsiteY8" fmla="*/ 239553 h 929543"/>
                <a:gd name="connsiteX9" fmla="*/ 3362487 w 4961465"/>
                <a:gd name="connsiteY9" fmla="*/ 269022 h 929543"/>
                <a:gd name="connsiteX10" fmla="*/ 3392419 w 4961465"/>
                <a:gd name="connsiteY10" fmla="*/ 254763 h 929543"/>
                <a:gd name="connsiteX11" fmla="*/ 3450571 w 4961465"/>
                <a:gd name="connsiteY11" fmla="*/ 233647 h 929543"/>
                <a:gd name="connsiteX12" fmla="*/ 3462368 w 4961465"/>
                <a:gd name="connsiteY12" fmla="*/ 227244 h 929543"/>
                <a:gd name="connsiteX13" fmla="*/ 3690215 w 4961465"/>
                <a:gd name="connsiteY13" fmla="*/ 181244 h 929543"/>
                <a:gd name="connsiteX14" fmla="*/ 4263678 w 4961465"/>
                <a:gd name="connsiteY14" fmla="*/ 648630 h 929543"/>
                <a:gd name="connsiteX15" fmla="*/ 4264519 w 4961465"/>
                <a:gd name="connsiteY15" fmla="*/ 656979 h 929543"/>
                <a:gd name="connsiteX16" fmla="*/ 4332360 w 4961465"/>
                <a:gd name="connsiteY16" fmla="*/ 635920 h 929543"/>
                <a:gd name="connsiteX17" fmla="*/ 4450330 w 4961465"/>
                <a:gd name="connsiteY17" fmla="*/ 624027 h 929543"/>
                <a:gd name="connsiteX18" fmla="*/ 4935716 w 4961465"/>
                <a:gd name="connsiteY18" fmla="*/ 882105 h 929543"/>
                <a:gd name="connsiteX19" fmla="*/ 4961465 w 4961465"/>
                <a:gd name="connsiteY19" fmla="*/ 929543 h 929543"/>
                <a:gd name="connsiteX20" fmla="*/ 3944639 w 4961465"/>
                <a:gd name="connsiteY20" fmla="*/ 929543 h 929543"/>
                <a:gd name="connsiteX21" fmla="*/ 3130713 w 4961465"/>
                <a:gd name="connsiteY21" fmla="*/ 929543 h 929543"/>
                <a:gd name="connsiteX22" fmla="*/ 0 w 4961465"/>
                <a:gd name="connsiteY22" fmla="*/ 929543 h 929543"/>
                <a:gd name="connsiteX23" fmla="*/ 120 w 4961465"/>
                <a:gd name="connsiteY23" fmla="*/ 929218 h 929543"/>
                <a:gd name="connsiteX24" fmla="*/ 17224 w 4961465"/>
                <a:gd name="connsiteY24" fmla="*/ 893095 h 929543"/>
                <a:gd name="connsiteX25" fmla="*/ 37178 w 4961465"/>
                <a:gd name="connsiteY25" fmla="*/ 858398 h 929543"/>
                <a:gd name="connsiteX26" fmla="*/ 59984 w 4961465"/>
                <a:gd name="connsiteY26" fmla="*/ 825127 h 929543"/>
                <a:gd name="connsiteX27" fmla="*/ 72337 w 4961465"/>
                <a:gd name="connsiteY27" fmla="*/ 809917 h 929543"/>
                <a:gd name="connsiteX28" fmla="*/ 68536 w 4961465"/>
                <a:gd name="connsiteY28" fmla="*/ 779022 h 929543"/>
                <a:gd name="connsiteX29" fmla="*/ 68061 w 4961465"/>
                <a:gd name="connsiteY29" fmla="*/ 747177 h 929543"/>
                <a:gd name="connsiteX30" fmla="*/ 68061 w 4961465"/>
                <a:gd name="connsiteY30" fmla="*/ 726264 h 929543"/>
                <a:gd name="connsiteX31" fmla="*/ 72337 w 4961465"/>
                <a:gd name="connsiteY31" fmla="*/ 685387 h 929543"/>
                <a:gd name="connsiteX32" fmla="*/ 79939 w 4961465"/>
                <a:gd name="connsiteY32" fmla="*/ 645462 h 929543"/>
                <a:gd name="connsiteX33" fmla="*/ 91816 w 4961465"/>
                <a:gd name="connsiteY33" fmla="*/ 606962 h 929543"/>
                <a:gd name="connsiteX34" fmla="*/ 107495 w 4961465"/>
                <a:gd name="connsiteY34" fmla="*/ 570839 h 929543"/>
                <a:gd name="connsiteX35" fmla="*/ 126499 w 4961465"/>
                <a:gd name="connsiteY35" fmla="*/ 536142 h 929543"/>
                <a:gd name="connsiteX36" fmla="*/ 147879 w 4961465"/>
                <a:gd name="connsiteY36" fmla="*/ 503822 h 929543"/>
                <a:gd name="connsiteX37" fmla="*/ 173060 w 4961465"/>
                <a:gd name="connsiteY37" fmla="*/ 473402 h 929543"/>
                <a:gd name="connsiteX38" fmla="*/ 201092 w 4961465"/>
                <a:gd name="connsiteY38" fmla="*/ 445835 h 929543"/>
                <a:gd name="connsiteX39" fmla="*/ 231024 w 4961465"/>
                <a:gd name="connsiteY39" fmla="*/ 421119 h 929543"/>
                <a:gd name="connsiteX40" fmla="*/ 262856 w 4961465"/>
                <a:gd name="connsiteY40" fmla="*/ 398780 h 929543"/>
                <a:gd name="connsiteX41" fmla="*/ 297540 w 4961465"/>
                <a:gd name="connsiteY41" fmla="*/ 380718 h 929543"/>
                <a:gd name="connsiteX42" fmla="*/ 334598 w 4961465"/>
                <a:gd name="connsiteY42" fmla="*/ 365033 h 929543"/>
                <a:gd name="connsiteX43" fmla="*/ 372607 w 4961465"/>
                <a:gd name="connsiteY43" fmla="*/ 353151 h 929543"/>
                <a:gd name="connsiteX44" fmla="*/ 412042 w 4961465"/>
                <a:gd name="connsiteY44" fmla="*/ 344595 h 929543"/>
                <a:gd name="connsiteX45" fmla="*/ 453376 w 4961465"/>
                <a:gd name="connsiteY45" fmla="*/ 341268 h 929543"/>
                <a:gd name="connsiteX46" fmla="*/ 474281 w 4961465"/>
                <a:gd name="connsiteY46" fmla="*/ 340317 h 929543"/>
                <a:gd name="connsiteX47" fmla="*/ 506114 w 4961465"/>
                <a:gd name="connsiteY47" fmla="*/ 341743 h 929543"/>
                <a:gd name="connsiteX48" fmla="*/ 569304 w 4961465"/>
                <a:gd name="connsiteY48" fmla="*/ 351725 h 929543"/>
                <a:gd name="connsiteX49" fmla="*/ 628217 w 4961465"/>
                <a:gd name="connsiteY49" fmla="*/ 370737 h 929543"/>
                <a:gd name="connsiteX50" fmla="*/ 682855 w 4961465"/>
                <a:gd name="connsiteY50" fmla="*/ 397829 h 929543"/>
                <a:gd name="connsiteX51" fmla="*/ 708511 w 4961465"/>
                <a:gd name="connsiteY51" fmla="*/ 414940 h 929543"/>
                <a:gd name="connsiteX52" fmla="*/ 723715 w 4961465"/>
                <a:gd name="connsiteY52" fmla="*/ 402107 h 929543"/>
                <a:gd name="connsiteX53" fmla="*/ 756498 w 4961465"/>
                <a:gd name="connsiteY53" fmla="*/ 378817 h 929543"/>
                <a:gd name="connsiteX54" fmla="*/ 791656 w 4961465"/>
                <a:gd name="connsiteY54" fmla="*/ 358379 h 929543"/>
                <a:gd name="connsiteX55" fmla="*/ 828240 w 4961465"/>
                <a:gd name="connsiteY55" fmla="*/ 341268 h 929543"/>
                <a:gd name="connsiteX56" fmla="*/ 866724 w 4961465"/>
                <a:gd name="connsiteY56" fmla="*/ 327009 h 929543"/>
                <a:gd name="connsiteX57" fmla="*/ 906633 w 4961465"/>
                <a:gd name="connsiteY57" fmla="*/ 315602 h 929543"/>
                <a:gd name="connsiteX58" fmla="*/ 947018 w 4961465"/>
                <a:gd name="connsiteY58" fmla="*/ 308472 h 929543"/>
                <a:gd name="connsiteX59" fmla="*/ 989778 w 4961465"/>
                <a:gd name="connsiteY59" fmla="*/ 304670 h 929543"/>
                <a:gd name="connsiteX60" fmla="*/ 1011158 w 4961465"/>
                <a:gd name="connsiteY60" fmla="*/ 304194 h 929543"/>
                <a:gd name="connsiteX61" fmla="*/ 1034913 w 4961465"/>
                <a:gd name="connsiteY61" fmla="*/ 304670 h 929543"/>
                <a:gd name="connsiteX62" fmla="*/ 1079574 w 4961465"/>
                <a:gd name="connsiteY62" fmla="*/ 308947 h 929543"/>
                <a:gd name="connsiteX63" fmla="*/ 1123284 w 4961465"/>
                <a:gd name="connsiteY63" fmla="*/ 317503 h 929543"/>
                <a:gd name="connsiteX64" fmla="*/ 1166044 w 4961465"/>
                <a:gd name="connsiteY64" fmla="*/ 329861 h 929543"/>
                <a:gd name="connsiteX65" fmla="*/ 1206429 w 4961465"/>
                <a:gd name="connsiteY65" fmla="*/ 346021 h 929543"/>
                <a:gd name="connsiteX66" fmla="*/ 1245388 w 4961465"/>
                <a:gd name="connsiteY66" fmla="*/ 365508 h 929543"/>
                <a:gd name="connsiteX67" fmla="*/ 1281497 w 4961465"/>
                <a:gd name="connsiteY67" fmla="*/ 389274 h 929543"/>
                <a:gd name="connsiteX68" fmla="*/ 1315705 w 4961465"/>
                <a:gd name="connsiteY68" fmla="*/ 414940 h 929543"/>
                <a:gd name="connsiteX69" fmla="*/ 1347062 w 4961465"/>
                <a:gd name="connsiteY69" fmla="*/ 444409 h 929543"/>
                <a:gd name="connsiteX70" fmla="*/ 1376044 w 4961465"/>
                <a:gd name="connsiteY70" fmla="*/ 476729 h 929543"/>
                <a:gd name="connsiteX71" fmla="*/ 1401700 w 4961465"/>
                <a:gd name="connsiteY71" fmla="*/ 510951 h 929543"/>
                <a:gd name="connsiteX72" fmla="*/ 1424505 w 4961465"/>
                <a:gd name="connsiteY72" fmla="*/ 547550 h 929543"/>
                <a:gd name="connsiteX73" fmla="*/ 1443510 w 4961465"/>
                <a:gd name="connsiteY73" fmla="*/ 586049 h 929543"/>
                <a:gd name="connsiteX74" fmla="*/ 1459664 w 4961465"/>
                <a:gd name="connsiteY74" fmla="*/ 627400 h 929543"/>
                <a:gd name="connsiteX75" fmla="*/ 1471066 w 4961465"/>
                <a:gd name="connsiteY75" fmla="*/ 670178 h 929543"/>
                <a:gd name="connsiteX76" fmla="*/ 1479143 w 4961465"/>
                <a:gd name="connsiteY76" fmla="*/ 713906 h 929543"/>
                <a:gd name="connsiteX77" fmla="*/ 1481519 w 4961465"/>
                <a:gd name="connsiteY77" fmla="*/ 736720 h 929543"/>
                <a:gd name="connsiteX78" fmla="*/ 1497673 w 4961465"/>
                <a:gd name="connsiteY78" fmla="*/ 714856 h 929543"/>
                <a:gd name="connsiteX79" fmla="*/ 1534731 w 4961465"/>
                <a:gd name="connsiteY79" fmla="*/ 674455 h 929543"/>
                <a:gd name="connsiteX80" fmla="*/ 1576541 w 4961465"/>
                <a:gd name="connsiteY80" fmla="*/ 638808 h 929543"/>
                <a:gd name="connsiteX81" fmla="*/ 1621677 w 4961465"/>
                <a:gd name="connsiteY81" fmla="*/ 607913 h 929543"/>
                <a:gd name="connsiteX82" fmla="*/ 1670138 w 4961465"/>
                <a:gd name="connsiteY82" fmla="*/ 582722 h 929543"/>
                <a:gd name="connsiteX83" fmla="*/ 1722401 w 4961465"/>
                <a:gd name="connsiteY83" fmla="*/ 562759 h 929543"/>
                <a:gd name="connsiteX84" fmla="*/ 1777513 w 4961465"/>
                <a:gd name="connsiteY84" fmla="*/ 549451 h 929543"/>
                <a:gd name="connsiteX85" fmla="*/ 1834052 w 4961465"/>
                <a:gd name="connsiteY85" fmla="*/ 542321 h 929543"/>
                <a:gd name="connsiteX86" fmla="*/ 1863509 w 4961465"/>
                <a:gd name="connsiteY86" fmla="*/ 541846 h 929543"/>
                <a:gd name="connsiteX87" fmla="*/ 1888215 w 4961465"/>
                <a:gd name="connsiteY87" fmla="*/ 541846 h 929543"/>
                <a:gd name="connsiteX88" fmla="*/ 1937626 w 4961465"/>
                <a:gd name="connsiteY88" fmla="*/ 547550 h 929543"/>
                <a:gd name="connsiteX89" fmla="*/ 1984662 w 4961465"/>
                <a:gd name="connsiteY89" fmla="*/ 557531 h 929543"/>
                <a:gd name="connsiteX90" fmla="*/ 2030273 w 4961465"/>
                <a:gd name="connsiteY90" fmla="*/ 572265 h 929543"/>
                <a:gd name="connsiteX91" fmla="*/ 2073508 w 4961465"/>
                <a:gd name="connsiteY91" fmla="*/ 590327 h 929543"/>
                <a:gd name="connsiteX92" fmla="*/ 2114368 w 4961465"/>
                <a:gd name="connsiteY92" fmla="*/ 614092 h 929543"/>
                <a:gd name="connsiteX93" fmla="*/ 2152377 w 4961465"/>
                <a:gd name="connsiteY93" fmla="*/ 640234 h 929543"/>
                <a:gd name="connsiteX94" fmla="*/ 2188010 w 4961465"/>
                <a:gd name="connsiteY94" fmla="*/ 671128 h 929543"/>
                <a:gd name="connsiteX95" fmla="*/ 2204639 w 4961465"/>
                <a:gd name="connsiteY95" fmla="*/ 687764 h 929543"/>
                <a:gd name="connsiteX96" fmla="*/ 2216992 w 4961465"/>
                <a:gd name="connsiteY96" fmla="*/ 672554 h 929543"/>
                <a:gd name="connsiteX97" fmla="*/ 2243599 w 4961465"/>
                <a:gd name="connsiteY97" fmla="*/ 643561 h 929543"/>
                <a:gd name="connsiteX98" fmla="*/ 2272580 w 4961465"/>
                <a:gd name="connsiteY98" fmla="*/ 616468 h 929543"/>
                <a:gd name="connsiteX99" fmla="*/ 2303938 w 4961465"/>
                <a:gd name="connsiteY99" fmla="*/ 592228 h 929543"/>
                <a:gd name="connsiteX100" fmla="*/ 2336721 w 4961465"/>
                <a:gd name="connsiteY100" fmla="*/ 570839 h 929543"/>
                <a:gd name="connsiteX101" fmla="*/ 2371403 w 4961465"/>
                <a:gd name="connsiteY101" fmla="*/ 551827 h 929543"/>
                <a:gd name="connsiteX102" fmla="*/ 2408462 w 4961465"/>
                <a:gd name="connsiteY102" fmla="*/ 536142 h 929543"/>
                <a:gd name="connsiteX103" fmla="*/ 2446947 w 4961465"/>
                <a:gd name="connsiteY103" fmla="*/ 523309 h 929543"/>
                <a:gd name="connsiteX104" fmla="*/ 2466426 w 4961465"/>
                <a:gd name="connsiteY104" fmla="*/ 518556 h 929543"/>
                <a:gd name="connsiteX105" fmla="*/ 2464525 w 4961465"/>
                <a:gd name="connsiteY105" fmla="*/ 495266 h 929543"/>
                <a:gd name="connsiteX106" fmla="*/ 2464051 w 4961465"/>
                <a:gd name="connsiteY106" fmla="*/ 472452 h 929543"/>
                <a:gd name="connsiteX107" fmla="*/ 2464525 w 4961465"/>
                <a:gd name="connsiteY107" fmla="*/ 447736 h 929543"/>
                <a:gd name="connsiteX108" fmla="*/ 2469277 w 4961465"/>
                <a:gd name="connsiteY108" fmla="*/ 400206 h 929543"/>
                <a:gd name="connsiteX109" fmla="*/ 2478779 w 4961465"/>
                <a:gd name="connsiteY109" fmla="*/ 354101 h 929543"/>
                <a:gd name="connsiteX110" fmla="*/ 2492082 w 4961465"/>
                <a:gd name="connsiteY110" fmla="*/ 309423 h 929543"/>
                <a:gd name="connsiteX111" fmla="*/ 2510611 w 4961465"/>
                <a:gd name="connsiteY111" fmla="*/ 267121 h 929543"/>
                <a:gd name="connsiteX112" fmla="*/ 2532467 w 4961465"/>
                <a:gd name="connsiteY112" fmla="*/ 227195 h 929543"/>
                <a:gd name="connsiteX113" fmla="*/ 2557647 w 4961465"/>
                <a:gd name="connsiteY113" fmla="*/ 189646 h 929543"/>
                <a:gd name="connsiteX114" fmla="*/ 2586629 w 4961465"/>
                <a:gd name="connsiteY114" fmla="*/ 154474 h 929543"/>
                <a:gd name="connsiteX115" fmla="*/ 2618462 w 4961465"/>
                <a:gd name="connsiteY115" fmla="*/ 122153 h 929543"/>
                <a:gd name="connsiteX116" fmla="*/ 2653620 w 4961465"/>
                <a:gd name="connsiteY116" fmla="*/ 93635 h 929543"/>
                <a:gd name="connsiteX117" fmla="*/ 2691154 w 4961465"/>
                <a:gd name="connsiteY117" fmla="*/ 67969 h 929543"/>
                <a:gd name="connsiteX118" fmla="*/ 2731063 w 4961465"/>
                <a:gd name="connsiteY118" fmla="*/ 46105 h 929543"/>
                <a:gd name="connsiteX119" fmla="*/ 2773823 w 4961465"/>
                <a:gd name="connsiteY119" fmla="*/ 28043 h 929543"/>
                <a:gd name="connsiteX120" fmla="*/ 2818009 w 4961465"/>
                <a:gd name="connsiteY120" fmla="*/ 14735 h 929543"/>
                <a:gd name="connsiteX121" fmla="*/ 2864095 w 4961465"/>
                <a:gd name="connsiteY121" fmla="*/ 5229 h 929543"/>
                <a:gd name="connsiteX122" fmla="*/ 2911606 w 4961465"/>
                <a:gd name="connsiteY122" fmla="*/ 476 h 929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Lst>
              <a:rect l="l" t="t" r="r" b="b"/>
              <a:pathLst>
                <a:path w="4961465" h="929543">
                  <a:moveTo>
                    <a:pt x="2936312" y="0"/>
                  </a:moveTo>
                  <a:lnTo>
                    <a:pt x="2970995" y="951"/>
                  </a:lnTo>
                  <a:lnTo>
                    <a:pt x="3038461" y="10932"/>
                  </a:lnTo>
                  <a:lnTo>
                    <a:pt x="3103076" y="29944"/>
                  </a:lnTo>
                  <a:lnTo>
                    <a:pt x="3162940" y="57512"/>
                  </a:lnTo>
                  <a:lnTo>
                    <a:pt x="3218528" y="93635"/>
                  </a:lnTo>
                  <a:lnTo>
                    <a:pt x="3267465" y="135937"/>
                  </a:lnTo>
                  <a:lnTo>
                    <a:pt x="3311175" y="185368"/>
                  </a:lnTo>
                  <a:lnTo>
                    <a:pt x="3346809" y="239553"/>
                  </a:lnTo>
                  <a:lnTo>
                    <a:pt x="3362487" y="269022"/>
                  </a:lnTo>
                  <a:lnTo>
                    <a:pt x="3392419" y="254763"/>
                  </a:lnTo>
                  <a:lnTo>
                    <a:pt x="3450571" y="233647"/>
                  </a:lnTo>
                  <a:lnTo>
                    <a:pt x="3462368" y="227244"/>
                  </a:lnTo>
                  <a:cubicBezTo>
                    <a:pt x="3532399" y="197624"/>
                    <a:pt x="3609394" y="181244"/>
                    <a:pt x="3690215" y="181244"/>
                  </a:cubicBezTo>
                  <a:cubicBezTo>
                    <a:pt x="3973088" y="181244"/>
                    <a:pt x="4209096" y="381893"/>
                    <a:pt x="4263678" y="648630"/>
                  </a:cubicBezTo>
                  <a:lnTo>
                    <a:pt x="4264519" y="656979"/>
                  </a:lnTo>
                  <a:lnTo>
                    <a:pt x="4332360" y="635920"/>
                  </a:lnTo>
                  <a:cubicBezTo>
                    <a:pt x="4370466" y="628122"/>
                    <a:pt x="4409920" y="624027"/>
                    <a:pt x="4450330" y="624027"/>
                  </a:cubicBezTo>
                  <a:cubicBezTo>
                    <a:pt x="4652382" y="624027"/>
                    <a:pt x="4830523" y="726399"/>
                    <a:pt x="4935716" y="882105"/>
                  </a:cubicBezTo>
                  <a:lnTo>
                    <a:pt x="4961465" y="929543"/>
                  </a:lnTo>
                  <a:lnTo>
                    <a:pt x="3944639" y="929543"/>
                  </a:lnTo>
                  <a:lnTo>
                    <a:pt x="3130713" y="929543"/>
                  </a:lnTo>
                  <a:lnTo>
                    <a:pt x="0" y="929543"/>
                  </a:lnTo>
                  <a:lnTo>
                    <a:pt x="120" y="929218"/>
                  </a:lnTo>
                  <a:lnTo>
                    <a:pt x="17224" y="893095"/>
                  </a:lnTo>
                  <a:lnTo>
                    <a:pt x="37178" y="858398"/>
                  </a:lnTo>
                  <a:lnTo>
                    <a:pt x="59984" y="825127"/>
                  </a:lnTo>
                  <a:lnTo>
                    <a:pt x="72337" y="809917"/>
                  </a:lnTo>
                  <a:lnTo>
                    <a:pt x="68536" y="779022"/>
                  </a:lnTo>
                  <a:lnTo>
                    <a:pt x="68061" y="747177"/>
                  </a:lnTo>
                  <a:lnTo>
                    <a:pt x="68061" y="726264"/>
                  </a:lnTo>
                  <a:lnTo>
                    <a:pt x="72337" y="685387"/>
                  </a:lnTo>
                  <a:lnTo>
                    <a:pt x="79939" y="645462"/>
                  </a:lnTo>
                  <a:lnTo>
                    <a:pt x="91816" y="606962"/>
                  </a:lnTo>
                  <a:lnTo>
                    <a:pt x="107495" y="570839"/>
                  </a:lnTo>
                  <a:lnTo>
                    <a:pt x="126499" y="536142"/>
                  </a:lnTo>
                  <a:lnTo>
                    <a:pt x="147879" y="503822"/>
                  </a:lnTo>
                  <a:lnTo>
                    <a:pt x="173060" y="473402"/>
                  </a:lnTo>
                  <a:lnTo>
                    <a:pt x="201092" y="445835"/>
                  </a:lnTo>
                  <a:lnTo>
                    <a:pt x="231024" y="421119"/>
                  </a:lnTo>
                  <a:lnTo>
                    <a:pt x="262856" y="398780"/>
                  </a:lnTo>
                  <a:lnTo>
                    <a:pt x="297540" y="380718"/>
                  </a:lnTo>
                  <a:lnTo>
                    <a:pt x="334598" y="365033"/>
                  </a:lnTo>
                  <a:lnTo>
                    <a:pt x="372607" y="353151"/>
                  </a:lnTo>
                  <a:lnTo>
                    <a:pt x="412042" y="344595"/>
                  </a:lnTo>
                  <a:lnTo>
                    <a:pt x="453376" y="341268"/>
                  </a:lnTo>
                  <a:lnTo>
                    <a:pt x="474281" y="340317"/>
                  </a:lnTo>
                  <a:lnTo>
                    <a:pt x="506114" y="341743"/>
                  </a:lnTo>
                  <a:lnTo>
                    <a:pt x="569304" y="351725"/>
                  </a:lnTo>
                  <a:lnTo>
                    <a:pt x="628217" y="370737"/>
                  </a:lnTo>
                  <a:lnTo>
                    <a:pt x="682855" y="397829"/>
                  </a:lnTo>
                  <a:lnTo>
                    <a:pt x="708511" y="414940"/>
                  </a:lnTo>
                  <a:lnTo>
                    <a:pt x="723715" y="402107"/>
                  </a:lnTo>
                  <a:lnTo>
                    <a:pt x="756498" y="378817"/>
                  </a:lnTo>
                  <a:lnTo>
                    <a:pt x="791656" y="358379"/>
                  </a:lnTo>
                  <a:lnTo>
                    <a:pt x="828240" y="341268"/>
                  </a:lnTo>
                  <a:lnTo>
                    <a:pt x="866724" y="327009"/>
                  </a:lnTo>
                  <a:lnTo>
                    <a:pt x="906633" y="315602"/>
                  </a:lnTo>
                  <a:lnTo>
                    <a:pt x="947018" y="308472"/>
                  </a:lnTo>
                  <a:lnTo>
                    <a:pt x="989778" y="304670"/>
                  </a:lnTo>
                  <a:lnTo>
                    <a:pt x="1011158" y="304194"/>
                  </a:lnTo>
                  <a:lnTo>
                    <a:pt x="1034913" y="304670"/>
                  </a:lnTo>
                  <a:lnTo>
                    <a:pt x="1079574" y="308947"/>
                  </a:lnTo>
                  <a:lnTo>
                    <a:pt x="1123284" y="317503"/>
                  </a:lnTo>
                  <a:lnTo>
                    <a:pt x="1166044" y="329861"/>
                  </a:lnTo>
                  <a:lnTo>
                    <a:pt x="1206429" y="346021"/>
                  </a:lnTo>
                  <a:lnTo>
                    <a:pt x="1245388" y="365508"/>
                  </a:lnTo>
                  <a:lnTo>
                    <a:pt x="1281497" y="389274"/>
                  </a:lnTo>
                  <a:lnTo>
                    <a:pt x="1315705" y="414940"/>
                  </a:lnTo>
                  <a:lnTo>
                    <a:pt x="1347062" y="444409"/>
                  </a:lnTo>
                  <a:lnTo>
                    <a:pt x="1376044" y="476729"/>
                  </a:lnTo>
                  <a:lnTo>
                    <a:pt x="1401700" y="510951"/>
                  </a:lnTo>
                  <a:lnTo>
                    <a:pt x="1424505" y="547550"/>
                  </a:lnTo>
                  <a:lnTo>
                    <a:pt x="1443510" y="586049"/>
                  </a:lnTo>
                  <a:lnTo>
                    <a:pt x="1459664" y="627400"/>
                  </a:lnTo>
                  <a:lnTo>
                    <a:pt x="1471066" y="670178"/>
                  </a:lnTo>
                  <a:lnTo>
                    <a:pt x="1479143" y="713906"/>
                  </a:lnTo>
                  <a:lnTo>
                    <a:pt x="1481519" y="736720"/>
                  </a:lnTo>
                  <a:lnTo>
                    <a:pt x="1497673" y="714856"/>
                  </a:lnTo>
                  <a:lnTo>
                    <a:pt x="1534731" y="674455"/>
                  </a:lnTo>
                  <a:lnTo>
                    <a:pt x="1576541" y="638808"/>
                  </a:lnTo>
                  <a:lnTo>
                    <a:pt x="1621677" y="607913"/>
                  </a:lnTo>
                  <a:lnTo>
                    <a:pt x="1670138" y="582722"/>
                  </a:lnTo>
                  <a:lnTo>
                    <a:pt x="1722401" y="562759"/>
                  </a:lnTo>
                  <a:lnTo>
                    <a:pt x="1777513" y="549451"/>
                  </a:lnTo>
                  <a:lnTo>
                    <a:pt x="1834052" y="542321"/>
                  </a:lnTo>
                  <a:lnTo>
                    <a:pt x="1863509" y="541846"/>
                  </a:lnTo>
                  <a:lnTo>
                    <a:pt x="1888215" y="541846"/>
                  </a:lnTo>
                  <a:lnTo>
                    <a:pt x="1937626" y="547550"/>
                  </a:lnTo>
                  <a:lnTo>
                    <a:pt x="1984662" y="557531"/>
                  </a:lnTo>
                  <a:lnTo>
                    <a:pt x="2030273" y="572265"/>
                  </a:lnTo>
                  <a:lnTo>
                    <a:pt x="2073508" y="590327"/>
                  </a:lnTo>
                  <a:lnTo>
                    <a:pt x="2114368" y="614092"/>
                  </a:lnTo>
                  <a:lnTo>
                    <a:pt x="2152377" y="640234"/>
                  </a:lnTo>
                  <a:lnTo>
                    <a:pt x="2188010" y="671128"/>
                  </a:lnTo>
                  <a:lnTo>
                    <a:pt x="2204639" y="687764"/>
                  </a:lnTo>
                  <a:lnTo>
                    <a:pt x="2216992" y="672554"/>
                  </a:lnTo>
                  <a:lnTo>
                    <a:pt x="2243599" y="643561"/>
                  </a:lnTo>
                  <a:lnTo>
                    <a:pt x="2272580" y="616468"/>
                  </a:lnTo>
                  <a:lnTo>
                    <a:pt x="2303938" y="592228"/>
                  </a:lnTo>
                  <a:lnTo>
                    <a:pt x="2336721" y="570839"/>
                  </a:lnTo>
                  <a:lnTo>
                    <a:pt x="2371403" y="551827"/>
                  </a:lnTo>
                  <a:lnTo>
                    <a:pt x="2408462" y="536142"/>
                  </a:lnTo>
                  <a:lnTo>
                    <a:pt x="2446947" y="523309"/>
                  </a:lnTo>
                  <a:lnTo>
                    <a:pt x="2466426" y="518556"/>
                  </a:lnTo>
                  <a:lnTo>
                    <a:pt x="2464525" y="495266"/>
                  </a:lnTo>
                  <a:lnTo>
                    <a:pt x="2464051" y="472452"/>
                  </a:lnTo>
                  <a:lnTo>
                    <a:pt x="2464525" y="447736"/>
                  </a:lnTo>
                  <a:lnTo>
                    <a:pt x="2469277" y="400206"/>
                  </a:lnTo>
                  <a:lnTo>
                    <a:pt x="2478779" y="354101"/>
                  </a:lnTo>
                  <a:lnTo>
                    <a:pt x="2492082" y="309423"/>
                  </a:lnTo>
                  <a:lnTo>
                    <a:pt x="2510611" y="267121"/>
                  </a:lnTo>
                  <a:lnTo>
                    <a:pt x="2532467" y="227195"/>
                  </a:lnTo>
                  <a:lnTo>
                    <a:pt x="2557647" y="189646"/>
                  </a:lnTo>
                  <a:lnTo>
                    <a:pt x="2586629" y="154474"/>
                  </a:lnTo>
                  <a:lnTo>
                    <a:pt x="2618462" y="122153"/>
                  </a:lnTo>
                  <a:lnTo>
                    <a:pt x="2653620" y="93635"/>
                  </a:lnTo>
                  <a:lnTo>
                    <a:pt x="2691154" y="67969"/>
                  </a:lnTo>
                  <a:lnTo>
                    <a:pt x="2731063" y="46105"/>
                  </a:lnTo>
                  <a:lnTo>
                    <a:pt x="2773823" y="28043"/>
                  </a:lnTo>
                  <a:lnTo>
                    <a:pt x="2818009" y="14735"/>
                  </a:lnTo>
                  <a:lnTo>
                    <a:pt x="2864095" y="5229"/>
                  </a:lnTo>
                  <a:lnTo>
                    <a:pt x="2911606" y="476"/>
                  </a:lnTo>
                  <a:close/>
                </a:path>
              </a:pathLst>
            </a:custGeom>
            <a:solidFill>
              <a:srgbClr val="CBCBC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solidFill>
                  <a:prstClr val="black"/>
                </a:solidFill>
              </a:endParaRPr>
            </a:p>
          </p:txBody>
        </p:sp>
      </p:grpSp>
      <p:grpSp>
        <p:nvGrpSpPr>
          <p:cNvPr id="13" name="Group 12">
            <a:extLst>
              <a:ext uri="{FF2B5EF4-FFF2-40B4-BE49-F238E27FC236}">
                <a16:creationId xmlns:a16="http://schemas.microsoft.com/office/drawing/2014/main" id="{79EFBF96-90F0-B3D5-63A9-ED1715B8F2C4}"/>
              </a:ext>
            </a:extLst>
          </p:cNvPr>
          <p:cNvGrpSpPr/>
          <p:nvPr/>
        </p:nvGrpSpPr>
        <p:grpSpPr>
          <a:xfrm rot="4192063">
            <a:off x="9108235" y="128650"/>
            <a:ext cx="881244" cy="1965624"/>
            <a:chOff x="5655378" y="854046"/>
            <a:chExt cx="881244" cy="1965624"/>
          </a:xfrm>
        </p:grpSpPr>
        <p:sp>
          <p:nvSpPr>
            <p:cNvPr id="14" name="Freeform 49">
              <a:extLst>
                <a:ext uri="{FF2B5EF4-FFF2-40B4-BE49-F238E27FC236}">
                  <a16:creationId xmlns:a16="http://schemas.microsoft.com/office/drawing/2014/main" id="{6BD52CB1-B285-9538-A1BC-898DDE6C2B53}"/>
                </a:ext>
              </a:extLst>
            </p:cNvPr>
            <p:cNvSpPr>
              <a:spLocks/>
            </p:cNvSpPr>
            <p:nvPr/>
          </p:nvSpPr>
          <p:spPr bwMode="auto">
            <a:xfrm>
              <a:off x="5902676" y="2235773"/>
              <a:ext cx="385667" cy="583897"/>
            </a:xfrm>
            <a:custGeom>
              <a:avLst/>
              <a:gdLst>
                <a:gd name="T0" fmla="*/ 787 w 1575"/>
                <a:gd name="T1" fmla="*/ 0 h 2380"/>
                <a:gd name="T2" fmla="*/ 256 w 1575"/>
                <a:gd name="T3" fmla="*/ 10 h 2380"/>
                <a:gd name="T4" fmla="*/ 115 w 1575"/>
                <a:gd name="T5" fmla="*/ 204 h 2380"/>
                <a:gd name="T6" fmla="*/ 44 w 1575"/>
                <a:gd name="T7" fmla="*/ 384 h 2380"/>
                <a:gd name="T8" fmla="*/ 8 w 1575"/>
                <a:gd name="T9" fmla="*/ 572 h 2380"/>
                <a:gd name="T10" fmla="*/ 1 w 1575"/>
                <a:gd name="T11" fmla="*/ 798 h 2380"/>
                <a:gd name="T12" fmla="*/ 37 w 1575"/>
                <a:gd name="T13" fmla="*/ 1068 h 2380"/>
                <a:gd name="T14" fmla="*/ 59 w 1575"/>
                <a:gd name="T15" fmla="*/ 1132 h 2380"/>
                <a:gd name="T16" fmla="*/ 159 w 1575"/>
                <a:gd name="T17" fmla="*/ 953 h 2380"/>
                <a:gd name="T18" fmla="*/ 246 w 1575"/>
                <a:gd name="T19" fmla="*/ 879 h 2380"/>
                <a:gd name="T20" fmla="*/ 306 w 1575"/>
                <a:gd name="T21" fmla="*/ 866 h 2380"/>
                <a:gd name="T22" fmla="*/ 354 w 1575"/>
                <a:gd name="T23" fmla="*/ 879 h 2380"/>
                <a:gd name="T24" fmla="*/ 363 w 1575"/>
                <a:gd name="T25" fmla="*/ 1138 h 2380"/>
                <a:gd name="T26" fmla="*/ 421 w 1575"/>
                <a:gd name="T27" fmla="*/ 1589 h 2380"/>
                <a:gd name="T28" fmla="*/ 505 w 1575"/>
                <a:gd name="T29" fmla="*/ 1901 h 2380"/>
                <a:gd name="T30" fmla="*/ 606 w 1575"/>
                <a:gd name="T31" fmla="*/ 2137 h 2380"/>
                <a:gd name="T32" fmla="*/ 745 w 1575"/>
                <a:gd name="T33" fmla="*/ 2338 h 2380"/>
                <a:gd name="T34" fmla="*/ 829 w 1575"/>
                <a:gd name="T35" fmla="*/ 2338 h 2380"/>
                <a:gd name="T36" fmla="*/ 968 w 1575"/>
                <a:gd name="T37" fmla="*/ 2137 h 2380"/>
                <a:gd name="T38" fmla="*/ 1069 w 1575"/>
                <a:gd name="T39" fmla="*/ 1901 h 2380"/>
                <a:gd name="T40" fmla="*/ 1153 w 1575"/>
                <a:gd name="T41" fmla="*/ 1589 h 2380"/>
                <a:gd name="T42" fmla="*/ 1212 w 1575"/>
                <a:gd name="T43" fmla="*/ 1138 h 2380"/>
                <a:gd name="T44" fmla="*/ 1220 w 1575"/>
                <a:gd name="T45" fmla="*/ 879 h 2380"/>
                <a:gd name="T46" fmla="*/ 1269 w 1575"/>
                <a:gd name="T47" fmla="*/ 866 h 2380"/>
                <a:gd name="T48" fmla="*/ 1327 w 1575"/>
                <a:gd name="T49" fmla="*/ 879 h 2380"/>
                <a:gd name="T50" fmla="*/ 1415 w 1575"/>
                <a:gd name="T51" fmla="*/ 953 h 2380"/>
                <a:gd name="T52" fmla="*/ 1514 w 1575"/>
                <a:gd name="T53" fmla="*/ 1132 h 2380"/>
                <a:gd name="T54" fmla="*/ 1536 w 1575"/>
                <a:gd name="T55" fmla="*/ 1068 h 2380"/>
                <a:gd name="T56" fmla="*/ 1573 w 1575"/>
                <a:gd name="T57" fmla="*/ 798 h 2380"/>
                <a:gd name="T58" fmla="*/ 1567 w 1575"/>
                <a:gd name="T59" fmla="*/ 572 h 2380"/>
                <a:gd name="T60" fmla="*/ 1529 w 1575"/>
                <a:gd name="T61" fmla="*/ 384 h 2380"/>
                <a:gd name="T62" fmla="*/ 1458 w 1575"/>
                <a:gd name="T63" fmla="*/ 204 h 2380"/>
                <a:gd name="T64" fmla="*/ 1318 w 1575"/>
                <a:gd name="T65" fmla="*/ 10 h 2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75" h="2380">
                  <a:moveTo>
                    <a:pt x="1305" y="0"/>
                  </a:moveTo>
                  <a:lnTo>
                    <a:pt x="787" y="0"/>
                  </a:lnTo>
                  <a:lnTo>
                    <a:pt x="269" y="0"/>
                  </a:lnTo>
                  <a:lnTo>
                    <a:pt x="256" y="10"/>
                  </a:lnTo>
                  <a:lnTo>
                    <a:pt x="179" y="101"/>
                  </a:lnTo>
                  <a:lnTo>
                    <a:pt x="115" y="204"/>
                  </a:lnTo>
                  <a:lnTo>
                    <a:pt x="71" y="306"/>
                  </a:lnTo>
                  <a:lnTo>
                    <a:pt x="44" y="384"/>
                  </a:lnTo>
                  <a:lnTo>
                    <a:pt x="23" y="473"/>
                  </a:lnTo>
                  <a:lnTo>
                    <a:pt x="8" y="572"/>
                  </a:lnTo>
                  <a:lnTo>
                    <a:pt x="0" y="681"/>
                  </a:lnTo>
                  <a:lnTo>
                    <a:pt x="1" y="798"/>
                  </a:lnTo>
                  <a:lnTo>
                    <a:pt x="13" y="928"/>
                  </a:lnTo>
                  <a:lnTo>
                    <a:pt x="37" y="1068"/>
                  </a:lnTo>
                  <a:lnTo>
                    <a:pt x="56" y="1143"/>
                  </a:lnTo>
                  <a:lnTo>
                    <a:pt x="59" y="1132"/>
                  </a:lnTo>
                  <a:lnTo>
                    <a:pt x="102" y="1038"/>
                  </a:lnTo>
                  <a:lnTo>
                    <a:pt x="159" y="953"/>
                  </a:lnTo>
                  <a:lnTo>
                    <a:pt x="206" y="903"/>
                  </a:lnTo>
                  <a:lnTo>
                    <a:pt x="246" y="879"/>
                  </a:lnTo>
                  <a:lnTo>
                    <a:pt x="276" y="868"/>
                  </a:lnTo>
                  <a:lnTo>
                    <a:pt x="306" y="866"/>
                  </a:lnTo>
                  <a:lnTo>
                    <a:pt x="338" y="872"/>
                  </a:lnTo>
                  <a:lnTo>
                    <a:pt x="354" y="879"/>
                  </a:lnTo>
                  <a:lnTo>
                    <a:pt x="354" y="913"/>
                  </a:lnTo>
                  <a:lnTo>
                    <a:pt x="363" y="1138"/>
                  </a:lnTo>
                  <a:lnTo>
                    <a:pt x="382" y="1348"/>
                  </a:lnTo>
                  <a:lnTo>
                    <a:pt x="421" y="1589"/>
                  </a:lnTo>
                  <a:lnTo>
                    <a:pt x="466" y="1777"/>
                  </a:lnTo>
                  <a:lnTo>
                    <a:pt x="505" y="1901"/>
                  </a:lnTo>
                  <a:lnTo>
                    <a:pt x="552" y="2023"/>
                  </a:lnTo>
                  <a:lnTo>
                    <a:pt x="606" y="2137"/>
                  </a:lnTo>
                  <a:lnTo>
                    <a:pt x="671" y="2244"/>
                  </a:lnTo>
                  <a:lnTo>
                    <a:pt x="745" y="2338"/>
                  </a:lnTo>
                  <a:lnTo>
                    <a:pt x="787" y="2380"/>
                  </a:lnTo>
                  <a:lnTo>
                    <a:pt x="829" y="2338"/>
                  </a:lnTo>
                  <a:lnTo>
                    <a:pt x="903" y="2244"/>
                  </a:lnTo>
                  <a:lnTo>
                    <a:pt x="968" y="2137"/>
                  </a:lnTo>
                  <a:lnTo>
                    <a:pt x="1023" y="2023"/>
                  </a:lnTo>
                  <a:lnTo>
                    <a:pt x="1069" y="1901"/>
                  </a:lnTo>
                  <a:lnTo>
                    <a:pt x="1108" y="1777"/>
                  </a:lnTo>
                  <a:lnTo>
                    <a:pt x="1153" y="1589"/>
                  </a:lnTo>
                  <a:lnTo>
                    <a:pt x="1191" y="1348"/>
                  </a:lnTo>
                  <a:lnTo>
                    <a:pt x="1212" y="1138"/>
                  </a:lnTo>
                  <a:lnTo>
                    <a:pt x="1221" y="913"/>
                  </a:lnTo>
                  <a:lnTo>
                    <a:pt x="1220" y="879"/>
                  </a:lnTo>
                  <a:lnTo>
                    <a:pt x="1236" y="872"/>
                  </a:lnTo>
                  <a:lnTo>
                    <a:pt x="1269" y="866"/>
                  </a:lnTo>
                  <a:lnTo>
                    <a:pt x="1299" y="868"/>
                  </a:lnTo>
                  <a:lnTo>
                    <a:pt x="1327" y="879"/>
                  </a:lnTo>
                  <a:lnTo>
                    <a:pt x="1369" y="903"/>
                  </a:lnTo>
                  <a:lnTo>
                    <a:pt x="1415" y="953"/>
                  </a:lnTo>
                  <a:lnTo>
                    <a:pt x="1472" y="1038"/>
                  </a:lnTo>
                  <a:lnTo>
                    <a:pt x="1514" y="1132"/>
                  </a:lnTo>
                  <a:lnTo>
                    <a:pt x="1518" y="1143"/>
                  </a:lnTo>
                  <a:lnTo>
                    <a:pt x="1536" y="1068"/>
                  </a:lnTo>
                  <a:lnTo>
                    <a:pt x="1560" y="928"/>
                  </a:lnTo>
                  <a:lnTo>
                    <a:pt x="1573" y="798"/>
                  </a:lnTo>
                  <a:lnTo>
                    <a:pt x="1575" y="681"/>
                  </a:lnTo>
                  <a:lnTo>
                    <a:pt x="1567" y="572"/>
                  </a:lnTo>
                  <a:lnTo>
                    <a:pt x="1551" y="473"/>
                  </a:lnTo>
                  <a:lnTo>
                    <a:pt x="1529" y="384"/>
                  </a:lnTo>
                  <a:lnTo>
                    <a:pt x="1503" y="306"/>
                  </a:lnTo>
                  <a:lnTo>
                    <a:pt x="1458" y="204"/>
                  </a:lnTo>
                  <a:lnTo>
                    <a:pt x="1396" y="101"/>
                  </a:lnTo>
                  <a:lnTo>
                    <a:pt x="1318" y="10"/>
                  </a:lnTo>
                  <a:lnTo>
                    <a:pt x="1305"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 name="Freeform 50">
              <a:extLst>
                <a:ext uri="{FF2B5EF4-FFF2-40B4-BE49-F238E27FC236}">
                  <a16:creationId xmlns:a16="http://schemas.microsoft.com/office/drawing/2014/main" id="{ADB341E2-3914-80AE-E9D2-A5F6FF0CDD87}"/>
                </a:ext>
              </a:extLst>
            </p:cNvPr>
            <p:cNvSpPr>
              <a:spLocks/>
            </p:cNvSpPr>
            <p:nvPr/>
          </p:nvSpPr>
          <p:spPr bwMode="auto">
            <a:xfrm>
              <a:off x="5921321" y="2235773"/>
              <a:ext cx="350339" cy="459267"/>
            </a:xfrm>
            <a:custGeom>
              <a:avLst/>
              <a:gdLst>
                <a:gd name="T0" fmla="*/ 711 w 1429"/>
                <a:gd name="T1" fmla="*/ 0 h 1873"/>
                <a:gd name="T2" fmla="*/ 289 w 1429"/>
                <a:gd name="T3" fmla="*/ 9 h 1873"/>
                <a:gd name="T4" fmla="*/ 143 w 1429"/>
                <a:gd name="T5" fmla="*/ 161 h 1873"/>
                <a:gd name="T6" fmla="*/ 64 w 1429"/>
                <a:gd name="T7" fmla="*/ 302 h 1873"/>
                <a:gd name="T8" fmla="*/ 17 w 1429"/>
                <a:gd name="T9" fmla="*/ 450 h 1873"/>
                <a:gd name="T10" fmla="*/ 0 w 1429"/>
                <a:gd name="T11" fmla="*/ 629 h 1873"/>
                <a:gd name="T12" fmla="*/ 22 w 1429"/>
                <a:gd name="T13" fmla="*/ 841 h 1873"/>
                <a:gd name="T14" fmla="*/ 43 w 1429"/>
                <a:gd name="T15" fmla="*/ 890 h 1873"/>
                <a:gd name="T16" fmla="*/ 177 w 1429"/>
                <a:gd name="T17" fmla="*/ 749 h 1873"/>
                <a:gd name="T18" fmla="*/ 288 w 1429"/>
                <a:gd name="T19" fmla="*/ 687 h 1873"/>
                <a:gd name="T20" fmla="*/ 357 w 1429"/>
                <a:gd name="T21" fmla="*/ 687 h 1873"/>
                <a:gd name="T22" fmla="*/ 370 w 1429"/>
                <a:gd name="T23" fmla="*/ 718 h 1873"/>
                <a:gd name="T24" fmla="*/ 393 w 1429"/>
                <a:gd name="T25" fmla="*/ 1062 h 1873"/>
                <a:gd name="T26" fmla="*/ 459 w 1429"/>
                <a:gd name="T27" fmla="*/ 1399 h 1873"/>
                <a:gd name="T28" fmla="*/ 525 w 1429"/>
                <a:gd name="T29" fmla="*/ 1592 h 1873"/>
                <a:gd name="T30" fmla="*/ 620 w 1429"/>
                <a:gd name="T31" fmla="*/ 1765 h 1873"/>
                <a:gd name="T32" fmla="*/ 711 w 1429"/>
                <a:gd name="T33" fmla="*/ 1873 h 1873"/>
                <a:gd name="T34" fmla="*/ 803 w 1429"/>
                <a:gd name="T35" fmla="*/ 1765 h 1873"/>
                <a:gd name="T36" fmla="*/ 896 w 1429"/>
                <a:gd name="T37" fmla="*/ 1592 h 1873"/>
                <a:gd name="T38" fmla="*/ 963 w 1429"/>
                <a:gd name="T39" fmla="*/ 1399 h 1873"/>
                <a:gd name="T40" fmla="*/ 1029 w 1429"/>
                <a:gd name="T41" fmla="*/ 1062 h 1873"/>
                <a:gd name="T42" fmla="*/ 1053 w 1429"/>
                <a:gd name="T43" fmla="*/ 718 h 1873"/>
                <a:gd name="T44" fmla="*/ 1064 w 1429"/>
                <a:gd name="T45" fmla="*/ 687 h 1873"/>
                <a:gd name="T46" fmla="*/ 1134 w 1429"/>
                <a:gd name="T47" fmla="*/ 687 h 1873"/>
                <a:gd name="T48" fmla="*/ 1249 w 1429"/>
                <a:gd name="T49" fmla="*/ 749 h 1873"/>
                <a:gd name="T50" fmla="*/ 1386 w 1429"/>
                <a:gd name="T51" fmla="*/ 890 h 1873"/>
                <a:gd name="T52" fmla="*/ 1407 w 1429"/>
                <a:gd name="T53" fmla="*/ 841 h 1873"/>
                <a:gd name="T54" fmla="*/ 1429 w 1429"/>
                <a:gd name="T55" fmla="*/ 629 h 1873"/>
                <a:gd name="T56" fmla="*/ 1411 w 1429"/>
                <a:gd name="T57" fmla="*/ 450 h 1873"/>
                <a:gd name="T58" fmla="*/ 1364 w 1429"/>
                <a:gd name="T59" fmla="*/ 302 h 1873"/>
                <a:gd name="T60" fmla="*/ 1282 w 1429"/>
                <a:gd name="T61" fmla="*/ 161 h 1873"/>
                <a:gd name="T62" fmla="*/ 1132 w 1429"/>
                <a:gd name="T63" fmla="*/ 9 h 1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29" h="1873">
                  <a:moveTo>
                    <a:pt x="1119" y="0"/>
                  </a:moveTo>
                  <a:lnTo>
                    <a:pt x="711" y="0"/>
                  </a:lnTo>
                  <a:lnTo>
                    <a:pt x="304" y="0"/>
                  </a:lnTo>
                  <a:lnTo>
                    <a:pt x="289" y="9"/>
                  </a:lnTo>
                  <a:lnTo>
                    <a:pt x="209" y="80"/>
                  </a:lnTo>
                  <a:lnTo>
                    <a:pt x="143" y="161"/>
                  </a:lnTo>
                  <a:lnTo>
                    <a:pt x="94" y="240"/>
                  </a:lnTo>
                  <a:lnTo>
                    <a:pt x="64" y="302"/>
                  </a:lnTo>
                  <a:lnTo>
                    <a:pt x="38" y="372"/>
                  </a:lnTo>
                  <a:lnTo>
                    <a:pt x="17" y="450"/>
                  </a:lnTo>
                  <a:lnTo>
                    <a:pt x="4" y="535"/>
                  </a:lnTo>
                  <a:lnTo>
                    <a:pt x="0" y="629"/>
                  </a:lnTo>
                  <a:lnTo>
                    <a:pt x="6" y="731"/>
                  </a:lnTo>
                  <a:lnTo>
                    <a:pt x="22" y="841"/>
                  </a:lnTo>
                  <a:lnTo>
                    <a:pt x="37" y="900"/>
                  </a:lnTo>
                  <a:lnTo>
                    <a:pt x="43" y="890"/>
                  </a:lnTo>
                  <a:lnTo>
                    <a:pt x="104" y="818"/>
                  </a:lnTo>
                  <a:lnTo>
                    <a:pt x="177" y="749"/>
                  </a:lnTo>
                  <a:lnTo>
                    <a:pt x="231" y="712"/>
                  </a:lnTo>
                  <a:lnTo>
                    <a:pt x="288" y="687"/>
                  </a:lnTo>
                  <a:lnTo>
                    <a:pt x="330" y="682"/>
                  </a:lnTo>
                  <a:lnTo>
                    <a:pt x="357" y="687"/>
                  </a:lnTo>
                  <a:lnTo>
                    <a:pt x="371" y="692"/>
                  </a:lnTo>
                  <a:lnTo>
                    <a:pt x="370" y="718"/>
                  </a:lnTo>
                  <a:lnTo>
                    <a:pt x="378" y="896"/>
                  </a:lnTo>
                  <a:lnTo>
                    <a:pt x="393" y="1062"/>
                  </a:lnTo>
                  <a:lnTo>
                    <a:pt x="423" y="1251"/>
                  </a:lnTo>
                  <a:lnTo>
                    <a:pt x="459" y="1399"/>
                  </a:lnTo>
                  <a:lnTo>
                    <a:pt x="489" y="1497"/>
                  </a:lnTo>
                  <a:lnTo>
                    <a:pt x="525" y="1592"/>
                  </a:lnTo>
                  <a:lnTo>
                    <a:pt x="569" y="1682"/>
                  </a:lnTo>
                  <a:lnTo>
                    <a:pt x="620" y="1765"/>
                  </a:lnTo>
                  <a:lnTo>
                    <a:pt x="678" y="1841"/>
                  </a:lnTo>
                  <a:lnTo>
                    <a:pt x="711" y="1873"/>
                  </a:lnTo>
                  <a:lnTo>
                    <a:pt x="744" y="1841"/>
                  </a:lnTo>
                  <a:lnTo>
                    <a:pt x="803" y="1765"/>
                  </a:lnTo>
                  <a:lnTo>
                    <a:pt x="853" y="1682"/>
                  </a:lnTo>
                  <a:lnTo>
                    <a:pt x="896" y="1592"/>
                  </a:lnTo>
                  <a:lnTo>
                    <a:pt x="932" y="1497"/>
                  </a:lnTo>
                  <a:lnTo>
                    <a:pt x="963" y="1399"/>
                  </a:lnTo>
                  <a:lnTo>
                    <a:pt x="998" y="1251"/>
                  </a:lnTo>
                  <a:lnTo>
                    <a:pt x="1029" y="1062"/>
                  </a:lnTo>
                  <a:lnTo>
                    <a:pt x="1045" y="896"/>
                  </a:lnTo>
                  <a:lnTo>
                    <a:pt x="1053" y="718"/>
                  </a:lnTo>
                  <a:lnTo>
                    <a:pt x="1051" y="692"/>
                  </a:lnTo>
                  <a:lnTo>
                    <a:pt x="1064" y="687"/>
                  </a:lnTo>
                  <a:lnTo>
                    <a:pt x="1093" y="682"/>
                  </a:lnTo>
                  <a:lnTo>
                    <a:pt x="1134" y="687"/>
                  </a:lnTo>
                  <a:lnTo>
                    <a:pt x="1193" y="712"/>
                  </a:lnTo>
                  <a:lnTo>
                    <a:pt x="1249" y="749"/>
                  </a:lnTo>
                  <a:lnTo>
                    <a:pt x="1324" y="818"/>
                  </a:lnTo>
                  <a:lnTo>
                    <a:pt x="1386" y="890"/>
                  </a:lnTo>
                  <a:lnTo>
                    <a:pt x="1392" y="900"/>
                  </a:lnTo>
                  <a:lnTo>
                    <a:pt x="1407" y="841"/>
                  </a:lnTo>
                  <a:lnTo>
                    <a:pt x="1423" y="731"/>
                  </a:lnTo>
                  <a:lnTo>
                    <a:pt x="1429" y="629"/>
                  </a:lnTo>
                  <a:lnTo>
                    <a:pt x="1423" y="535"/>
                  </a:lnTo>
                  <a:lnTo>
                    <a:pt x="1411" y="450"/>
                  </a:lnTo>
                  <a:lnTo>
                    <a:pt x="1390" y="372"/>
                  </a:lnTo>
                  <a:lnTo>
                    <a:pt x="1364" y="302"/>
                  </a:lnTo>
                  <a:lnTo>
                    <a:pt x="1333" y="240"/>
                  </a:lnTo>
                  <a:lnTo>
                    <a:pt x="1282" y="161"/>
                  </a:lnTo>
                  <a:lnTo>
                    <a:pt x="1215" y="80"/>
                  </a:lnTo>
                  <a:lnTo>
                    <a:pt x="1132" y="9"/>
                  </a:lnTo>
                  <a:lnTo>
                    <a:pt x="1119" y="0"/>
                  </a:lnTo>
                  <a:close/>
                </a:path>
              </a:pathLst>
            </a:custGeom>
            <a:solidFill>
              <a:srgbClr val="FDD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6" name="Freeform 51">
              <a:extLst>
                <a:ext uri="{FF2B5EF4-FFF2-40B4-BE49-F238E27FC236}">
                  <a16:creationId xmlns:a16="http://schemas.microsoft.com/office/drawing/2014/main" id="{F3869C99-89C1-4566-69A1-C853823805FA}"/>
                </a:ext>
              </a:extLst>
            </p:cNvPr>
            <p:cNvSpPr>
              <a:spLocks/>
            </p:cNvSpPr>
            <p:nvPr/>
          </p:nvSpPr>
          <p:spPr bwMode="auto">
            <a:xfrm>
              <a:off x="5985108" y="2235773"/>
              <a:ext cx="222764" cy="291458"/>
            </a:xfrm>
            <a:custGeom>
              <a:avLst/>
              <a:gdLst>
                <a:gd name="T0" fmla="*/ 710 w 907"/>
                <a:gd name="T1" fmla="*/ 0 h 1190"/>
                <a:gd name="T2" fmla="*/ 451 w 907"/>
                <a:gd name="T3" fmla="*/ 0 h 1190"/>
                <a:gd name="T4" fmla="*/ 192 w 907"/>
                <a:gd name="T5" fmla="*/ 0 h 1190"/>
                <a:gd name="T6" fmla="*/ 184 w 907"/>
                <a:gd name="T7" fmla="*/ 5 h 1190"/>
                <a:gd name="T8" fmla="*/ 132 w 907"/>
                <a:gd name="T9" fmla="*/ 51 h 1190"/>
                <a:gd name="T10" fmla="*/ 91 w 907"/>
                <a:gd name="T11" fmla="*/ 102 h 1190"/>
                <a:gd name="T12" fmla="*/ 49 w 907"/>
                <a:gd name="T13" fmla="*/ 171 h 1190"/>
                <a:gd name="T14" fmla="*/ 15 w 907"/>
                <a:gd name="T15" fmla="*/ 261 h 1190"/>
                <a:gd name="T16" fmla="*/ 2 w 907"/>
                <a:gd name="T17" fmla="*/ 340 h 1190"/>
                <a:gd name="T18" fmla="*/ 0 w 907"/>
                <a:gd name="T19" fmla="*/ 399 h 1190"/>
                <a:gd name="T20" fmla="*/ 2 w 907"/>
                <a:gd name="T21" fmla="*/ 464 h 1190"/>
                <a:gd name="T22" fmla="*/ 14 w 907"/>
                <a:gd name="T23" fmla="*/ 534 h 1190"/>
                <a:gd name="T24" fmla="*/ 23 w 907"/>
                <a:gd name="T25" fmla="*/ 572 h 1190"/>
                <a:gd name="T26" fmla="*/ 39 w 907"/>
                <a:gd name="T27" fmla="*/ 550 h 1190"/>
                <a:gd name="T28" fmla="*/ 111 w 907"/>
                <a:gd name="T29" fmla="*/ 476 h 1190"/>
                <a:gd name="T30" fmla="*/ 146 w 907"/>
                <a:gd name="T31" fmla="*/ 452 h 1190"/>
                <a:gd name="T32" fmla="*/ 183 w 907"/>
                <a:gd name="T33" fmla="*/ 437 h 1190"/>
                <a:gd name="T34" fmla="*/ 218 w 907"/>
                <a:gd name="T35" fmla="*/ 434 h 1190"/>
                <a:gd name="T36" fmla="*/ 234 w 907"/>
                <a:gd name="T37" fmla="*/ 439 h 1190"/>
                <a:gd name="T38" fmla="*/ 234 w 907"/>
                <a:gd name="T39" fmla="*/ 456 h 1190"/>
                <a:gd name="T40" fmla="*/ 242 w 907"/>
                <a:gd name="T41" fmla="*/ 617 h 1190"/>
                <a:gd name="T42" fmla="*/ 268 w 907"/>
                <a:gd name="T43" fmla="*/ 795 h 1190"/>
                <a:gd name="T44" fmla="*/ 299 w 907"/>
                <a:gd name="T45" fmla="*/ 920 h 1190"/>
                <a:gd name="T46" fmla="*/ 346 w 907"/>
                <a:gd name="T47" fmla="*/ 1041 h 1190"/>
                <a:gd name="T48" fmla="*/ 394 w 907"/>
                <a:gd name="T49" fmla="*/ 1121 h 1190"/>
                <a:gd name="T50" fmla="*/ 430 w 907"/>
                <a:gd name="T51" fmla="*/ 1169 h 1190"/>
                <a:gd name="T52" fmla="*/ 451 w 907"/>
                <a:gd name="T53" fmla="*/ 1190 h 1190"/>
                <a:gd name="T54" fmla="*/ 472 w 907"/>
                <a:gd name="T55" fmla="*/ 1169 h 1190"/>
                <a:gd name="T56" fmla="*/ 509 w 907"/>
                <a:gd name="T57" fmla="*/ 1121 h 1190"/>
                <a:gd name="T58" fmla="*/ 556 w 907"/>
                <a:gd name="T59" fmla="*/ 1041 h 1190"/>
                <a:gd name="T60" fmla="*/ 603 w 907"/>
                <a:gd name="T61" fmla="*/ 920 h 1190"/>
                <a:gd name="T62" fmla="*/ 634 w 907"/>
                <a:gd name="T63" fmla="*/ 795 h 1190"/>
                <a:gd name="T64" fmla="*/ 661 w 907"/>
                <a:gd name="T65" fmla="*/ 617 h 1190"/>
                <a:gd name="T66" fmla="*/ 669 w 907"/>
                <a:gd name="T67" fmla="*/ 456 h 1190"/>
                <a:gd name="T68" fmla="*/ 667 w 907"/>
                <a:gd name="T69" fmla="*/ 439 h 1190"/>
                <a:gd name="T70" fmla="*/ 684 w 907"/>
                <a:gd name="T71" fmla="*/ 434 h 1190"/>
                <a:gd name="T72" fmla="*/ 721 w 907"/>
                <a:gd name="T73" fmla="*/ 437 h 1190"/>
                <a:gd name="T74" fmla="*/ 757 w 907"/>
                <a:gd name="T75" fmla="*/ 452 h 1190"/>
                <a:gd name="T76" fmla="*/ 793 w 907"/>
                <a:gd name="T77" fmla="*/ 476 h 1190"/>
                <a:gd name="T78" fmla="*/ 868 w 907"/>
                <a:gd name="T79" fmla="*/ 550 h 1190"/>
                <a:gd name="T80" fmla="*/ 884 w 907"/>
                <a:gd name="T81" fmla="*/ 572 h 1190"/>
                <a:gd name="T82" fmla="*/ 893 w 907"/>
                <a:gd name="T83" fmla="*/ 534 h 1190"/>
                <a:gd name="T84" fmla="*/ 905 w 907"/>
                <a:gd name="T85" fmla="*/ 464 h 1190"/>
                <a:gd name="T86" fmla="*/ 907 w 907"/>
                <a:gd name="T87" fmla="*/ 399 h 1190"/>
                <a:gd name="T88" fmla="*/ 905 w 907"/>
                <a:gd name="T89" fmla="*/ 340 h 1190"/>
                <a:gd name="T90" fmla="*/ 890 w 907"/>
                <a:gd name="T91" fmla="*/ 261 h 1190"/>
                <a:gd name="T92" fmla="*/ 857 w 907"/>
                <a:gd name="T93" fmla="*/ 171 h 1190"/>
                <a:gd name="T94" fmla="*/ 814 w 907"/>
                <a:gd name="T95" fmla="*/ 102 h 1190"/>
                <a:gd name="T96" fmla="*/ 771 w 907"/>
                <a:gd name="T97" fmla="*/ 51 h 1190"/>
                <a:gd name="T98" fmla="*/ 719 w 907"/>
                <a:gd name="T99" fmla="*/ 5 h 1190"/>
                <a:gd name="T100" fmla="*/ 710 w 907"/>
                <a:gd name="T101" fmla="*/ 0 h 1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07" h="1190">
                  <a:moveTo>
                    <a:pt x="710" y="0"/>
                  </a:moveTo>
                  <a:lnTo>
                    <a:pt x="451" y="0"/>
                  </a:lnTo>
                  <a:lnTo>
                    <a:pt x="192" y="0"/>
                  </a:lnTo>
                  <a:lnTo>
                    <a:pt x="184" y="5"/>
                  </a:lnTo>
                  <a:lnTo>
                    <a:pt x="132" y="51"/>
                  </a:lnTo>
                  <a:lnTo>
                    <a:pt x="91" y="102"/>
                  </a:lnTo>
                  <a:lnTo>
                    <a:pt x="49" y="171"/>
                  </a:lnTo>
                  <a:lnTo>
                    <a:pt x="15" y="261"/>
                  </a:lnTo>
                  <a:lnTo>
                    <a:pt x="2" y="340"/>
                  </a:lnTo>
                  <a:lnTo>
                    <a:pt x="0" y="399"/>
                  </a:lnTo>
                  <a:lnTo>
                    <a:pt x="2" y="464"/>
                  </a:lnTo>
                  <a:lnTo>
                    <a:pt x="14" y="534"/>
                  </a:lnTo>
                  <a:lnTo>
                    <a:pt x="23" y="572"/>
                  </a:lnTo>
                  <a:lnTo>
                    <a:pt x="39" y="550"/>
                  </a:lnTo>
                  <a:lnTo>
                    <a:pt x="111" y="476"/>
                  </a:lnTo>
                  <a:lnTo>
                    <a:pt x="146" y="452"/>
                  </a:lnTo>
                  <a:lnTo>
                    <a:pt x="183" y="437"/>
                  </a:lnTo>
                  <a:lnTo>
                    <a:pt x="218" y="434"/>
                  </a:lnTo>
                  <a:lnTo>
                    <a:pt x="234" y="439"/>
                  </a:lnTo>
                  <a:lnTo>
                    <a:pt x="234" y="456"/>
                  </a:lnTo>
                  <a:lnTo>
                    <a:pt x="242" y="617"/>
                  </a:lnTo>
                  <a:lnTo>
                    <a:pt x="268" y="795"/>
                  </a:lnTo>
                  <a:lnTo>
                    <a:pt x="299" y="920"/>
                  </a:lnTo>
                  <a:lnTo>
                    <a:pt x="346" y="1041"/>
                  </a:lnTo>
                  <a:lnTo>
                    <a:pt x="394" y="1121"/>
                  </a:lnTo>
                  <a:lnTo>
                    <a:pt x="430" y="1169"/>
                  </a:lnTo>
                  <a:lnTo>
                    <a:pt x="451" y="1190"/>
                  </a:lnTo>
                  <a:lnTo>
                    <a:pt x="472" y="1169"/>
                  </a:lnTo>
                  <a:lnTo>
                    <a:pt x="509" y="1121"/>
                  </a:lnTo>
                  <a:lnTo>
                    <a:pt x="556" y="1041"/>
                  </a:lnTo>
                  <a:lnTo>
                    <a:pt x="603" y="920"/>
                  </a:lnTo>
                  <a:lnTo>
                    <a:pt x="634" y="795"/>
                  </a:lnTo>
                  <a:lnTo>
                    <a:pt x="661" y="617"/>
                  </a:lnTo>
                  <a:lnTo>
                    <a:pt x="669" y="456"/>
                  </a:lnTo>
                  <a:lnTo>
                    <a:pt x="667" y="439"/>
                  </a:lnTo>
                  <a:lnTo>
                    <a:pt x="684" y="434"/>
                  </a:lnTo>
                  <a:lnTo>
                    <a:pt x="721" y="437"/>
                  </a:lnTo>
                  <a:lnTo>
                    <a:pt x="757" y="452"/>
                  </a:lnTo>
                  <a:lnTo>
                    <a:pt x="793" y="476"/>
                  </a:lnTo>
                  <a:lnTo>
                    <a:pt x="868" y="550"/>
                  </a:lnTo>
                  <a:lnTo>
                    <a:pt x="884" y="572"/>
                  </a:lnTo>
                  <a:lnTo>
                    <a:pt x="893" y="534"/>
                  </a:lnTo>
                  <a:lnTo>
                    <a:pt x="905" y="464"/>
                  </a:lnTo>
                  <a:lnTo>
                    <a:pt x="907" y="399"/>
                  </a:lnTo>
                  <a:lnTo>
                    <a:pt x="905" y="340"/>
                  </a:lnTo>
                  <a:lnTo>
                    <a:pt x="890" y="261"/>
                  </a:lnTo>
                  <a:lnTo>
                    <a:pt x="857" y="171"/>
                  </a:lnTo>
                  <a:lnTo>
                    <a:pt x="814" y="102"/>
                  </a:lnTo>
                  <a:lnTo>
                    <a:pt x="771" y="51"/>
                  </a:lnTo>
                  <a:lnTo>
                    <a:pt x="719" y="5"/>
                  </a:lnTo>
                  <a:lnTo>
                    <a:pt x="710" y="0"/>
                  </a:lnTo>
                  <a:close/>
                </a:path>
              </a:pathLst>
            </a:custGeom>
            <a:solidFill>
              <a:srgbClr val="F1F1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7" name="Rectangle 52">
              <a:extLst>
                <a:ext uri="{FF2B5EF4-FFF2-40B4-BE49-F238E27FC236}">
                  <a16:creationId xmlns:a16="http://schemas.microsoft.com/office/drawing/2014/main" id="{C072D2AA-98C5-0087-47C5-7D8009EE1520}"/>
                </a:ext>
              </a:extLst>
            </p:cNvPr>
            <p:cNvSpPr>
              <a:spLocks noChangeArrowheads="1"/>
            </p:cNvSpPr>
            <p:nvPr/>
          </p:nvSpPr>
          <p:spPr bwMode="auto">
            <a:xfrm>
              <a:off x="5953705" y="2171985"/>
              <a:ext cx="283607" cy="63788"/>
            </a:xfrm>
            <a:prstGeom prst="rect">
              <a:avLst/>
            </a:prstGeom>
            <a:solidFill>
              <a:srgbClr val="8080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 name="Freeform 53">
              <a:extLst>
                <a:ext uri="{FF2B5EF4-FFF2-40B4-BE49-F238E27FC236}">
                  <a16:creationId xmlns:a16="http://schemas.microsoft.com/office/drawing/2014/main" id="{B50A28B3-6BDA-329F-151D-F6741DBACC8D}"/>
                </a:ext>
              </a:extLst>
            </p:cNvPr>
            <p:cNvSpPr>
              <a:spLocks/>
            </p:cNvSpPr>
            <p:nvPr/>
          </p:nvSpPr>
          <p:spPr bwMode="auto">
            <a:xfrm>
              <a:off x="5655378" y="1828516"/>
              <a:ext cx="268887" cy="605487"/>
            </a:xfrm>
            <a:custGeom>
              <a:avLst/>
              <a:gdLst>
                <a:gd name="T0" fmla="*/ 834 w 1097"/>
                <a:gd name="T1" fmla="*/ 244 h 2468"/>
                <a:gd name="T2" fmla="*/ 822 w 1097"/>
                <a:gd name="T3" fmla="*/ 244 h 2468"/>
                <a:gd name="T4" fmla="*/ 748 w 1097"/>
                <a:gd name="T5" fmla="*/ 240 h 2468"/>
                <a:gd name="T6" fmla="*/ 680 w 1097"/>
                <a:gd name="T7" fmla="*/ 228 h 2468"/>
                <a:gd name="T8" fmla="*/ 602 w 1097"/>
                <a:gd name="T9" fmla="*/ 208 h 2468"/>
                <a:gd name="T10" fmla="*/ 520 w 1097"/>
                <a:gd name="T11" fmla="*/ 173 h 2468"/>
                <a:gd name="T12" fmla="*/ 444 w 1097"/>
                <a:gd name="T13" fmla="*/ 121 h 2468"/>
                <a:gd name="T14" fmla="*/ 393 w 1097"/>
                <a:gd name="T15" fmla="*/ 66 h 2468"/>
                <a:gd name="T16" fmla="*/ 363 w 1097"/>
                <a:gd name="T17" fmla="*/ 25 h 2468"/>
                <a:gd name="T18" fmla="*/ 350 w 1097"/>
                <a:gd name="T19" fmla="*/ 0 h 2468"/>
                <a:gd name="T20" fmla="*/ 330 w 1097"/>
                <a:gd name="T21" fmla="*/ 37 h 2468"/>
                <a:gd name="T22" fmla="*/ 207 w 1097"/>
                <a:gd name="T23" fmla="*/ 305 h 2468"/>
                <a:gd name="T24" fmla="*/ 137 w 1097"/>
                <a:gd name="T25" fmla="*/ 504 h 2468"/>
                <a:gd name="T26" fmla="*/ 92 w 1097"/>
                <a:gd name="T27" fmla="*/ 659 h 2468"/>
                <a:gd name="T28" fmla="*/ 54 w 1097"/>
                <a:gd name="T29" fmla="*/ 829 h 2468"/>
                <a:gd name="T30" fmla="*/ 24 w 1097"/>
                <a:gd name="T31" fmla="*/ 1013 h 2468"/>
                <a:gd name="T32" fmla="*/ 4 w 1097"/>
                <a:gd name="T33" fmla="*/ 1210 h 2468"/>
                <a:gd name="T34" fmla="*/ 0 w 1097"/>
                <a:gd name="T35" fmla="*/ 1420 h 2468"/>
                <a:gd name="T36" fmla="*/ 12 w 1097"/>
                <a:gd name="T37" fmla="*/ 1639 h 2468"/>
                <a:gd name="T38" fmla="*/ 45 w 1097"/>
                <a:gd name="T39" fmla="*/ 1868 h 2468"/>
                <a:gd name="T40" fmla="*/ 100 w 1097"/>
                <a:gd name="T41" fmla="*/ 2104 h 2468"/>
                <a:gd name="T42" fmla="*/ 160 w 1097"/>
                <a:gd name="T43" fmla="*/ 2285 h 2468"/>
                <a:gd name="T44" fmla="*/ 207 w 1097"/>
                <a:gd name="T45" fmla="*/ 2407 h 2468"/>
                <a:gd name="T46" fmla="*/ 234 w 1097"/>
                <a:gd name="T47" fmla="*/ 2468 h 2468"/>
                <a:gd name="T48" fmla="*/ 242 w 1097"/>
                <a:gd name="T49" fmla="*/ 2432 h 2468"/>
                <a:gd name="T50" fmla="*/ 305 w 1097"/>
                <a:gd name="T51" fmla="*/ 2193 h 2468"/>
                <a:gd name="T52" fmla="*/ 379 w 1097"/>
                <a:gd name="T53" fmla="*/ 1976 h 2468"/>
                <a:gd name="T54" fmla="*/ 454 w 1097"/>
                <a:gd name="T55" fmla="*/ 1793 h 2468"/>
                <a:gd name="T56" fmla="*/ 512 w 1097"/>
                <a:gd name="T57" fmla="*/ 1670 h 2468"/>
                <a:gd name="T58" fmla="*/ 579 w 1097"/>
                <a:gd name="T59" fmla="*/ 1547 h 2468"/>
                <a:gd name="T60" fmla="*/ 654 w 1097"/>
                <a:gd name="T61" fmla="*/ 1427 h 2468"/>
                <a:gd name="T62" fmla="*/ 737 w 1097"/>
                <a:gd name="T63" fmla="*/ 1315 h 2468"/>
                <a:gd name="T64" fmla="*/ 829 w 1097"/>
                <a:gd name="T65" fmla="*/ 1212 h 2468"/>
                <a:gd name="T66" fmla="*/ 929 w 1097"/>
                <a:gd name="T67" fmla="*/ 1123 h 2468"/>
                <a:gd name="T68" fmla="*/ 1039 w 1097"/>
                <a:gd name="T69" fmla="*/ 1048 h 2468"/>
                <a:gd name="T70" fmla="*/ 1097 w 1097"/>
                <a:gd name="T71" fmla="*/ 1019 h 2468"/>
                <a:gd name="T72" fmla="*/ 834 w 1097"/>
                <a:gd name="T73" fmla="*/ 244 h 2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97" h="2468">
                  <a:moveTo>
                    <a:pt x="834" y="244"/>
                  </a:moveTo>
                  <a:lnTo>
                    <a:pt x="822" y="244"/>
                  </a:lnTo>
                  <a:lnTo>
                    <a:pt x="748" y="240"/>
                  </a:lnTo>
                  <a:lnTo>
                    <a:pt x="680" y="228"/>
                  </a:lnTo>
                  <a:lnTo>
                    <a:pt x="602" y="208"/>
                  </a:lnTo>
                  <a:lnTo>
                    <a:pt x="520" y="173"/>
                  </a:lnTo>
                  <a:lnTo>
                    <a:pt x="444" y="121"/>
                  </a:lnTo>
                  <a:lnTo>
                    <a:pt x="393" y="66"/>
                  </a:lnTo>
                  <a:lnTo>
                    <a:pt x="363" y="25"/>
                  </a:lnTo>
                  <a:lnTo>
                    <a:pt x="350" y="0"/>
                  </a:lnTo>
                  <a:lnTo>
                    <a:pt x="330" y="37"/>
                  </a:lnTo>
                  <a:lnTo>
                    <a:pt x="207" y="305"/>
                  </a:lnTo>
                  <a:lnTo>
                    <a:pt x="137" y="504"/>
                  </a:lnTo>
                  <a:lnTo>
                    <a:pt x="92" y="659"/>
                  </a:lnTo>
                  <a:lnTo>
                    <a:pt x="54" y="829"/>
                  </a:lnTo>
                  <a:lnTo>
                    <a:pt x="24" y="1013"/>
                  </a:lnTo>
                  <a:lnTo>
                    <a:pt x="4" y="1210"/>
                  </a:lnTo>
                  <a:lnTo>
                    <a:pt x="0" y="1420"/>
                  </a:lnTo>
                  <a:lnTo>
                    <a:pt x="12" y="1639"/>
                  </a:lnTo>
                  <a:lnTo>
                    <a:pt x="45" y="1868"/>
                  </a:lnTo>
                  <a:lnTo>
                    <a:pt x="100" y="2104"/>
                  </a:lnTo>
                  <a:lnTo>
                    <a:pt x="160" y="2285"/>
                  </a:lnTo>
                  <a:lnTo>
                    <a:pt x="207" y="2407"/>
                  </a:lnTo>
                  <a:lnTo>
                    <a:pt x="234" y="2468"/>
                  </a:lnTo>
                  <a:lnTo>
                    <a:pt x="242" y="2432"/>
                  </a:lnTo>
                  <a:lnTo>
                    <a:pt x="305" y="2193"/>
                  </a:lnTo>
                  <a:lnTo>
                    <a:pt x="379" y="1976"/>
                  </a:lnTo>
                  <a:lnTo>
                    <a:pt x="454" y="1793"/>
                  </a:lnTo>
                  <a:lnTo>
                    <a:pt x="512" y="1670"/>
                  </a:lnTo>
                  <a:lnTo>
                    <a:pt x="579" y="1547"/>
                  </a:lnTo>
                  <a:lnTo>
                    <a:pt x="654" y="1427"/>
                  </a:lnTo>
                  <a:lnTo>
                    <a:pt x="737" y="1315"/>
                  </a:lnTo>
                  <a:lnTo>
                    <a:pt x="829" y="1212"/>
                  </a:lnTo>
                  <a:lnTo>
                    <a:pt x="929" y="1123"/>
                  </a:lnTo>
                  <a:lnTo>
                    <a:pt x="1039" y="1048"/>
                  </a:lnTo>
                  <a:lnTo>
                    <a:pt x="1097" y="1019"/>
                  </a:lnTo>
                  <a:lnTo>
                    <a:pt x="834" y="244"/>
                  </a:lnTo>
                  <a:close/>
                </a:path>
              </a:pathLst>
            </a:custGeom>
            <a:solidFill>
              <a:srgbClr val="0045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 name="Freeform 54">
              <a:extLst>
                <a:ext uri="{FF2B5EF4-FFF2-40B4-BE49-F238E27FC236}">
                  <a16:creationId xmlns:a16="http://schemas.microsoft.com/office/drawing/2014/main" id="{7E292AE9-BB11-A355-E9EE-E2051B211151}"/>
                </a:ext>
              </a:extLst>
            </p:cNvPr>
            <p:cNvSpPr>
              <a:spLocks/>
            </p:cNvSpPr>
            <p:nvPr/>
          </p:nvSpPr>
          <p:spPr bwMode="auto">
            <a:xfrm>
              <a:off x="6266753" y="1828516"/>
              <a:ext cx="269869" cy="605487"/>
            </a:xfrm>
            <a:custGeom>
              <a:avLst/>
              <a:gdLst>
                <a:gd name="T0" fmla="*/ 264 w 1097"/>
                <a:gd name="T1" fmla="*/ 244 h 2468"/>
                <a:gd name="T2" fmla="*/ 274 w 1097"/>
                <a:gd name="T3" fmla="*/ 244 h 2468"/>
                <a:gd name="T4" fmla="*/ 348 w 1097"/>
                <a:gd name="T5" fmla="*/ 240 h 2468"/>
                <a:gd name="T6" fmla="*/ 417 w 1097"/>
                <a:gd name="T7" fmla="*/ 228 h 2468"/>
                <a:gd name="T8" fmla="*/ 496 w 1097"/>
                <a:gd name="T9" fmla="*/ 208 h 2468"/>
                <a:gd name="T10" fmla="*/ 578 w 1097"/>
                <a:gd name="T11" fmla="*/ 173 h 2468"/>
                <a:gd name="T12" fmla="*/ 654 w 1097"/>
                <a:gd name="T13" fmla="*/ 121 h 2468"/>
                <a:gd name="T14" fmla="*/ 705 w 1097"/>
                <a:gd name="T15" fmla="*/ 66 h 2468"/>
                <a:gd name="T16" fmla="*/ 733 w 1097"/>
                <a:gd name="T17" fmla="*/ 25 h 2468"/>
                <a:gd name="T18" fmla="*/ 746 w 1097"/>
                <a:gd name="T19" fmla="*/ 0 h 2468"/>
                <a:gd name="T20" fmla="*/ 768 w 1097"/>
                <a:gd name="T21" fmla="*/ 37 h 2468"/>
                <a:gd name="T22" fmla="*/ 891 w 1097"/>
                <a:gd name="T23" fmla="*/ 305 h 2468"/>
                <a:gd name="T24" fmla="*/ 961 w 1097"/>
                <a:gd name="T25" fmla="*/ 504 h 2468"/>
                <a:gd name="T26" fmla="*/ 1005 w 1097"/>
                <a:gd name="T27" fmla="*/ 659 h 2468"/>
                <a:gd name="T28" fmla="*/ 1043 w 1097"/>
                <a:gd name="T29" fmla="*/ 829 h 2468"/>
                <a:gd name="T30" fmla="*/ 1073 w 1097"/>
                <a:gd name="T31" fmla="*/ 1013 h 2468"/>
                <a:gd name="T32" fmla="*/ 1092 w 1097"/>
                <a:gd name="T33" fmla="*/ 1210 h 2468"/>
                <a:gd name="T34" fmla="*/ 1097 w 1097"/>
                <a:gd name="T35" fmla="*/ 1420 h 2468"/>
                <a:gd name="T36" fmla="*/ 1084 w 1097"/>
                <a:gd name="T37" fmla="*/ 1639 h 2468"/>
                <a:gd name="T38" fmla="*/ 1052 w 1097"/>
                <a:gd name="T39" fmla="*/ 1868 h 2468"/>
                <a:gd name="T40" fmla="*/ 998 w 1097"/>
                <a:gd name="T41" fmla="*/ 2104 h 2468"/>
                <a:gd name="T42" fmla="*/ 938 w 1097"/>
                <a:gd name="T43" fmla="*/ 2285 h 2468"/>
                <a:gd name="T44" fmla="*/ 890 w 1097"/>
                <a:gd name="T45" fmla="*/ 2407 h 2468"/>
                <a:gd name="T46" fmla="*/ 863 w 1097"/>
                <a:gd name="T47" fmla="*/ 2468 h 2468"/>
                <a:gd name="T48" fmla="*/ 856 w 1097"/>
                <a:gd name="T49" fmla="*/ 2432 h 2468"/>
                <a:gd name="T50" fmla="*/ 793 w 1097"/>
                <a:gd name="T51" fmla="*/ 2193 h 2468"/>
                <a:gd name="T52" fmla="*/ 719 w 1097"/>
                <a:gd name="T53" fmla="*/ 1976 h 2468"/>
                <a:gd name="T54" fmla="*/ 644 w 1097"/>
                <a:gd name="T55" fmla="*/ 1793 h 2468"/>
                <a:gd name="T56" fmla="*/ 585 w 1097"/>
                <a:gd name="T57" fmla="*/ 1670 h 2468"/>
                <a:gd name="T58" fmla="*/ 518 w 1097"/>
                <a:gd name="T59" fmla="*/ 1547 h 2468"/>
                <a:gd name="T60" fmla="*/ 444 w 1097"/>
                <a:gd name="T61" fmla="*/ 1427 h 2468"/>
                <a:gd name="T62" fmla="*/ 361 w 1097"/>
                <a:gd name="T63" fmla="*/ 1315 h 2468"/>
                <a:gd name="T64" fmla="*/ 269 w 1097"/>
                <a:gd name="T65" fmla="*/ 1212 h 2468"/>
                <a:gd name="T66" fmla="*/ 168 w 1097"/>
                <a:gd name="T67" fmla="*/ 1123 h 2468"/>
                <a:gd name="T68" fmla="*/ 59 w 1097"/>
                <a:gd name="T69" fmla="*/ 1048 h 2468"/>
                <a:gd name="T70" fmla="*/ 0 w 1097"/>
                <a:gd name="T71" fmla="*/ 1019 h 2468"/>
                <a:gd name="T72" fmla="*/ 264 w 1097"/>
                <a:gd name="T73" fmla="*/ 244 h 2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97" h="2468">
                  <a:moveTo>
                    <a:pt x="264" y="244"/>
                  </a:moveTo>
                  <a:lnTo>
                    <a:pt x="274" y="244"/>
                  </a:lnTo>
                  <a:lnTo>
                    <a:pt x="348" y="240"/>
                  </a:lnTo>
                  <a:lnTo>
                    <a:pt x="417" y="228"/>
                  </a:lnTo>
                  <a:lnTo>
                    <a:pt x="496" y="208"/>
                  </a:lnTo>
                  <a:lnTo>
                    <a:pt x="578" y="173"/>
                  </a:lnTo>
                  <a:lnTo>
                    <a:pt x="654" y="121"/>
                  </a:lnTo>
                  <a:lnTo>
                    <a:pt x="705" y="66"/>
                  </a:lnTo>
                  <a:lnTo>
                    <a:pt x="733" y="25"/>
                  </a:lnTo>
                  <a:lnTo>
                    <a:pt x="746" y="0"/>
                  </a:lnTo>
                  <a:lnTo>
                    <a:pt x="768" y="37"/>
                  </a:lnTo>
                  <a:lnTo>
                    <a:pt x="891" y="305"/>
                  </a:lnTo>
                  <a:lnTo>
                    <a:pt x="961" y="504"/>
                  </a:lnTo>
                  <a:lnTo>
                    <a:pt x="1005" y="659"/>
                  </a:lnTo>
                  <a:lnTo>
                    <a:pt x="1043" y="829"/>
                  </a:lnTo>
                  <a:lnTo>
                    <a:pt x="1073" y="1013"/>
                  </a:lnTo>
                  <a:lnTo>
                    <a:pt x="1092" y="1210"/>
                  </a:lnTo>
                  <a:lnTo>
                    <a:pt x="1097" y="1420"/>
                  </a:lnTo>
                  <a:lnTo>
                    <a:pt x="1084" y="1639"/>
                  </a:lnTo>
                  <a:lnTo>
                    <a:pt x="1052" y="1868"/>
                  </a:lnTo>
                  <a:lnTo>
                    <a:pt x="998" y="2104"/>
                  </a:lnTo>
                  <a:lnTo>
                    <a:pt x="938" y="2285"/>
                  </a:lnTo>
                  <a:lnTo>
                    <a:pt x="890" y="2407"/>
                  </a:lnTo>
                  <a:lnTo>
                    <a:pt x="863" y="2468"/>
                  </a:lnTo>
                  <a:lnTo>
                    <a:pt x="856" y="2432"/>
                  </a:lnTo>
                  <a:lnTo>
                    <a:pt x="793" y="2193"/>
                  </a:lnTo>
                  <a:lnTo>
                    <a:pt x="719" y="1976"/>
                  </a:lnTo>
                  <a:lnTo>
                    <a:pt x="644" y="1793"/>
                  </a:lnTo>
                  <a:lnTo>
                    <a:pt x="585" y="1670"/>
                  </a:lnTo>
                  <a:lnTo>
                    <a:pt x="518" y="1547"/>
                  </a:lnTo>
                  <a:lnTo>
                    <a:pt x="444" y="1427"/>
                  </a:lnTo>
                  <a:lnTo>
                    <a:pt x="361" y="1315"/>
                  </a:lnTo>
                  <a:lnTo>
                    <a:pt x="269" y="1212"/>
                  </a:lnTo>
                  <a:lnTo>
                    <a:pt x="168" y="1123"/>
                  </a:lnTo>
                  <a:lnTo>
                    <a:pt x="59" y="1048"/>
                  </a:lnTo>
                  <a:lnTo>
                    <a:pt x="0" y="1019"/>
                  </a:lnTo>
                  <a:lnTo>
                    <a:pt x="264" y="244"/>
                  </a:lnTo>
                  <a:close/>
                </a:path>
              </a:pathLst>
            </a:custGeom>
            <a:solidFill>
              <a:srgbClr val="0045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0" name="Freeform 55">
              <a:extLst>
                <a:ext uri="{FF2B5EF4-FFF2-40B4-BE49-F238E27FC236}">
                  <a16:creationId xmlns:a16="http://schemas.microsoft.com/office/drawing/2014/main" id="{268D463C-FECA-C0F6-D2EC-A3391A9AB9D1}"/>
                </a:ext>
              </a:extLst>
            </p:cNvPr>
            <p:cNvSpPr>
              <a:spLocks/>
            </p:cNvSpPr>
            <p:nvPr/>
          </p:nvSpPr>
          <p:spPr bwMode="auto">
            <a:xfrm>
              <a:off x="5839870" y="854046"/>
              <a:ext cx="512259" cy="1317940"/>
            </a:xfrm>
            <a:custGeom>
              <a:avLst/>
              <a:gdLst>
                <a:gd name="T0" fmla="*/ 1623 w 2088"/>
                <a:gd name="T1" fmla="*/ 5369 h 5369"/>
                <a:gd name="T2" fmla="*/ 1675 w 2088"/>
                <a:gd name="T3" fmla="*/ 5264 h 5369"/>
                <a:gd name="T4" fmla="*/ 1771 w 2088"/>
                <a:gd name="T5" fmla="*/ 5047 h 5369"/>
                <a:gd name="T6" fmla="*/ 1856 w 2088"/>
                <a:gd name="T7" fmla="*/ 4820 h 5369"/>
                <a:gd name="T8" fmla="*/ 1929 w 2088"/>
                <a:gd name="T9" fmla="*/ 4577 h 5369"/>
                <a:gd name="T10" fmla="*/ 1990 w 2088"/>
                <a:gd name="T11" fmla="*/ 4311 h 5369"/>
                <a:gd name="T12" fmla="*/ 2038 w 2088"/>
                <a:gd name="T13" fmla="*/ 4019 h 5369"/>
                <a:gd name="T14" fmla="*/ 2070 w 2088"/>
                <a:gd name="T15" fmla="*/ 3693 h 5369"/>
                <a:gd name="T16" fmla="*/ 2087 w 2088"/>
                <a:gd name="T17" fmla="*/ 3330 h 5369"/>
                <a:gd name="T18" fmla="*/ 2088 w 2088"/>
                <a:gd name="T19" fmla="*/ 3129 h 5369"/>
                <a:gd name="T20" fmla="*/ 2087 w 2088"/>
                <a:gd name="T21" fmla="*/ 2968 h 5369"/>
                <a:gd name="T22" fmla="*/ 2064 w 2088"/>
                <a:gd name="T23" fmla="*/ 2652 h 5369"/>
                <a:gd name="T24" fmla="*/ 2021 w 2088"/>
                <a:gd name="T25" fmla="*/ 2347 h 5369"/>
                <a:gd name="T26" fmla="*/ 1961 w 2088"/>
                <a:gd name="T27" fmla="*/ 2053 h 5369"/>
                <a:gd name="T28" fmla="*/ 1887 w 2088"/>
                <a:gd name="T29" fmla="*/ 1772 h 5369"/>
                <a:gd name="T30" fmla="*/ 1803 w 2088"/>
                <a:gd name="T31" fmla="*/ 1506 h 5369"/>
                <a:gd name="T32" fmla="*/ 1712 w 2088"/>
                <a:gd name="T33" fmla="*/ 1256 h 5369"/>
                <a:gd name="T34" fmla="*/ 1615 w 2088"/>
                <a:gd name="T35" fmla="*/ 1024 h 5369"/>
                <a:gd name="T36" fmla="*/ 1518 w 2088"/>
                <a:gd name="T37" fmla="*/ 813 h 5369"/>
                <a:gd name="T38" fmla="*/ 1421 w 2088"/>
                <a:gd name="T39" fmla="*/ 621 h 5369"/>
                <a:gd name="T40" fmla="*/ 1285 w 2088"/>
                <a:gd name="T41" fmla="*/ 373 h 5369"/>
                <a:gd name="T42" fmla="*/ 1077 w 2088"/>
                <a:gd name="T43" fmla="*/ 44 h 5369"/>
                <a:gd name="T44" fmla="*/ 1045 w 2088"/>
                <a:gd name="T45" fmla="*/ 0 h 5369"/>
                <a:gd name="T46" fmla="*/ 1013 w 2088"/>
                <a:gd name="T47" fmla="*/ 44 h 5369"/>
                <a:gd name="T48" fmla="*/ 804 w 2088"/>
                <a:gd name="T49" fmla="*/ 373 h 5369"/>
                <a:gd name="T50" fmla="*/ 668 w 2088"/>
                <a:gd name="T51" fmla="*/ 621 h 5369"/>
                <a:gd name="T52" fmla="*/ 572 w 2088"/>
                <a:gd name="T53" fmla="*/ 813 h 5369"/>
                <a:gd name="T54" fmla="*/ 473 w 2088"/>
                <a:gd name="T55" fmla="*/ 1024 h 5369"/>
                <a:gd name="T56" fmla="*/ 377 w 2088"/>
                <a:gd name="T57" fmla="*/ 1256 h 5369"/>
                <a:gd name="T58" fmla="*/ 285 w 2088"/>
                <a:gd name="T59" fmla="*/ 1506 h 5369"/>
                <a:gd name="T60" fmla="*/ 201 w 2088"/>
                <a:gd name="T61" fmla="*/ 1772 h 5369"/>
                <a:gd name="T62" fmla="*/ 129 w 2088"/>
                <a:gd name="T63" fmla="*/ 2053 h 5369"/>
                <a:gd name="T64" fmla="*/ 69 w 2088"/>
                <a:gd name="T65" fmla="*/ 2347 h 5369"/>
                <a:gd name="T66" fmla="*/ 26 w 2088"/>
                <a:gd name="T67" fmla="*/ 2652 h 5369"/>
                <a:gd name="T68" fmla="*/ 3 w 2088"/>
                <a:gd name="T69" fmla="*/ 2968 h 5369"/>
                <a:gd name="T70" fmla="*/ 0 w 2088"/>
                <a:gd name="T71" fmla="*/ 3129 h 5369"/>
                <a:gd name="T72" fmla="*/ 2 w 2088"/>
                <a:gd name="T73" fmla="*/ 3330 h 5369"/>
                <a:gd name="T74" fmla="*/ 18 w 2088"/>
                <a:gd name="T75" fmla="*/ 3693 h 5369"/>
                <a:gd name="T76" fmla="*/ 52 w 2088"/>
                <a:gd name="T77" fmla="*/ 4019 h 5369"/>
                <a:gd name="T78" fmla="*/ 99 w 2088"/>
                <a:gd name="T79" fmla="*/ 4311 h 5369"/>
                <a:gd name="T80" fmla="*/ 160 w 2088"/>
                <a:gd name="T81" fmla="*/ 4577 h 5369"/>
                <a:gd name="T82" fmla="*/ 234 w 2088"/>
                <a:gd name="T83" fmla="*/ 4820 h 5369"/>
                <a:gd name="T84" fmla="*/ 319 w 2088"/>
                <a:gd name="T85" fmla="*/ 5047 h 5369"/>
                <a:gd name="T86" fmla="*/ 415 w 2088"/>
                <a:gd name="T87" fmla="*/ 5264 h 5369"/>
                <a:gd name="T88" fmla="*/ 467 w 2088"/>
                <a:gd name="T89" fmla="*/ 5369 h 5369"/>
                <a:gd name="T90" fmla="*/ 1623 w 2088"/>
                <a:gd name="T91" fmla="*/ 5369 h 5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088" h="5369">
                  <a:moveTo>
                    <a:pt x="1623" y="5369"/>
                  </a:moveTo>
                  <a:lnTo>
                    <a:pt x="1675" y="5264"/>
                  </a:lnTo>
                  <a:lnTo>
                    <a:pt x="1771" y="5047"/>
                  </a:lnTo>
                  <a:lnTo>
                    <a:pt x="1856" y="4820"/>
                  </a:lnTo>
                  <a:lnTo>
                    <a:pt x="1929" y="4577"/>
                  </a:lnTo>
                  <a:lnTo>
                    <a:pt x="1990" y="4311"/>
                  </a:lnTo>
                  <a:lnTo>
                    <a:pt x="2038" y="4019"/>
                  </a:lnTo>
                  <a:lnTo>
                    <a:pt x="2070" y="3693"/>
                  </a:lnTo>
                  <a:lnTo>
                    <a:pt x="2087" y="3330"/>
                  </a:lnTo>
                  <a:lnTo>
                    <a:pt x="2088" y="3129"/>
                  </a:lnTo>
                  <a:lnTo>
                    <a:pt x="2087" y="2968"/>
                  </a:lnTo>
                  <a:lnTo>
                    <a:pt x="2064" y="2652"/>
                  </a:lnTo>
                  <a:lnTo>
                    <a:pt x="2021" y="2347"/>
                  </a:lnTo>
                  <a:lnTo>
                    <a:pt x="1961" y="2053"/>
                  </a:lnTo>
                  <a:lnTo>
                    <a:pt x="1887" y="1772"/>
                  </a:lnTo>
                  <a:lnTo>
                    <a:pt x="1803" y="1506"/>
                  </a:lnTo>
                  <a:lnTo>
                    <a:pt x="1712" y="1256"/>
                  </a:lnTo>
                  <a:lnTo>
                    <a:pt x="1615" y="1024"/>
                  </a:lnTo>
                  <a:lnTo>
                    <a:pt x="1518" y="813"/>
                  </a:lnTo>
                  <a:lnTo>
                    <a:pt x="1421" y="621"/>
                  </a:lnTo>
                  <a:lnTo>
                    <a:pt x="1285" y="373"/>
                  </a:lnTo>
                  <a:lnTo>
                    <a:pt x="1077" y="44"/>
                  </a:lnTo>
                  <a:lnTo>
                    <a:pt x="1045" y="0"/>
                  </a:lnTo>
                  <a:lnTo>
                    <a:pt x="1013" y="44"/>
                  </a:lnTo>
                  <a:lnTo>
                    <a:pt x="804" y="373"/>
                  </a:lnTo>
                  <a:lnTo>
                    <a:pt x="668" y="621"/>
                  </a:lnTo>
                  <a:lnTo>
                    <a:pt x="572" y="813"/>
                  </a:lnTo>
                  <a:lnTo>
                    <a:pt x="473" y="1024"/>
                  </a:lnTo>
                  <a:lnTo>
                    <a:pt x="377" y="1256"/>
                  </a:lnTo>
                  <a:lnTo>
                    <a:pt x="285" y="1506"/>
                  </a:lnTo>
                  <a:lnTo>
                    <a:pt x="201" y="1772"/>
                  </a:lnTo>
                  <a:lnTo>
                    <a:pt x="129" y="2053"/>
                  </a:lnTo>
                  <a:lnTo>
                    <a:pt x="69" y="2347"/>
                  </a:lnTo>
                  <a:lnTo>
                    <a:pt x="26" y="2652"/>
                  </a:lnTo>
                  <a:lnTo>
                    <a:pt x="3" y="2968"/>
                  </a:lnTo>
                  <a:lnTo>
                    <a:pt x="0" y="3129"/>
                  </a:lnTo>
                  <a:lnTo>
                    <a:pt x="2" y="3330"/>
                  </a:lnTo>
                  <a:lnTo>
                    <a:pt x="18" y="3693"/>
                  </a:lnTo>
                  <a:lnTo>
                    <a:pt x="52" y="4019"/>
                  </a:lnTo>
                  <a:lnTo>
                    <a:pt x="99" y="4311"/>
                  </a:lnTo>
                  <a:lnTo>
                    <a:pt x="160" y="4577"/>
                  </a:lnTo>
                  <a:lnTo>
                    <a:pt x="234" y="4820"/>
                  </a:lnTo>
                  <a:lnTo>
                    <a:pt x="319" y="5047"/>
                  </a:lnTo>
                  <a:lnTo>
                    <a:pt x="415" y="5264"/>
                  </a:lnTo>
                  <a:lnTo>
                    <a:pt x="467" y="5369"/>
                  </a:lnTo>
                  <a:lnTo>
                    <a:pt x="1623" y="5369"/>
                  </a:lnTo>
                  <a:close/>
                </a:path>
              </a:pathLst>
            </a:custGeom>
            <a:solidFill>
              <a:srgbClr val="FFF5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1" name="Freeform 56">
              <a:extLst>
                <a:ext uri="{FF2B5EF4-FFF2-40B4-BE49-F238E27FC236}">
                  <a16:creationId xmlns:a16="http://schemas.microsoft.com/office/drawing/2014/main" id="{45C92381-C4F9-E5AB-9CA4-8EBF1A879EF2}"/>
                </a:ext>
              </a:extLst>
            </p:cNvPr>
            <p:cNvSpPr>
              <a:spLocks/>
            </p:cNvSpPr>
            <p:nvPr/>
          </p:nvSpPr>
          <p:spPr bwMode="auto">
            <a:xfrm>
              <a:off x="5923284" y="2106235"/>
              <a:ext cx="344451" cy="65750"/>
            </a:xfrm>
            <a:custGeom>
              <a:avLst/>
              <a:gdLst>
                <a:gd name="T0" fmla="*/ 0 w 1406"/>
                <a:gd name="T1" fmla="*/ 0 h 269"/>
                <a:gd name="T2" fmla="*/ 60 w 1406"/>
                <a:gd name="T3" fmla="*/ 136 h 269"/>
                <a:gd name="T4" fmla="*/ 126 w 1406"/>
                <a:gd name="T5" fmla="*/ 269 h 269"/>
                <a:gd name="T6" fmla="*/ 1282 w 1406"/>
                <a:gd name="T7" fmla="*/ 269 h 269"/>
                <a:gd name="T8" fmla="*/ 1347 w 1406"/>
                <a:gd name="T9" fmla="*/ 136 h 269"/>
                <a:gd name="T10" fmla="*/ 1406 w 1406"/>
                <a:gd name="T11" fmla="*/ 0 h 269"/>
                <a:gd name="T12" fmla="*/ 0 w 1406"/>
                <a:gd name="T13" fmla="*/ 0 h 269"/>
              </a:gdLst>
              <a:ahLst/>
              <a:cxnLst>
                <a:cxn ang="0">
                  <a:pos x="T0" y="T1"/>
                </a:cxn>
                <a:cxn ang="0">
                  <a:pos x="T2" y="T3"/>
                </a:cxn>
                <a:cxn ang="0">
                  <a:pos x="T4" y="T5"/>
                </a:cxn>
                <a:cxn ang="0">
                  <a:pos x="T6" y="T7"/>
                </a:cxn>
                <a:cxn ang="0">
                  <a:pos x="T8" y="T9"/>
                </a:cxn>
                <a:cxn ang="0">
                  <a:pos x="T10" y="T11"/>
                </a:cxn>
                <a:cxn ang="0">
                  <a:pos x="T12" y="T13"/>
                </a:cxn>
              </a:cxnLst>
              <a:rect l="0" t="0" r="r" b="b"/>
              <a:pathLst>
                <a:path w="1406" h="269">
                  <a:moveTo>
                    <a:pt x="0" y="0"/>
                  </a:moveTo>
                  <a:lnTo>
                    <a:pt x="60" y="136"/>
                  </a:lnTo>
                  <a:lnTo>
                    <a:pt x="126" y="269"/>
                  </a:lnTo>
                  <a:lnTo>
                    <a:pt x="1282" y="269"/>
                  </a:lnTo>
                  <a:lnTo>
                    <a:pt x="1347" y="136"/>
                  </a:lnTo>
                  <a:lnTo>
                    <a:pt x="1406" y="0"/>
                  </a:lnTo>
                  <a:lnTo>
                    <a:pt x="0" y="0"/>
                  </a:lnTo>
                  <a:close/>
                </a:path>
              </a:pathLst>
            </a:custGeom>
            <a:solidFill>
              <a:srgbClr val="0045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2" name="Freeform 57">
              <a:extLst>
                <a:ext uri="{FF2B5EF4-FFF2-40B4-BE49-F238E27FC236}">
                  <a16:creationId xmlns:a16="http://schemas.microsoft.com/office/drawing/2014/main" id="{C8476C80-6289-2435-B7B2-1F649CF6D35D}"/>
                </a:ext>
              </a:extLst>
            </p:cNvPr>
            <p:cNvSpPr>
              <a:spLocks/>
            </p:cNvSpPr>
            <p:nvPr/>
          </p:nvSpPr>
          <p:spPr bwMode="auto">
            <a:xfrm>
              <a:off x="5927210" y="854046"/>
              <a:ext cx="337581" cy="322861"/>
            </a:xfrm>
            <a:custGeom>
              <a:avLst/>
              <a:gdLst>
                <a:gd name="T0" fmla="*/ 1376 w 1376"/>
                <a:gd name="T1" fmla="*/ 1313 h 1313"/>
                <a:gd name="T2" fmla="*/ 1318 w 1376"/>
                <a:gd name="T3" fmla="*/ 1165 h 1313"/>
                <a:gd name="T4" fmla="*/ 1200 w 1376"/>
                <a:gd name="T5" fmla="*/ 896 h 1313"/>
                <a:gd name="T6" fmla="*/ 1082 w 1376"/>
                <a:gd name="T7" fmla="*/ 654 h 1313"/>
                <a:gd name="T8" fmla="*/ 969 w 1376"/>
                <a:gd name="T9" fmla="*/ 447 h 1313"/>
                <a:gd name="T10" fmla="*/ 823 w 1376"/>
                <a:gd name="T11" fmla="*/ 200 h 1313"/>
                <a:gd name="T12" fmla="*/ 700 w 1376"/>
                <a:gd name="T13" fmla="*/ 17 h 1313"/>
                <a:gd name="T14" fmla="*/ 688 w 1376"/>
                <a:gd name="T15" fmla="*/ 0 h 1313"/>
                <a:gd name="T16" fmla="*/ 675 w 1376"/>
                <a:gd name="T17" fmla="*/ 17 h 1313"/>
                <a:gd name="T18" fmla="*/ 553 w 1376"/>
                <a:gd name="T19" fmla="*/ 200 h 1313"/>
                <a:gd name="T20" fmla="*/ 405 w 1376"/>
                <a:gd name="T21" fmla="*/ 447 h 1313"/>
                <a:gd name="T22" fmla="*/ 294 w 1376"/>
                <a:gd name="T23" fmla="*/ 654 h 1313"/>
                <a:gd name="T24" fmla="*/ 176 w 1376"/>
                <a:gd name="T25" fmla="*/ 896 h 1313"/>
                <a:gd name="T26" fmla="*/ 57 w 1376"/>
                <a:gd name="T27" fmla="*/ 1165 h 1313"/>
                <a:gd name="T28" fmla="*/ 0 w 1376"/>
                <a:gd name="T29" fmla="*/ 1313 h 1313"/>
                <a:gd name="T30" fmla="*/ 1376 w 1376"/>
                <a:gd name="T31" fmla="*/ 1313 h 1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76" h="1313">
                  <a:moveTo>
                    <a:pt x="1376" y="1313"/>
                  </a:moveTo>
                  <a:lnTo>
                    <a:pt x="1318" y="1165"/>
                  </a:lnTo>
                  <a:lnTo>
                    <a:pt x="1200" y="896"/>
                  </a:lnTo>
                  <a:lnTo>
                    <a:pt x="1082" y="654"/>
                  </a:lnTo>
                  <a:lnTo>
                    <a:pt x="969" y="447"/>
                  </a:lnTo>
                  <a:lnTo>
                    <a:pt x="823" y="200"/>
                  </a:lnTo>
                  <a:lnTo>
                    <a:pt x="700" y="17"/>
                  </a:lnTo>
                  <a:lnTo>
                    <a:pt x="688" y="0"/>
                  </a:lnTo>
                  <a:lnTo>
                    <a:pt x="675" y="17"/>
                  </a:lnTo>
                  <a:lnTo>
                    <a:pt x="553" y="200"/>
                  </a:lnTo>
                  <a:lnTo>
                    <a:pt x="405" y="447"/>
                  </a:lnTo>
                  <a:lnTo>
                    <a:pt x="294" y="654"/>
                  </a:lnTo>
                  <a:lnTo>
                    <a:pt x="176" y="896"/>
                  </a:lnTo>
                  <a:lnTo>
                    <a:pt x="57" y="1165"/>
                  </a:lnTo>
                  <a:lnTo>
                    <a:pt x="0" y="1313"/>
                  </a:lnTo>
                  <a:lnTo>
                    <a:pt x="1376" y="1313"/>
                  </a:lnTo>
                  <a:close/>
                </a:path>
              </a:pathLst>
            </a:custGeom>
            <a:solidFill>
              <a:srgbClr val="E041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3" name="Freeform 58">
              <a:extLst>
                <a:ext uri="{FF2B5EF4-FFF2-40B4-BE49-F238E27FC236}">
                  <a16:creationId xmlns:a16="http://schemas.microsoft.com/office/drawing/2014/main" id="{638DA5F2-404D-7FC9-B1EA-1DF651E8452A}"/>
                </a:ext>
              </a:extLst>
            </p:cNvPr>
            <p:cNvSpPr>
              <a:spLocks/>
            </p:cNvSpPr>
            <p:nvPr/>
          </p:nvSpPr>
          <p:spPr bwMode="auto">
            <a:xfrm>
              <a:off x="6067541" y="1828516"/>
              <a:ext cx="56918" cy="605487"/>
            </a:xfrm>
            <a:custGeom>
              <a:avLst/>
              <a:gdLst>
                <a:gd name="T0" fmla="*/ 0 w 232"/>
                <a:gd name="T1" fmla="*/ 1234 h 2468"/>
                <a:gd name="T2" fmla="*/ 2 w 232"/>
                <a:gd name="T3" fmla="*/ 1361 h 2468"/>
                <a:gd name="T4" fmla="*/ 11 w 232"/>
                <a:gd name="T5" fmla="*/ 1602 h 2468"/>
                <a:gd name="T6" fmla="*/ 37 w 232"/>
                <a:gd name="T7" fmla="*/ 1929 h 2468"/>
                <a:gd name="T8" fmla="*/ 103 w 232"/>
                <a:gd name="T9" fmla="*/ 2399 h 2468"/>
                <a:gd name="T10" fmla="*/ 117 w 232"/>
                <a:gd name="T11" fmla="*/ 2468 h 2468"/>
                <a:gd name="T12" fmla="*/ 131 w 232"/>
                <a:gd name="T13" fmla="*/ 2399 h 2468"/>
                <a:gd name="T14" fmla="*/ 196 w 232"/>
                <a:gd name="T15" fmla="*/ 1929 h 2468"/>
                <a:gd name="T16" fmla="*/ 222 w 232"/>
                <a:gd name="T17" fmla="*/ 1602 h 2468"/>
                <a:gd name="T18" fmla="*/ 232 w 232"/>
                <a:gd name="T19" fmla="*/ 1361 h 2468"/>
                <a:gd name="T20" fmla="*/ 232 w 232"/>
                <a:gd name="T21" fmla="*/ 1234 h 2468"/>
                <a:gd name="T22" fmla="*/ 231 w 232"/>
                <a:gd name="T23" fmla="*/ 983 h 2468"/>
                <a:gd name="T24" fmla="*/ 213 w 232"/>
                <a:gd name="T25" fmla="*/ 541 h 2468"/>
                <a:gd name="T26" fmla="*/ 191 w 232"/>
                <a:gd name="T27" fmla="*/ 282 h 2468"/>
                <a:gd name="T28" fmla="*/ 173 w 232"/>
                <a:gd name="T29" fmla="*/ 148 h 2468"/>
                <a:gd name="T30" fmla="*/ 151 w 232"/>
                <a:gd name="T31" fmla="*/ 55 h 2468"/>
                <a:gd name="T32" fmla="*/ 134 w 232"/>
                <a:gd name="T33" fmla="*/ 15 h 2468"/>
                <a:gd name="T34" fmla="*/ 122 w 232"/>
                <a:gd name="T35" fmla="*/ 2 h 2468"/>
                <a:gd name="T36" fmla="*/ 117 w 232"/>
                <a:gd name="T37" fmla="*/ 0 h 2468"/>
                <a:gd name="T38" fmla="*/ 110 w 232"/>
                <a:gd name="T39" fmla="*/ 2 h 2468"/>
                <a:gd name="T40" fmla="*/ 99 w 232"/>
                <a:gd name="T41" fmla="*/ 15 h 2468"/>
                <a:gd name="T42" fmla="*/ 82 w 232"/>
                <a:gd name="T43" fmla="*/ 55 h 2468"/>
                <a:gd name="T44" fmla="*/ 61 w 232"/>
                <a:gd name="T45" fmla="*/ 148 h 2468"/>
                <a:gd name="T46" fmla="*/ 43 w 232"/>
                <a:gd name="T47" fmla="*/ 282 h 2468"/>
                <a:gd name="T48" fmla="*/ 20 w 232"/>
                <a:gd name="T49" fmla="*/ 541 h 2468"/>
                <a:gd name="T50" fmla="*/ 2 w 232"/>
                <a:gd name="T51" fmla="*/ 983 h 2468"/>
                <a:gd name="T52" fmla="*/ 0 w 232"/>
                <a:gd name="T53" fmla="*/ 1234 h 2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2" h="2468">
                  <a:moveTo>
                    <a:pt x="0" y="1234"/>
                  </a:moveTo>
                  <a:lnTo>
                    <a:pt x="2" y="1361"/>
                  </a:lnTo>
                  <a:lnTo>
                    <a:pt x="11" y="1602"/>
                  </a:lnTo>
                  <a:lnTo>
                    <a:pt x="37" y="1929"/>
                  </a:lnTo>
                  <a:lnTo>
                    <a:pt x="103" y="2399"/>
                  </a:lnTo>
                  <a:lnTo>
                    <a:pt x="117" y="2468"/>
                  </a:lnTo>
                  <a:lnTo>
                    <a:pt x="131" y="2399"/>
                  </a:lnTo>
                  <a:lnTo>
                    <a:pt x="196" y="1929"/>
                  </a:lnTo>
                  <a:lnTo>
                    <a:pt x="222" y="1602"/>
                  </a:lnTo>
                  <a:lnTo>
                    <a:pt x="232" y="1361"/>
                  </a:lnTo>
                  <a:lnTo>
                    <a:pt x="232" y="1234"/>
                  </a:lnTo>
                  <a:lnTo>
                    <a:pt x="231" y="983"/>
                  </a:lnTo>
                  <a:lnTo>
                    <a:pt x="213" y="541"/>
                  </a:lnTo>
                  <a:lnTo>
                    <a:pt x="191" y="282"/>
                  </a:lnTo>
                  <a:lnTo>
                    <a:pt x="173" y="148"/>
                  </a:lnTo>
                  <a:lnTo>
                    <a:pt x="151" y="55"/>
                  </a:lnTo>
                  <a:lnTo>
                    <a:pt x="134" y="15"/>
                  </a:lnTo>
                  <a:lnTo>
                    <a:pt x="122" y="2"/>
                  </a:lnTo>
                  <a:lnTo>
                    <a:pt x="117" y="0"/>
                  </a:lnTo>
                  <a:lnTo>
                    <a:pt x="110" y="2"/>
                  </a:lnTo>
                  <a:lnTo>
                    <a:pt x="99" y="15"/>
                  </a:lnTo>
                  <a:lnTo>
                    <a:pt x="82" y="55"/>
                  </a:lnTo>
                  <a:lnTo>
                    <a:pt x="61" y="148"/>
                  </a:lnTo>
                  <a:lnTo>
                    <a:pt x="43" y="282"/>
                  </a:lnTo>
                  <a:lnTo>
                    <a:pt x="20" y="541"/>
                  </a:lnTo>
                  <a:lnTo>
                    <a:pt x="2" y="983"/>
                  </a:lnTo>
                  <a:lnTo>
                    <a:pt x="0" y="1234"/>
                  </a:lnTo>
                  <a:close/>
                </a:path>
              </a:pathLst>
            </a:custGeom>
            <a:solidFill>
              <a:srgbClr val="0045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4" name="Freeform 59">
              <a:extLst>
                <a:ext uri="{FF2B5EF4-FFF2-40B4-BE49-F238E27FC236}">
                  <a16:creationId xmlns:a16="http://schemas.microsoft.com/office/drawing/2014/main" id="{2C777187-A83F-DD2A-264A-482418E420F1}"/>
                </a:ext>
              </a:extLst>
            </p:cNvPr>
            <p:cNvSpPr>
              <a:spLocks/>
            </p:cNvSpPr>
            <p:nvPr/>
          </p:nvSpPr>
          <p:spPr bwMode="auto">
            <a:xfrm>
              <a:off x="5975295" y="1315275"/>
              <a:ext cx="241409" cy="241409"/>
            </a:xfrm>
            <a:custGeom>
              <a:avLst/>
              <a:gdLst>
                <a:gd name="T0" fmla="*/ 984 w 984"/>
                <a:gd name="T1" fmla="*/ 493 h 984"/>
                <a:gd name="T2" fmla="*/ 983 w 984"/>
                <a:gd name="T3" fmla="*/ 543 h 984"/>
                <a:gd name="T4" fmla="*/ 963 w 984"/>
                <a:gd name="T5" fmla="*/ 639 h 984"/>
                <a:gd name="T6" fmla="*/ 926 w 984"/>
                <a:gd name="T7" fmla="*/ 727 h 984"/>
                <a:gd name="T8" fmla="*/ 873 w 984"/>
                <a:gd name="T9" fmla="*/ 805 h 984"/>
                <a:gd name="T10" fmla="*/ 807 w 984"/>
                <a:gd name="T11" fmla="*/ 873 h 984"/>
                <a:gd name="T12" fmla="*/ 728 w 984"/>
                <a:gd name="T13" fmla="*/ 926 h 984"/>
                <a:gd name="T14" fmla="*/ 639 w 984"/>
                <a:gd name="T15" fmla="*/ 963 h 984"/>
                <a:gd name="T16" fmla="*/ 543 w 984"/>
                <a:gd name="T17" fmla="*/ 983 h 984"/>
                <a:gd name="T18" fmla="*/ 493 w 984"/>
                <a:gd name="T19" fmla="*/ 984 h 984"/>
                <a:gd name="T20" fmla="*/ 442 w 984"/>
                <a:gd name="T21" fmla="*/ 983 h 984"/>
                <a:gd name="T22" fmla="*/ 346 w 984"/>
                <a:gd name="T23" fmla="*/ 963 h 984"/>
                <a:gd name="T24" fmla="*/ 257 w 984"/>
                <a:gd name="T25" fmla="*/ 926 h 984"/>
                <a:gd name="T26" fmla="*/ 179 w 984"/>
                <a:gd name="T27" fmla="*/ 873 h 984"/>
                <a:gd name="T28" fmla="*/ 112 w 984"/>
                <a:gd name="T29" fmla="*/ 805 h 984"/>
                <a:gd name="T30" fmla="*/ 59 w 984"/>
                <a:gd name="T31" fmla="*/ 727 h 984"/>
                <a:gd name="T32" fmla="*/ 22 w 984"/>
                <a:gd name="T33" fmla="*/ 639 h 984"/>
                <a:gd name="T34" fmla="*/ 2 w 984"/>
                <a:gd name="T35" fmla="*/ 543 h 984"/>
                <a:gd name="T36" fmla="*/ 0 w 984"/>
                <a:gd name="T37" fmla="*/ 493 h 984"/>
                <a:gd name="T38" fmla="*/ 2 w 984"/>
                <a:gd name="T39" fmla="*/ 441 h 984"/>
                <a:gd name="T40" fmla="*/ 22 w 984"/>
                <a:gd name="T41" fmla="*/ 345 h 984"/>
                <a:gd name="T42" fmla="*/ 59 w 984"/>
                <a:gd name="T43" fmla="*/ 257 h 984"/>
                <a:gd name="T44" fmla="*/ 112 w 984"/>
                <a:gd name="T45" fmla="*/ 179 h 984"/>
                <a:gd name="T46" fmla="*/ 179 w 984"/>
                <a:gd name="T47" fmla="*/ 112 h 984"/>
                <a:gd name="T48" fmla="*/ 257 w 984"/>
                <a:gd name="T49" fmla="*/ 59 h 984"/>
                <a:gd name="T50" fmla="*/ 346 w 984"/>
                <a:gd name="T51" fmla="*/ 21 h 984"/>
                <a:gd name="T52" fmla="*/ 442 w 984"/>
                <a:gd name="T53" fmla="*/ 2 h 984"/>
                <a:gd name="T54" fmla="*/ 493 w 984"/>
                <a:gd name="T55" fmla="*/ 0 h 984"/>
                <a:gd name="T56" fmla="*/ 543 w 984"/>
                <a:gd name="T57" fmla="*/ 2 h 984"/>
                <a:gd name="T58" fmla="*/ 639 w 984"/>
                <a:gd name="T59" fmla="*/ 21 h 984"/>
                <a:gd name="T60" fmla="*/ 728 w 984"/>
                <a:gd name="T61" fmla="*/ 59 h 984"/>
                <a:gd name="T62" fmla="*/ 807 w 984"/>
                <a:gd name="T63" fmla="*/ 112 h 984"/>
                <a:gd name="T64" fmla="*/ 873 w 984"/>
                <a:gd name="T65" fmla="*/ 179 h 984"/>
                <a:gd name="T66" fmla="*/ 926 w 984"/>
                <a:gd name="T67" fmla="*/ 257 h 984"/>
                <a:gd name="T68" fmla="*/ 963 w 984"/>
                <a:gd name="T69" fmla="*/ 345 h 984"/>
                <a:gd name="T70" fmla="*/ 983 w 984"/>
                <a:gd name="T71" fmla="*/ 441 h 984"/>
                <a:gd name="T72" fmla="*/ 984 w 984"/>
                <a:gd name="T73" fmla="*/ 493 h 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4" h="984">
                  <a:moveTo>
                    <a:pt x="984" y="493"/>
                  </a:moveTo>
                  <a:lnTo>
                    <a:pt x="983" y="543"/>
                  </a:lnTo>
                  <a:lnTo>
                    <a:pt x="963" y="639"/>
                  </a:lnTo>
                  <a:lnTo>
                    <a:pt x="926" y="727"/>
                  </a:lnTo>
                  <a:lnTo>
                    <a:pt x="873" y="805"/>
                  </a:lnTo>
                  <a:lnTo>
                    <a:pt x="807" y="873"/>
                  </a:lnTo>
                  <a:lnTo>
                    <a:pt x="728" y="926"/>
                  </a:lnTo>
                  <a:lnTo>
                    <a:pt x="639" y="963"/>
                  </a:lnTo>
                  <a:lnTo>
                    <a:pt x="543" y="983"/>
                  </a:lnTo>
                  <a:lnTo>
                    <a:pt x="493" y="984"/>
                  </a:lnTo>
                  <a:lnTo>
                    <a:pt x="442" y="983"/>
                  </a:lnTo>
                  <a:lnTo>
                    <a:pt x="346" y="963"/>
                  </a:lnTo>
                  <a:lnTo>
                    <a:pt x="257" y="926"/>
                  </a:lnTo>
                  <a:lnTo>
                    <a:pt x="179" y="873"/>
                  </a:lnTo>
                  <a:lnTo>
                    <a:pt x="112" y="805"/>
                  </a:lnTo>
                  <a:lnTo>
                    <a:pt x="59" y="727"/>
                  </a:lnTo>
                  <a:lnTo>
                    <a:pt x="22" y="639"/>
                  </a:lnTo>
                  <a:lnTo>
                    <a:pt x="2" y="543"/>
                  </a:lnTo>
                  <a:lnTo>
                    <a:pt x="0" y="493"/>
                  </a:lnTo>
                  <a:lnTo>
                    <a:pt x="2" y="441"/>
                  </a:lnTo>
                  <a:lnTo>
                    <a:pt x="22" y="345"/>
                  </a:lnTo>
                  <a:lnTo>
                    <a:pt x="59" y="257"/>
                  </a:lnTo>
                  <a:lnTo>
                    <a:pt x="112" y="179"/>
                  </a:lnTo>
                  <a:lnTo>
                    <a:pt x="179" y="112"/>
                  </a:lnTo>
                  <a:lnTo>
                    <a:pt x="257" y="59"/>
                  </a:lnTo>
                  <a:lnTo>
                    <a:pt x="346" y="21"/>
                  </a:lnTo>
                  <a:lnTo>
                    <a:pt x="442" y="2"/>
                  </a:lnTo>
                  <a:lnTo>
                    <a:pt x="493" y="0"/>
                  </a:lnTo>
                  <a:lnTo>
                    <a:pt x="543" y="2"/>
                  </a:lnTo>
                  <a:lnTo>
                    <a:pt x="639" y="21"/>
                  </a:lnTo>
                  <a:lnTo>
                    <a:pt x="728" y="59"/>
                  </a:lnTo>
                  <a:lnTo>
                    <a:pt x="807" y="112"/>
                  </a:lnTo>
                  <a:lnTo>
                    <a:pt x="873" y="179"/>
                  </a:lnTo>
                  <a:lnTo>
                    <a:pt x="926" y="257"/>
                  </a:lnTo>
                  <a:lnTo>
                    <a:pt x="963" y="345"/>
                  </a:lnTo>
                  <a:lnTo>
                    <a:pt x="983" y="441"/>
                  </a:lnTo>
                  <a:lnTo>
                    <a:pt x="984" y="493"/>
                  </a:lnTo>
                  <a:close/>
                </a:path>
              </a:pathLst>
            </a:custGeom>
            <a:solidFill>
              <a:srgbClr val="FF42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5" name="Freeform 60">
              <a:extLst>
                <a:ext uri="{FF2B5EF4-FFF2-40B4-BE49-F238E27FC236}">
                  <a16:creationId xmlns:a16="http://schemas.microsoft.com/office/drawing/2014/main" id="{CB53C8D0-B9B4-A845-CEAF-A87DCEF7C1D6}"/>
                </a:ext>
              </a:extLst>
            </p:cNvPr>
            <p:cNvSpPr>
              <a:spLocks/>
            </p:cNvSpPr>
            <p:nvPr/>
          </p:nvSpPr>
          <p:spPr bwMode="auto">
            <a:xfrm>
              <a:off x="6006698" y="1346679"/>
              <a:ext cx="177623" cy="178604"/>
            </a:xfrm>
            <a:custGeom>
              <a:avLst/>
              <a:gdLst>
                <a:gd name="T0" fmla="*/ 726 w 726"/>
                <a:gd name="T1" fmla="*/ 364 h 727"/>
                <a:gd name="T2" fmla="*/ 725 w 726"/>
                <a:gd name="T3" fmla="*/ 400 h 727"/>
                <a:gd name="T4" fmla="*/ 710 w 726"/>
                <a:gd name="T5" fmla="*/ 471 h 727"/>
                <a:gd name="T6" fmla="*/ 682 w 726"/>
                <a:gd name="T7" fmla="*/ 536 h 727"/>
                <a:gd name="T8" fmla="*/ 643 w 726"/>
                <a:gd name="T9" fmla="*/ 595 h 727"/>
                <a:gd name="T10" fmla="*/ 594 w 726"/>
                <a:gd name="T11" fmla="*/ 644 h 727"/>
                <a:gd name="T12" fmla="*/ 537 w 726"/>
                <a:gd name="T13" fmla="*/ 683 h 727"/>
                <a:gd name="T14" fmla="*/ 470 w 726"/>
                <a:gd name="T15" fmla="*/ 710 h 727"/>
                <a:gd name="T16" fmla="*/ 400 w 726"/>
                <a:gd name="T17" fmla="*/ 725 h 727"/>
                <a:gd name="T18" fmla="*/ 363 w 726"/>
                <a:gd name="T19" fmla="*/ 727 h 727"/>
                <a:gd name="T20" fmla="*/ 325 w 726"/>
                <a:gd name="T21" fmla="*/ 725 h 727"/>
                <a:gd name="T22" fmla="*/ 254 w 726"/>
                <a:gd name="T23" fmla="*/ 710 h 727"/>
                <a:gd name="T24" fmla="*/ 189 w 726"/>
                <a:gd name="T25" fmla="*/ 683 h 727"/>
                <a:gd name="T26" fmla="*/ 131 w 726"/>
                <a:gd name="T27" fmla="*/ 644 h 727"/>
                <a:gd name="T28" fmla="*/ 82 w 726"/>
                <a:gd name="T29" fmla="*/ 595 h 727"/>
                <a:gd name="T30" fmla="*/ 43 w 726"/>
                <a:gd name="T31" fmla="*/ 536 h 727"/>
                <a:gd name="T32" fmla="*/ 16 w 726"/>
                <a:gd name="T33" fmla="*/ 471 h 727"/>
                <a:gd name="T34" fmla="*/ 1 w 726"/>
                <a:gd name="T35" fmla="*/ 400 h 727"/>
                <a:gd name="T36" fmla="*/ 0 w 726"/>
                <a:gd name="T37" fmla="*/ 364 h 727"/>
                <a:gd name="T38" fmla="*/ 1 w 726"/>
                <a:gd name="T39" fmla="*/ 326 h 727"/>
                <a:gd name="T40" fmla="*/ 16 w 726"/>
                <a:gd name="T41" fmla="*/ 255 h 727"/>
                <a:gd name="T42" fmla="*/ 43 w 726"/>
                <a:gd name="T43" fmla="*/ 190 h 727"/>
                <a:gd name="T44" fmla="*/ 82 w 726"/>
                <a:gd name="T45" fmla="*/ 132 h 727"/>
                <a:gd name="T46" fmla="*/ 131 w 726"/>
                <a:gd name="T47" fmla="*/ 83 h 727"/>
                <a:gd name="T48" fmla="*/ 189 w 726"/>
                <a:gd name="T49" fmla="*/ 44 h 727"/>
                <a:gd name="T50" fmla="*/ 254 w 726"/>
                <a:gd name="T51" fmla="*/ 17 h 727"/>
                <a:gd name="T52" fmla="*/ 325 w 726"/>
                <a:gd name="T53" fmla="*/ 1 h 727"/>
                <a:gd name="T54" fmla="*/ 363 w 726"/>
                <a:gd name="T55" fmla="*/ 0 h 727"/>
                <a:gd name="T56" fmla="*/ 400 w 726"/>
                <a:gd name="T57" fmla="*/ 1 h 727"/>
                <a:gd name="T58" fmla="*/ 470 w 726"/>
                <a:gd name="T59" fmla="*/ 17 h 727"/>
                <a:gd name="T60" fmla="*/ 537 w 726"/>
                <a:gd name="T61" fmla="*/ 44 h 727"/>
                <a:gd name="T62" fmla="*/ 594 w 726"/>
                <a:gd name="T63" fmla="*/ 83 h 727"/>
                <a:gd name="T64" fmla="*/ 643 w 726"/>
                <a:gd name="T65" fmla="*/ 132 h 727"/>
                <a:gd name="T66" fmla="*/ 682 w 726"/>
                <a:gd name="T67" fmla="*/ 190 h 727"/>
                <a:gd name="T68" fmla="*/ 710 w 726"/>
                <a:gd name="T69" fmla="*/ 255 h 727"/>
                <a:gd name="T70" fmla="*/ 725 w 726"/>
                <a:gd name="T71" fmla="*/ 326 h 727"/>
                <a:gd name="T72" fmla="*/ 726 w 726"/>
                <a:gd name="T73" fmla="*/ 364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26" h="727">
                  <a:moveTo>
                    <a:pt x="726" y="364"/>
                  </a:moveTo>
                  <a:lnTo>
                    <a:pt x="725" y="400"/>
                  </a:lnTo>
                  <a:lnTo>
                    <a:pt x="710" y="471"/>
                  </a:lnTo>
                  <a:lnTo>
                    <a:pt x="682" y="536"/>
                  </a:lnTo>
                  <a:lnTo>
                    <a:pt x="643" y="595"/>
                  </a:lnTo>
                  <a:lnTo>
                    <a:pt x="594" y="644"/>
                  </a:lnTo>
                  <a:lnTo>
                    <a:pt x="537" y="683"/>
                  </a:lnTo>
                  <a:lnTo>
                    <a:pt x="470" y="710"/>
                  </a:lnTo>
                  <a:lnTo>
                    <a:pt x="400" y="725"/>
                  </a:lnTo>
                  <a:lnTo>
                    <a:pt x="363" y="727"/>
                  </a:lnTo>
                  <a:lnTo>
                    <a:pt x="325" y="725"/>
                  </a:lnTo>
                  <a:lnTo>
                    <a:pt x="254" y="710"/>
                  </a:lnTo>
                  <a:lnTo>
                    <a:pt x="189" y="683"/>
                  </a:lnTo>
                  <a:lnTo>
                    <a:pt x="131" y="644"/>
                  </a:lnTo>
                  <a:lnTo>
                    <a:pt x="82" y="595"/>
                  </a:lnTo>
                  <a:lnTo>
                    <a:pt x="43" y="536"/>
                  </a:lnTo>
                  <a:lnTo>
                    <a:pt x="16" y="471"/>
                  </a:lnTo>
                  <a:lnTo>
                    <a:pt x="1" y="400"/>
                  </a:lnTo>
                  <a:lnTo>
                    <a:pt x="0" y="364"/>
                  </a:lnTo>
                  <a:lnTo>
                    <a:pt x="1" y="326"/>
                  </a:lnTo>
                  <a:lnTo>
                    <a:pt x="16" y="255"/>
                  </a:lnTo>
                  <a:lnTo>
                    <a:pt x="43" y="190"/>
                  </a:lnTo>
                  <a:lnTo>
                    <a:pt x="82" y="132"/>
                  </a:lnTo>
                  <a:lnTo>
                    <a:pt x="131" y="83"/>
                  </a:lnTo>
                  <a:lnTo>
                    <a:pt x="189" y="44"/>
                  </a:lnTo>
                  <a:lnTo>
                    <a:pt x="254" y="17"/>
                  </a:lnTo>
                  <a:lnTo>
                    <a:pt x="325" y="1"/>
                  </a:lnTo>
                  <a:lnTo>
                    <a:pt x="363" y="0"/>
                  </a:lnTo>
                  <a:lnTo>
                    <a:pt x="400" y="1"/>
                  </a:lnTo>
                  <a:lnTo>
                    <a:pt x="470" y="17"/>
                  </a:lnTo>
                  <a:lnTo>
                    <a:pt x="537" y="44"/>
                  </a:lnTo>
                  <a:lnTo>
                    <a:pt x="594" y="83"/>
                  </a:lnTo>
                  <a:lnTo>
                    <a:pt x="643" y="132"/>
                  </a:lnTo>
                  <a:lnTo>
                    <a:pt x="682" y="190"/>
                  </a:lnTo>
                  <a:lnTo>
                    <a:pt x="710" y="255"/>
                  </a:lnTo>
                  <a:lnTo>
                    <a:pt x="725" y="326"/>
                  </a:lnTo>
                  <a:lnTo>
                    <a:pt x="726" y="364"/>
                  </a:lnTo>
                  <a:close/>
                </a:path>
              </a:pathLst>
            </a:custGeom>
            <a:solidFill>
              <a:srgbClr val="3568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6" name="Freeform 61">
              <a:extLst>
                <a:ext uri="{FF2B5EF4-FFF2-40B4-BE49-F238E27FC236}">
                  <a16:creationId xmlns:a16="http://schemas.microsoft.com/office/drawing/2014/main" id="{05DC3D69-F4AE-602B-E595-C05441DB947A}"/>
                </a:ext>
              </a:extLst>
            </p:cNvPr>
            <p:cNvSpPr>
              <a:spLocks/>
            </p:cNvSpPr>
            <p:nvPr/>
          </p:nvSpPr>
          <p:spPr bwMode="auto">
            <a:xfrm>
              <a:off x="6120533" y="2171985"/>
              <a:ext cx="116780" cy="63788"/>
            </a:xfrm>
            <a:custGeom>
              <a:avLst/>
              <a:gdLst>
                <a:gd name="T0" fmla="*/ 0 w 476"/>
                <a:gd name="T1" fmla="*/ 260 h 260"/>
                <a:gd name="T2" fmla="*/ 476 w 476"/>
                <a:gd name="T3" fmla="*/ 260 h 260"/>
                <a:gd name="T4" fmla="*/ 476 w 476"/>
                <a:gd name="T5" fmla="*/ 0 h 260"/>
                <a:gd name="T6" fmla="*/ 13 w 476"/>
                <a:gd name="T7" fmla="*/ 0 h 260"/>
                <a:gd name="T8" fmla="*/ 8 w 476"/>
                <a:gd name="T9" fmla="*/ 134 h 260"/>
                <a:gd name="T10" fmla="*/ 0 w 476"/>
                <a:gd name="T11" fmla="*/ 260 h 260"/>
              </a:gdLst>
              <a:ahLst/>
              <a:cxnLst>
                <a:cxn ang="0">
                  <a:pos x="T0" y="T1"/>
                </a:cxn>
                <a:cxn ang="0">
                  <a:pos x="T2" y="T3"/>
                </a:cxn>
                <a:cxn ang="0">
                  <a:pos x="T4" y="T5"/>
                </a:cxn>
                <a:cxn ang="0">
                  <a:pos x="T6" y="T7"/>
                </a:cxn>
                <a:cxn ang="0">
                  <a:pos x="T8" y="T9"/>
                </a:cxn>
                <a:cxn ang="0">
                  <a:pos x="T10" y="T11"/>
                </a:cxn>
              </a:cxnLst>
              <a:rect l="0" t="0" r="r" b="b"/>
              <a:pathLst>
                <a:path w="476" h="260">
                  <a:moveTo>
                    <a:pt x="0" y="260"/>
                  </a:moveTo>
                  <a:lnTo>
                    <a:pt x="476" y="260"/>
                  </a:lnTo>
                  <a:lnTo>
                    <a:pt x="476" y="0"/>
                  </a:lnTo>
                  <a:lnTo>
                    <a:pt x="13" y="0"/>
                  </a:lnTo>
                  <a:lnTo>
                    <a:pt x="8" y="134"/>
                  </a:lnTo>
                  <a:lnTo>
                    <a:pt x="0" y="26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7" name="Freeform 62">
              <a:extLst>
                <a:ext uri="{FF2B5EF4-FFF2-40B4-BE49-F238E27FC236}">
                  <a16:creationId xmlns:a16="http://schemas.microsoft.com/office/drawing/2014/main" id="{49D4482C-DF33-2D08-8B6E-DE346768B6C3}"/>
                </a:ext>
              </a:extLst>
            </p:cNvPr>
            <p:cNvSpPr>
              <a:spLocks/>
            </p:cNvSpPr>
            <p:nvPr/>
          </p:nvSpPr>
          <p:spPr bwMode="auto">
            <a:xfrm>
              <a:off x="6277547" y="1828516"/>
              <a:ext cx="259074" cy="605487"/>
            </a:xfrm>
            <a:custGeom>
              <a:avLst/>
              <a:gdLst>
                <a:gd name="T0" fmla="*/ 705 w 1056"/>
                <a:gd name="T1" fmla="*/ 0 h 2468"/>
                <a:gd name="T2" fmla="*/ 692 w 1056"/>
                <a:gd name="T3" fmla="*/ 25 h 2468"/>
                <a:gd name="T4" fmla="*/ 664 w 1056"/>
                <a:gd name="T5" fmla="*/ 66 h 2468"/>
                <a:gd name="T6" fmla="*/ 613 w 1056"/>
                <a:gd name="T7" fmla="*/ 121 h 2468"/>
                <a:gd name="T8" fmla="*/ 537 w 1056"/>
                <a:gd name="T9" fmla="*/ 173 h 2468"/>
                <a:gd name="T10" fmla="*/ 455 w 1056"/>
                <a:gd name="T11" fmla="*/ 208 h 2468"/>
                <a:gd name="T12" fmla="*/ 376 w 1056"/>
                <a:gd name="T13" fmla="*/ 228 h 2468"/>
                <a:gd name="T14" fmla="*/ 307 w 1056"/>
                <a:gd name="T15" fmla="*/ 240 h 2468"/>
                <a:gd name="T16" fmla="*/ 233 w 1056"/>
                <a:gd name="T17" fmla="*/ 244 h 2468"/>
                <a:gd name="T18" fmla="*/ 223 w 1056"/>
                <a:gd name="T19" fmla="*/ 244 h 2468"/>
                <a:gd name="T20" fmla="*/ 222 w 1056"/>
                <a:gd name="T21" fmla="*/ 244 h 2468"/>
                <a:gd name="T22" fmla="*/ 202 w 1056"/>
                <a:gd name="T23" fmla="*/ 357 h 2468"/>
                <a:gd name="T24" fmla="*/ 154 w 1056"/>
                <a:gd name="T25" fmla="*/ 568 h 2468"/>
                <a:gd name="T26" fmla="*/ 99 w 1056"/>
                <a:gd name="T27" fmla="*/ 765 h 2468"/>
                <a:gd name="T28" fmla="*/ 35 w 1056"/>
                <a:gd name="T29" fmla="*/ 950 h 2468"/>
                <a:gd name="T30" fmla="*/ 0 w 1056"/>
                <a:gd name="T31" fmla="*/ 1040 h 2468"/>
                <a:gd name="T32" fmla="*/ 56 w 1056"/>
                <a:gd name="T33" fmla="*/ 1072 h 2468"/>
                <a:gd name="T34" fmla="*/ 159 w 1056"/>
                <a:gd name="T35" fmla="*/ 1150 h 2468"/>
                <a:gd name="T36" fmla="*/ 255 w 1056"/>
                <a:gd name="T37" fmla="*/ 1242 h 2468"/>
                <a:gd name="T38" fmla="*/ 343 w 1056"/>
                <a:gd name="T39" fmla="*/ 1346 h 2468"/>
                <a:gd name="T40" fmla="*/ 423 w 1056"/>
                <a:gd name="T41" fmla="*/ 1457 h 2468"/>
                <a:gd name="T42" fmla="*/ 493 w 1056"/>
                <a:gd name="T43" fmla="*/ 1575 h 2468"/>
                <a:gd name="T44" fmla="*/ 556 w 1056"/>
                <a:gd name="T45" fmla="*/ 1696 h 2468"/>
                <a:gd name="T46" fmla="*/ 613 w 1056"/>
                <a:gd name="T47" fmla="*/ 1816 h 2468"/>
                <a:gd name="T48" fmla="*/ 684 w 1056"/>
                <a:gd name="T49" fmla="*/ 1994 h 2468"/>
                <a:gd name="T50" fmla="*/ 754 w 1056"/>
                <a:gd name="T51" fmla="*/ 2205 h 2468"/>
                <a:gd name="T52" fmla="*/ 815 w 1056"/>
                <a:gd name="T53" fmla="*/ 2434 h 2468"/>
                <a:gd name="T54" fmla="*/ 822 w 1056"/>
                <a:gd name="T55" fmla="*/ 2468 h 2468"/>
                <a:gd name="T56" fmla="*/ 849 w 1056"/>
                <a:gd name="T57" fmla="*/ 2407 h 2468"/>
                <a:gd name="T58" fmla="*/ 897 w 1056"/>
                <a:gd name="T59" fmla="*/ 2285 h 2468"/>
                <a:gd name="T60" fmla="*/ 957 w 1056"/>
                <a:gd name="T61" fmla="*/ 2104 h 2468"/>
                <a:gd name="T62" fmla="*/ 1011 w 1056"/>
                <a:gd name="T63" fmla="*/ 1868 h 2468"/>
                <a:gd name="T64" fmla="*/ 1043 w 1056"/>
                <a:gd name="T65" fmla="*/ 1639 h 2468"/>
                <a:gd name="T66" fmla="*/ 1056 w 1056"/>
                <a:gd name="T67" fmla="*/ 1420 h 2468"/>
                <a:gd name="T68" fmla="*/ 1051 w 1056"/>
                <a:gd name="T69" fmla="*/ 1210 h 2468"/>
                <a:gd name="T70" fmla="*/ 1032 w 1056"/>
                <a:gd name="T71" fmla="*/ 1013 h 2468"/>
                <a:gd name="T72" fmla="*/ 1002 w 1056"/>
                <a:gd name="T73" fmla="*/ 829 h 2468"/>
                <a:gd name="T74" fmla="*/ 964 w 1056"/>
                <a:gd name="T75" fmla="*/ 659 h 2468"/>
                <a:gd name="T76" fmla="*/ 920 w 1056"/>
                <a:gd name="T77" fmla="*/ 504 h 2468"/>
                <a:gd name="T78" fmla="*/ 850 w 1056"/>
                <a:gd name="T79" fmla="*/ 305 h 2468"/>
                <a:gd name="T80" fmla="*/ 727 w 1056"/>
                <a:gd name="T81" fmla="*/ 37 h 2468"/>
                <a:gd name="T82" fmla="*/ 705 w 1056"/>
                <a:gd name="T83" fmla="*/ 0 h 2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56" h="2468">
                  <a:moveTo>
                    <a:pt x="705" y="0"/>
                  </a:moveTo>
                  <a:lnTo>
                    <a:pt x="692" y="25"/>
                  </a:lnTo>
                  <a:lnTo>
                    <a:pt x="664" y="66"/>
                  </a:lnTo>
                  <a:lnTo>
                    <a:pt x="613" y="121"/>
                  </a:lnTo>
                  <a:lnTo>
                    <a:pt x="537" y="173"/>
                  </a:lnTo>
                  <a:lnTo>
                    <a:pt x="455" y="208"/>
                  </a:lnTo>
                  <a:lnTo>
                    <a:pt x="376" y="228"/>
                  </a:lnTo>
                  <a:lnTo>
                    <a:pt x="307" y="240"/>
                  </a:lnTo>
                  <a:lnTo>
                    <a:pt x="233" y="244"/>
                  </a:lnTo>
                  <a:lnTo>
                    <a:pt x="223" y="244"/>
                  </a:lnTo>
                  <a:lnTo>
                    <a:pt x="222" y="244"/>
                  </a:lnTo>
                  <a:lnTo>
                    <a:pt x="202" y="357"/>
                  </a:lnTo>
                  <a:lnTo>
                    <a:pt x="154" y="568"/>
                  </a:lnTo>
                  <a:lnTo>
                    <a:pt x="99" y="765"/>
                  </a:lnTo>
                  <a:lnTo>
                    <a:pt x="35" y="950"/>
                  </a:lnTo>
                  <a:lnTo>
                    <a:pt x="0" y="1040"/>
                  </a:lnTo>
                  <a:lnTo>
                    <a:pt x="56" y="1072"/>
                  </a:lnTo>
                  <a:lnTo>
                    <a:pt x="159" y="1150"/>
                  </a:lnTo>
                  <a:lnTo>
                    <a:pt x="255" y="1242"/>
                  </a:lnTo>
                  <a:lnTo>
                    <a:pt x="343" y="1346"/>
                  </a:lnTo>
                  <a:lnTo>
                    <a:pt x="423" y="1457"/>
                  </a:lnTo>
                  <a:lnTo>
                    <a:pt x="493" y="1575"/>
                  </a:lnTo>
                  <a:lnTo>
                    <a:pt x="556" y="1696"/>
                  </a:lnTo>
                  <a:lnTo>
                    <a:pt x="613" y="1816"/>
                  </a:lnTo>
                  <a:lnTo>
                    <a:pt x="684" y="1994"/>
                  </a:lnTo>
                  <a:lnTo>
                    <a:pt x="754" y="2205"/>
                  </a:lnTo>
                  <a:lnTo>
                    <a:pt x="815" y="2434"/>
                  </a:lnTo>
                  <a:lnTo>
                    <a:pt x="822" y="2468"/>
                  </a:lnTo>
                  <a:lnTo>
                    <a:pt x="849" y="2407"/>
                  </a:lnTo>
                  <a:lnTo>
                    <a:pt x="897" y="2285"/>
                  </a:lnTo>
                  <a:lnTo>
                    <a:pt x="957" y="2104"/>
                  </a:lnTo>
                  <a:lnTo>
                    <a:pt x="1011" y="1868"/>
                  </a:lnTo>
                  <a:lnTo>
                    <a:pt x="1043" y="1639"/>
                  </a:lnTo>
                  <a:lnTo>
                    <a:pt x="1056" y="1420"/>
                  </a:lnTo>
                  <a:lnTo>
                    <a:pt x="1051" y="1210"/>
                  </a:lnTo>
                  <a:lnTo>
                    <a:pt x="1032" y="1013"/>
                  </a:lnTo>
                  <a:lnTo>
                    <a:pt x="1002" y="829"/>
                  </a:lnTo>
                  <a:lnTo>
                    <a:pt x="964" y="659"/>
                  </a:lnTo>
                  <a:lnTo>
                    <a:pt x="920" y="504"/>
                  </a:lnTo>
                  <a:lnTo>
                    <a:pt x="850" y="305"/>
                  </a:lnTo>
                  <a:lnTo>
                    <a:pt x="727" y="37"/>
                  </a:lnTo>
                  <a:lnTo>
                    <a:pt x="705" y="0"/>
                  </a:lnTo>
                  <a:close/>
                </a:path>
              </a:pathLst>
            </a:custGeom>
            <a:solidFill>
              <a:srgbClr val="0045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8" name="Freeform 65">
              <a:extLst>
                <a:ext uri="{FF2B5EF4-FFF2-40B4-BE49-F238E27FC236}">
                  <a16:creationId xmlns:a16="http://schemas.microsoft.com/office/drawing/2014/main" id="{E42EE45F-A740-88FF-5601-80DFBAEC452F}"/>
                </a:ext>
              </a:extLst>
            </p:cNvPr>
            <p:cNvSpPr>
              <a:spLocks/>
            </p:cNvSpPr>
            <p:nvPr/>
          </p:nvSpPr>
          <p:spPr bwMode="auto">
            <a:xfrm>
              <a:off x="6096000" y="867785"/>
              <a:ext cx="256130" cy="1238451"/>
            </a:xfrm>
            <a:custGeom>
              <a:avLst/>
              <a:gdLst>
                <a:gd name="T0" fmla="*/ 1042 w 1043"/>
                <a:gd name="T1" fmla="*/ 2933 h 5047"/>
                <a:gd name="T2" fmla="*/ 990 w 1043"/>
                <a:gd name="T3" fmla="*/ 2378 h 5047"/>
                <a:gd name="T4" fmla="*/ 881 w 1043"/>
                <a:gd name="T5" fmla="*/ 1860 h 5047"/>
                <a:gd name="T6" fmla="*/ 735 w 1043"/>
                <a:gd name="T7" fmla="*/ 1386 h 5047"/>
                <a:gd name="T8" fmla="*/ 568 w 1043"/>
                <a:gd name="T9" fmla="*/ 963 h 5047"/>
                <a:gd name="T10" fmla="*/ 352 w 1043"/>
                <a:gd name="T11" fmla="*/ 521 h 5047"/>
                <a:gd name="T12" fmla="*/ 76 w 1043"/>
                <a:gd name="T13" fmla="*/ 58 h 5047"/>
                <a:gd name="T14" fmla="*/ 83 w 1043"/>
                <a:gd name="T15" fmla="*/ 66 h 5047"/>
                <a:gd name="T16" fmla="*/ 355 w 1043"/>
                <a:gd name="T17" fmla="*/ 528 h 5047"/>
                <a:gd name="T18" fmla="*/ 546 w 1043"/>
                <a:gd name="T19" fmla="*/ 915 h 5047"/>
                <a:gd name="T20" fmla="*/ 688 w 1043"/>
                <a:gd name="T21" fmla="*/ 1260 h 5047"/>
                <a:gd name="T22" fmla="*/ 0 w 1043"/>
                <a:gd name="T23" fmla="*/ 1826 h 5047"/>
                <a:gd name="T24" fmla="*/ 146 w 1043"/>
                <a:gd name="T25" fmla="*/ 1847 h 5047"/>
                <a:gd name="T26" fmla="*/ 314 w 1043"/>
                <a:gd name="T27" fmla="*/ 1938 h 5047"/>
                <a:gd name="T28" fmla="*/ 433 w 1043"/>
                <a:gd name="T29" fmla="*/ 2083 h 5047"/>
                <a:gd name="T30" fmla="*/ 490 w 1043"/>
                <a:gd name="T31" fmla="*/ 2268 h 5047"/>
                <a:gd name="T32" fmla="*/ 490 w 1043"/>
                <a:gd name="T33" fmla="*/ 2369 h 5047"/>
                <a:gd name="T34" fmla="*/ 433 w 1043"/>
                <a:gd name="T35" fmla="*/ 2553 h 5047"/>
                <a:gd name="T36" fmla="*/ 314 w 1043"/>
                <a:gd name="T37" fmla="*/ 2699 h 5047"/>
                <a:gd name="T38" fmla="*/ 146 w 1043"/>
                <a:gd name="T39" fmla="*/ 2789 h 5047"/>
                <a:gd name="T40" fmla="*/ 0 w 1043"/>
                <a:gd name="T41" fmla="*/ 2810 h 5047"/>
                <a:gd name="T42" fmla="*/ 5 w 1043"/>
                <a:gd name="T43" fmla="*/ 3920 h 5047"/>
                <a:gd name="T44" fmla="*/ 32 w 1043"/>
                <a:gd name="T45" fmla="*/ 3968 h 5047"/>
                <a:gd name="T46" fmla="*/ 70 w 1043"/>
                <a:gd name="T47" fmla="*/ 4172 h 5047"/>
                <a:gd name="T48" fmla="*/ 111 w 1043"/>
                <a:gd name="T49" fmla="*/ 4815 h 5047"/>
                <a:gd name="T50" fmla="*/ 702 w 1043"/>
                <a:gd name="T51" fmla="*/ 5047 h 5047"/>
                <a:gd name="T52" fmla="*/ 740 w 1043"/>
                <a:gd name="T53" fmla="*/ 4958 h 5047"/>
                <a:gd name="T54" fmla="*/ 839 w 1043"/>
                <a:gd name="T55" fmla="*/ 4683 h 5047"/>
                <a:gd name="T56" fmla="*/ 942 w 1043"/>
                <a:gd name="T57" fmla="*/ 4275 h 5047"/>
                <a:gd name="T58" fmla="*/ 981 w 1043"/>
                <a:gd name="T59" fmla="*/ 4047 h 5047"/>
                <a:gd name="T60" fmla="*/ 1032 w 1043"/>
                <a:gd name="T61" fmla="*/ 3529 h 5047"/>
                <a:gd name="T62" fmla="*/ 1043 w 1043"/>
                <a:gd name="T63" fmla="*/ 3076 h 5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43" h="5047">
                  <a:moveTo>
                    <a:pt x="1043" y="3076"/>
                  </a:moveTo>
                  <a:lnTo>
                    <a:pt x="1042" y="2933"/>
                  </a:lnTo>
                  <a:lnTo>
                    <a:pt x="1024" y="2652"/>
                  </a:lnTo>
                  <a:lnTo>
                    <a:pt x="990" y="2378"/>
                  </a:lnTo>
                  <a:lnTo>
                    <a:pt x="941" y="2115"/>
                  </a:lnTo>
                  <a:lnTo>
                    <a:pt x="881" y="1860"/>
                  </a:lnTo>
                  <a:lnTo>
                    <a:pt x="813" y="1616"/>
                  </a:lnTo>
                  <a:lnTo>
                    <a:pt x="735" y="1386"/>
                  </a:lnTo>
                  <a:lnTo>
                    <a:pt x="653" y="1168"/>
                  </a:lnTo>
                  <a:lnTo>
                    <a:pt x="568" y="963"/>
                  </a:lnTo>
                  <a:lnTo>
                    <a:pt x="481" y="775"/>
                  </a:lnTo>
                  <a:lnTo>
                    <a:pt x="352" y="521"/>
                  </a:lnTo>
                  <a:lnTo>
                    <a:pt x="198" y="249"/>
                  </a:lnTo>
                  <a:lnTo>
                    <a:pt x="76" y="58"/>
                  </a:lnTo>
                  <a:lnTo>
                    <a:pt x="37" y="0"/>
                  </a:lnTo>
                  <a:lnTo>
                    <a:pt x="83" y="66"/>
                  </a:lnTo>
                  <a:lnTo>
                    <a:pt x="223" y="290"/>
                  </a:lnTo>
                  <a:lnTo>
                    <a:pt x="355" y="528"/>
                  </a:lnTo>
                  <a:lnTo>
                    <a:pt x="448" y="710"/>
                  </a:lnTo>
                  <a:lnTo>
                    <a:pt x="546" y="915"/>
                  </a:lnTo>
                  <a:lnTo>
                    <a:pt x="641" y="1139"/>
                  </a:lnTo>
                  <a:lnTo>
                    <a:pt x="688" y="1260"/>
                  </a:lnTo>
                  <a:lnTo>
                    <a:pt x="0" y="1260"/>
                  </a:lnTo>
                  <a:lnTo>
                    <a:pt x="0" y="1826"/>
                  </a:lnTo>
                  <a:lnTo>
                    <a:pt x="50" y="1828"/>
                  </a:lnTo>
                  <a:lnTo>
                    <a:pt x="146" y="1847"/>
                  </a:lnTo>
                  <a:lnTo>
                    <a:pt x="235" y="1885"/>
                  </a:lnTo>
                  <a:lnTo>
                    <a:pt x="314" y="1938"/>
                  </a:lnTo>
                  <a:lnTo>
                    <a:pt x="380" y="2005"/>
                  </a:lnTo>
                  <a:lnTo>
                    <a:pt x="433" y="2083"/>
                  </a:lnTo>
                  <a:lnTo>
                    <a:pt x="470" y="2171"/>
                  </a:lnTo>
                  <a:lnTo>
                    <a:pt x="490" y="2268"/>
                  </a:lnTo>
                  <a:lnTo>
                    <a:pt x="491" y="2319"/>
                  </a:lnTo>
                  <a:lnTo>
                    <a:pt x="490" y="2369"/>
                  </a:lnTo>
                  <a:lnTo>
                    <a:pt x="470" y="2465"/>
                  </a:lnTo>
                  <a:lnTo>
                    <a:pt x="433" y="2553"/>
                  </a:lnTo>
                  <a:lnTo>
                    <a:pt x="380" y="2631"/>
                  </a:lnTo>
                  <a:lnTo>
                    <a:pt x="314" y="2699"/>
                  </a:lnTo>
                  <a:lnTo>
                    <a:pt x="235" y="2752"/>
                  </a:lnTo>
                  <a:lnTo>
                    <a:pt x="146" y="2789"/>
                  </a:lnTo>
                  <a:lnTo>
                    <a:pt x="50" y="2809"/>
                  </a:lnTo>
                  <a:lnTo>
                    <a:pt x="0" y="2810"/>
                  </a:lnTo>
                  <a:lnTo>
                    <a:pt x="0" y="3918"/>
                  </a:lnTo>
                  <a:lnTo>
                    <a:pt x="5" y="3920"/>
                  </a:lnTo>
                  <a:lnTo>
                    <a:pt x="17" y="3931"/>
                  </a:lnTo>
                  <a:lnTo>
                    <a:pt x="32" y="3968"/>
                  </a:lnTo>
                  <a:lnTo>
                    <a:pt x="53" y="4052"/>
                  </a:lnTo>
                  <a:lnTo>
                    <a:pt x="70" y="4172"/>
                  </a:lnTo>
                  <a:lnTo>
                    <a:pt x="93" y="4408"/>
                  </a:lnTo>
                  <a:lnTo>
                    <a:pt x="111" y="4815"/>
                  </a:lnTo>
                  <a:lnTo>
                    <a:pt x="115" y="5047"/>
                  </a:lnTo>
                  <a:lnTo>
                    <a:pt x="702" y="5047"/>
                  </a:lnTo>
                  <a:lnTo>
                    <a:pt x="722" y="5003"/>
                  </a:lnTo>
                  <a:lnTo>
                    <a:pt x="740" y="4958"/>
                  </a:lnTo>
                  <a:lnTo>
                    <a:pt x="775" y="4868"/>
                  </a:lnTo>
                  <a:lnTo>
                    <a:pt x="839" y="4683"/>
                  </a:lnTo>
                  <a:lnTo>
                    <a:pt x="894" y="4486"/>
                  </a:lnTo>
                  <a:lnTo>
                    <a:pt x="942" y="4275"/>
                  </a:lnTo>
                  <a:lnTo>
                    <a:pt x="962" y="4162"/>
                  </a:lnTo>
                  <a:lnTo>
                    <a:pt x="981" y="4047"/>
                  </a:lnTo>
                  <a:lnTo>
                    <a:pt x="1011" y="3799"/>
                  </a:lnTo>
                  <a:lnTo>
                    <a:pt x="1032" y="3529"/>
                  </a:lnTo>
                  <a:lnTo>
                    <a:pt x="1043" y="3235"/>
                  </a:lnTo>
                  <a:lnTo>
                    <a:pt x="1043" y="3076"/>
                  </a:lnTo>
                  <a:close/>
                </a:path>
              </a:pathLst>
            </a:custGeom>
            <a:solidFill>
              <a:srgbClr val="EDD6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9" name="Freeform 66">
              <a:extLst>
                <a:ext uri="{FF2B5EF4-FFF2-40B4-BE49-F238E27FC236}">
                  <a16:creationId xmlns:a16="http://schemas.microsoft.com/office/drawing/2014/main" id="{96BB18AC-2F31-96E1-9565-26896CE1EF3B}"/>
                </a:ext>
              </a:extLst>
            </p:cNvPr>
            <p:cNvSpPr>
              <a:spLocks/>
            </p:cNvSpPr>
            <p:nvPr/>
          </p:nvSpPr>
          <p:spPr bwMode="auto">
            <a:xfrm>
              <a:off x="6237313" y="2140582"/>
              <a:ext cx="15701" cy="31403"/>
            </a:xfrm>
            <a:custGeom>
              <a:avLst/>
              <a:gdLst>
                <a:gd name="T0" fmla="*/ 62 w 62"/>
                <a:gd name="T1" fmla="*/ 0 h 128"/>
                <a:gd name="T2" fmla="*/ 31 w 62"/>
                <a:gd name="T3" fmla="*/ 64 h 128"/>
                <a:gd name="T4" fmla="*/ 0 w 62"/>
                <a:gd name="T5" fmla="*/ 128 h 128"/>
                <a:gd name="T6" fmla="*/ 31 w 62"/>
                <a:gd name="T7" fmla="*/ 64 h 128"/>
                <a:gd name="T8" fmla="*/ 62 w 62"/>
                <a:gd name="T9" fmla="*/ 0 h 128"/>
              </a:gdLst>
              <a:ahLst/>
              <a:cxnLst>
                <a:cxn ang="0">
                  <a:pos x="T0" y="T1"/>
                </a:cxn>
                <a:cxn ang="0">
                  <a:pos x="T2" y="T3"/>
                </a:cxn>
                <a:cxn ang="0">
                  <a:pos x="T4" y="T5"/>
                </a:cxn>
                <a:cxn ang="0">
                  <a:pos x="T6" y="T7"/>
                </a:cxn>
                <a:cxn ang="0">
                  <a:pos x="T8" y="T9"/>
                </a:cxn>
              </a:cxnLst>
              <a:rect l="0" t="0" r="r" b="b"/>
              <a:pathLst>
                <a:path w="62" h="128">
                  <a:moveTo>
                    <a:pt x="62" y="0"/>
                  </a:moveTo>
                  <a:lnTo>
                    <a:pt x="31" y="64"/>
                  </a:lnTo>
                  <a:lnTo>
                    <a:pt x="0" y="128"/>
                  </a:lnTo>
                  <a:lnTo>
                    <a:pt x="31" y="64"/>
                  </a:lnTo>
                  <a:lnTo>
                    <a:pt x="62" y="0"/>
                  </a:lnTo>
                  <a:close/>
                </a:path>
              </a:pathLst>
            </a:custGeom>
            <a:solidFill>
              <a:srgbClr val="FCFD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0" name="Freeform 68">
              <a:extLst>
                <a:ext uri="{FF2B5EF4-FFF2-40B4-BE49-F238E27FC236}">
                  <a16:creationId xmlns:a16="http://schemas.microsoft.com/office/drawing/2014/main" id="{092357E3-C591-C46F-F94E-3E90A034B445}"/>
                </a:ext>
              </a:extLst>
            </p:cNvPr>
            <p:cNvSpPr>
              <a:spLocks/>
            </p:cNvSpPr>
            <p:nvPr/>
          </p:nvSpPr>
          <p:spPr bwMode="auto">
            <a:xfrm>
              <a:off x="6253995" y="2106235"/>
              <a:ext cx="13739" cy="31403"/>
            </a:xfrm>
            <a:custGeom>
              <a:avLst/>
              <a:gdLst>
                <a:gd name="T0" fmla="*/ 58 w 58"/>
                <a:gd name="T1" fmla="*/ 0 h 131"/>
                <a:gd name="T2" fmla="*/ 30 w 58"/>
                <a:gd name="T3" fmla="*/ 66 h 131"/>
                <a:gd name="T4" fmla="*/ 0 w 58"/>
                <a:gd name="T5" fmla="*/ 131 h 131"/>
                <a:gd name="T6" fmla="*/ 30 w 58"/>
                <a:gd name="T7" fmla="*/ 66 h 131"/>
                <a:gd name="T8" fmla="*/ 58 w 58"/>
                <a:gd name="T9" fmla="*/ 0 h 131"/>
              </a:gdLst>
              <a:ahLst/>
              <a:cxnLst>
                <a:cxn ang="0">
                  <a:pos x="T0" y="T1"/>
                </a:cxn>
                <a:cxn ang="0">
                  <a:pos x="T2" y="T3"/>
                </a:cxn>
                <a:cxn ang="0">
                  <a:pos x="T4" y="T5"/>
                </a:cxn>
                <a:cxn ang="0">
                  <a:pos x="T6" y="T7"/>
                </a:cxn>
                <a:cxn ang="0">
                  <a:pos x="T8" y="T9"/>
                </a:cxn>
              </a:cxnLst>
              <a:rect l="0" t="0" r="r" b="b"/>
              <a:pathLst>
                <a:path w="58" h="131">
                  <a:moveTo>
                    <a:pt x="58" y="0"/>
                  </a:moveTo>
                  <a:lnTo>
                    <a:pt x="30" y="66"/>
                  </a:lnTo>
                  <a:lnTo>
                    <a:pt x="0" y="131"/>
                  </a:lnTo>
                  <a:lnTo>
                    <a:pt x="30" y="66"/>
                  </a:lnTo>
                  <a:lnTo>
                    <a:pt x="58" y="0"/>
                  </a:lnTo>
                  <a:close/>
                </a:path>
              </a:pathLst>
            </a:custGeom>
            <a:solidFill>
              <a:srgbClr val="FCFD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1" name="Freeform 69">
              <a:extLst>
                <a:ext uri="{FF2B5EF4-FFF2-40B4-BE49-F238E27FC236}">
                  <a16:creationId xmlns:a16="http://schemas.microsoft.com/office/drawing/2014/main" id="{35872814-9A0D-14F3-B768-8A84F9BF68F1}"/>
                </a:ext>
              </a:extLst>
            </p:cNvPr>
            <p:cNvSpPr>
              <a:spLocks/>
            </p:cNvSpPr>
            <p:nvPr/>
          </p:nvSpPr>
          <p:spPr bwMode="auto">
            <a:xfrm>
              <a:off x="6096000" y="854046"/>
              <a:ext cx="168790" cy="322861"/>
            </a:xfrm>
            <a:custGeom>
              <a:avLst/>
              <a:gdLst>
                <a:gd name="T0" fmla="*/ 37 w 688"/>
                <a:gd name="T1" fmla="*/ 53 h 1313"/>
                <a:gd name="T2" fmla="*/ 37 w 688"/>
                <a:gd name="T3" fmla="*/ 53 h 1313"/>
                <a:gd name="T4" fmla="*/ 37 w 688"/>
                <a:gd name="T5" fmla="*/ 53 h 1313"/>
                <a:gd name="T6" fmla="*/ 27 w 688"/>
                <a:gd name="T7" fmla="*/ 39 h 1313"/>
                <a:gd name="T8" fmla="*/ 19 w 688"/>
                <a:gd name="T9" fmla="*/ 27 h 1313"/>
                <a:gd name="T10" fmla="*/ 17 w 688"/>
                <a:gd name="T11" fmla="*/ 23 h 1313"/>
                <a:gd name="T12" fmla="*/ 14 w 688"/>
                <a:gd name="T13" fmla="*/ 21 h 1313"/>
                <a:gd name="T14" fmla="*/ 12 w 688"/>
                <a:gd name="T15" fmla="*/ 17 h 1313"/>
                <a:gd name="T16" fmla="*/ 9 w 688"/>
                <a:gd name="T17" fmla="*/ 14 h 1313"/>
                <a:gd name="T18" fmla="*/ 6 w 688"/>
                <a:gd name="T19" fmla="*/ 9 h 1313"/>
                <a:gd name="T20" fmla="*/ 4 w 688"/>
                <a:gd name="T21" fmla="*/ 5 h 1313"/>
                <a:gd name="T22" fmla="*/ 3 w 688"/>
                <a:gd name="T23" fmla="*/ 4 h 1313"/>
                <a:gd name="T24" fmla="*/ 1 w 688"/>
                <a:gd name="T25" fmla="*/ 3 h 1313"/>
                <a:gd name="T26" fmla="*/ 0 w 688"/>
                <a:gd name="T27" fmla="*/ 0 h 1313"/>
                <a:gd name="T28" fmla="*/ 0 w 688"/>
                <a:gd name="T29" fmla="*/ 0 h 1313"/>
                <a:gd name="T30" fmla="*/ 0 w 688"/>
                <a:gd name="T31" fmla="*/ 1313 h 1313"/>
                <a:gd name="T32" fmla="*/ 688 w 688"/>
                <a:gd name="T33" fmla="*/ 1313 h 1313"/>
                <a:gd name="T34" fmla="*/ 641 w 688"/>
                <a:gd name="T35" fmla="*/ 1192 h 1313"/>
                <a:gd name="T36" fmla="*/ 546 w 688"/>
                <a:gd name="T37" fmla="*/ 968 h 1313"/>
                <a:gd name="T38" fmla="*/ 448 w 688"/>
                <a:gd name="T39" fmla="*/ 763 h 1313"/>
                <a:gd name="T40" fmla="*/ 355 w 688"/>
                <a:gd name="T41" fmla="*/ 581 h 1313"/>
                <a:gd name="T42" fmla="*/ 223 w 688"/>
                <a:gd name="T43" fmla="*/ 343 h 1313"/>
                <a:gd name="T44" fmla="*/ 83 w 688"/>
                <a:gd name="T45" fmla="*/ 119 h 1313"/>
                <a:gd name="T46" fmla="*/ 37 w 688"/>
                <a:gd name="T47" fmla="*/ 53 h 1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88" h="1313">
                  <a:moveTo>
                    <a:pt x="37" y="53"/>
                  </a:moveTo>
                  <a:lnTo>
                    <a:pt x="37" y="53"/>
                  </a:lnTo>
                  <a:lnTo>
                    <a:pt x="37" y="53"/>
                  </a:lnTo>
                  <a:lnTo>
                    <a:pt x="27" y="39"/>
                  </a:lnTo>
                  <a:lnTo>
                    <a:pt x="19" y="27"/>
                  </a:lnTo>
                  <a:lnTo>
                    <a:pt x="17" y="23"/>
                  </a:lnTo>
                  <a:lnTo>
                    <a:pt x="14" y="21"/>
                  </a:lnTo>
                  <a:lnTo>
                    <a:pt x="12" y="17"/>
                  </a:lnTo>
                  <a:lnTo>
                    <a:pt x="9" y="14"/>
                  </a:lnTo>
                  <a:lnTo>
                    <a:pt x="6" y="9"/>
                  </a:lnTo>
                  <a:lnTo>
                    <a:pt x="4" y="5"/>
                  </a:lnTo>
                  <a:lnTo>
                    <a:pt x="3" y="4"/>
                  </a:lnTo>
                  <a:lnTo>
                    <a:pt x="1" y="3"/>
                  </a:lnTo>
                  <a:lnTo>
                    <a:pt x="0" y="0"/>
                  </a:lnTo>
                  <a:lnTo>
                    <a:pt x="0" y="0"/>
                  </a:lnTo>
                  <a:lnTo>
                    <a:pt x="0" y="1313"/>
                  </a:lnTo>
                  <a:lnTo>
                    <a:pt x="688" y="1313"/>
                  </a:lnTo>
                  <a:lnTo>
                    <a:pt x="641" y="1192"/>
                  </a:lnTo>
                  <a:lnTo>
                    <a:pt x="546" y="968"/>
                  </a:lnTo>
                  <a:lnTo>
                    <a:pt x="448" y="763"/>
                  </a:lnTo>
                  <a:lnTo>
                    <a:pt x="355" y="581"/>
                  </a:lnTo>
                  <a:lnTo>
                    <a:pt x="223" y="343"/>
                  </a:lnTo>
                  <a:lnTo>
                    <a:pt x="83" y="119"/>
                  </a:lnTo>
                  <a:lnTo>
                    <a:pt x="37" y="53"/>
                  </a:lnTo>
                  <a:close/>
                </a:path>
              </a:pathLst>
            </a:custGeom>
            <a:solidFill>
              <a:srgbClr val="C93C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2" name="Freeform 70">
              <a:extLst>
                <a:ext uri="{FF2B5EF4-FFF2-40B4-BE49-F238E27FC236}">
                  <a16:creationId xmlns:a16="http://schemas.microsoft.com/office/drawing/2014/main" id="{B8182CA7-82D7-F0FD-B112-7036DE4E159E}"/>
                </a:ext>
              </a:extLst>
            </p:cNvPr>
            <p:cNvSpPr>
              <a:spLocks/>
            </p:cNvSpPr>
            <p:nvPr/>
          </p:nvSpPr>
          <p:spPr bwMode="auto">
            <a:xfrm>
              <a:off x="6096000" y="1828516"/>
              <a:ext cx="171735" cy="605487"/>
            </a:xfrm>
            <a:custGeom>
              <a:avLst/>
              <a:gdLst>
                <a:gd name="T0" fmla="*/ 0 w 702"/>
                <a:gd name="T1" fmla="*/ 0 h 2468"/>
                <a:gd name="T2" fmla="*/ 0 w 702"/>
                <a:gd name="T3" fmla="*/ 1129 h 2468"/>
                <a:gd name="T4" fmla="*/ 0 w 702"/>
                <a:gd name="T5" fmla="*/ 1398 h 2468"/>
                <a:gd name="T6" fmla="*/ 0 w 702"/>
                <a:gd name="T7" fmla="*/ 1658 h 2468"/>
                <a:gd name="T8" fmla="*/ 0 w 702"/>
                <a:gd name="T9" fmla="*/ 2468 h 2468"/>
                <a:gd name="T10" fmla="*/ 9 w 702"/>
                <a:gd name="T11" fmla="*/ 2427 h 2468"/>
                <a:gd name="T12" fmla="*/ 56 w 702"/>
                <a:gd name="T13" fmla="*/ 2126 h 2468"/>
                <a:gd name="T14" fmla="*/ 88 w 702"/>
                <a:gd name="T15" fmla="*/ 1832 h 2468"/>
                <a:gd name="T16" fmla="*/ 101 w 702"/>
                <a:gd name="T17" fmla="*/ 1658 h 2468"/>
                <a:gd name="T18" fmla="*/ 109 w 702"/>
                <a:gd name="T19" fmla="*/ 1532 h 2468"/>
                <a:gd name="T20" fmla="*/ 114 w 702"/>
                <a:gd name="T21" fmla="*/ 1398 h 2468"/>
                <a:gd name="T22" fmla="*/ 577 w 702"/>
                <a:gd name="T23" fmla="*/ 1398 h 2468"/>
                <a:gd name="T24" fmla="*/ 578 w 702"/>
                <a:gd name="T25" fmla="*/ 1398 h 2468"/>
                <a:gd name="T26" fmla="*/ 609 w 702"/>
                <a:gd name="T27" fmla="*/ 1334 h 2468"/>
                <a:gd name="T28" fmla="*/ 640 w 702"/>
                <a:gd name="T29" fmla="*/ 1270 h 2468"/>
                <a:gd name="T30" fmla="*/ 641 w 702"/>
                <a:gd name="T31" fmla="*/ 1265 h 2468"/>
                <a:gd name="T32" fmla="*/ 644 w 702"/>
                <a:gd name="T33" fmla="*/ 1260 h 2468"/>
                <a:gd name="T34" fmla="*/ 674 w 702"/>
                <a:gd name="T35" fmla="*/ 1195 h 2468"/>
                <a:gd name="T36" fmla="*/ 702 w 702"/>
                <a:gd name="T37" fmla="*/ 1129 h 2468"/>
                <a:gd name="T38" fmla="*/ 702 w 702"/>
                <a:gd name="T39" fmla="*/ 1129 h 2468"/>
                <a:gd name="T40" fmla="*/ 702 w 702"/>
                <a:gd name="T41" fmla="*/ 1129 h 2468"/>
                <a:gd name="T42" fmla="*/ 115 w 702"/>
                <a:gd name="T43" fmla="*/ 1129 h 2468"/>
                <a:gd name="T44" fmla="*/ 111 w 702"/>
                <a:gd name="T45" fmla="*/ 897 h 2468"/>
                <a:gd name="T46" fmla="*/ 93 w 702"/>
                <a:gd name="T47" fmla="*/ 490 h 2468"/>
                <a:gd name="T48" fmla="*/ 70 w 702"/>
                <a:gd name="T49" fmla="*/ 254 h 2468"/>
                <a:gd name="T50" fmla="*/ 53 w 702"/>
                <a:gd name="T51" fmla="*/ 134 h 2468"/>
                <a:gd name="T52" fmla="*/ 32 w 702"/>
                <a:gd name="T53" fmla="*/ 50 h 2468"/>
                <a:gd name="T54" fmla="*/ 17 w 702"/>
                <a:gd name="T55" fmla="*/ 13 h 2468"/>
                <a:gd name="T56" fmla="*/ 5 w 702"/>
                <a:gd name="T57" fmla="*/ 2 h 2468"/>
                <a:gd name="T58" fmla="*/ 0 w 702"/>
                <a:gd name="T59" fmla="*/ 0 h 2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02" h="2468">
                  <a:moveTo>
                    <a:pt x="0" y="0"/>
                  </a:moveTo>
                  <a:lnTo>
                    <a:pt x="0" y="1129"/>
                  </a:lnTo>
                  <a:lnTo>
                    <a:pt x="0" y="1398"/>
                  </a:lnTo>
                  <a:lnTo>
                    <a:pt x="0" y="1658"/>
                  </a:lnTo>
                  <a:lnTo>
                    <a:pt x="0" y="2468"/>
                  </a:lnTo>
                  <a:lnTo>
                    <a:pt x="9" y="2427"/>
                  </a:lnTo>
                  <a:lnTo>
                    <a:pt x="56" y="2126"/>
                  </a:lnTo>
                  <a:lnTo>
                    <a:pt x="88" y="1832"/>
                  </a:lnTo>
                  <a:lnTo>
                    <a:pt x="101" y="1658"/>
                  </a:lnTo>
                  <a:lnTo>
                    <a:pt x="109" y="1532"/>
                  </a:lnTo>
                  <a:lnTo>
                    <a:pt x="114" y="1398"/>
                  </a:lnTo>
                  <a:lnTo>
                    <a:pt x="577" y="1398"/>
                  </a:lnTo>
                  <a:lnTo>
                    <a:pt x="578" y="1398"/>
                  </a:lnTo>
                  <a:lnTo>
                    <a:pt x="609" y="1334"/>
                  </a:lnTo>
                  <a:lnTo>
                    <a:pt x="640" y="1270"/>
                  </a:lnTo>
                  <a:lnTo>
                    <a:pt x="641" y="1265"/>
                  </a:lnTo>
                  <a:lnTo>
                    <a:pt x="644" y="1260"/>
                  </a:lnTo>
                  <a:lnTo>
                    <a:pt x="674" y="1195"/>
                  </a:lnTo>
                  <a:lnTo>
                    <a:pt x="702" y="1129"/>
                  </a:lnTo>
                  <a:lnTo>
                    <a:pt x="702" y="1129"/>
                  </a:lnTo>
                  <a:lnTo>
                    <a:pt x="702" y="1129"/>
                  </a:lnTo>
                  <a:lnTo>
                    <a:pt x="115" y="1129"/>
                  </a:lnTo>
                  <a:lnTo>
                    <a:pt x="111" y="897"/>
                  </a:lnTo>
                  <a:lnTo>
                    <a:pt x="93" y="490"/>
                  </a:lnTo>
                  <a:lnTo>
                    <a:pt x="70" y="254"/>
                  </a:lnTo>
                  <a:lnTo>
                    <a:pt x="53" y="134"/>
                  </a:lnTo>
                  <a:lnTo>
                    <a:pt x="32" y="50"/>
                  </a:lnTo>
                  <a:lnTo>
                    <a:pt x="17" y="13"/>
                  </a:lnTo>
                  <a:lnTo>
                    <a:pt x="5" y="2"/>
                  </a:lnTo>
                  <a:lnTo>
                    <a:pt x="0" y="0"/>
                  </a:lnTo>
                  <a:close/>
                </a:path>
              </a:pathLst>
            </a:custGeom>
            <a:solidFill>
              <a:srgbClr val="0045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3" name="Freeform 71">
              <a:extLst>
                <a:ext uri="{FF2B5EF4-FFF2-40B4-BE49-F238E27FC236}">
                  <a16:creationId xmlns:a16="http://schemas.microsoft.com/office/drawing/2014/main" id="{8D765D5C-92B3-DE6C-0429-764771EB271B}"/>
                </a:ext>
              </a:extLst>
            </p:cNvPr>
            <p:cNvSpPr>
              <a:spLocks/>
            </p:cNvSpPr>
            <p:nvPr/>
          </p:nvSpPr>
          <p:spPr bwMode="auto">
            <a:xfrm>
              <a:off x="6096000" y="1315275"/>
              <a:ext cx="120705" cy="241409"/>
            </a:xfrm>
            <a:custGeom>
              <a:avLst/>
              <a:gdLst>
                <a:gd name="T0" fmla="*/ 491 w 491"/>
                <a:gd name="T1" fmla="*/ 493 h 984"/>
                <a:gd name="T2" fmla="*/ 490 w 491"/>
                <a:gd name="T3" fmla="*/ 441 h 984"/>
                <a:gd name="T4" fmla="*/ 470 w 491"/>
                <a:gd name="T5" fmla="*/ 345 h 984"/>
                <a:gd name="T6" fmla="*/ 433 w 491"/>
                <a:gd name="T7" fmla="*/ 257 h 984"/>
                <a:gd name="T8" fmla="*/ 380 w 491"/>
                <a:gd name="T9" fmla="*/ 179 h 984"/>
                <a:gd name="T10" fmla="*/ 314 w 491"/>
                <a:gd name="T11" fmla="*/ 112 h 984"/>
                <a:gd name="T12" fmla="*/ 235 w 491"/>
                <a:gd name="T13" fmla="*/ 59 h 984"/>
                <a:gd name="T14" fmla="*/ 146 w 491"/>
                <a:gd name="T15" fmla="*/ 21 h 984"/>
                <a:gd name="T16" fmla="*/ 50 w 491"/>
                <a:gd name="T17" fmla="*/ 2 h 984"/>
                <a:gd name="T18" fmla="*/ 0 w 491"/>
                <a:gd name="T19" fmla="*/ 0 h 984"/>
                <a:gd name="T20" fmla="*/ 0 w 491"/>
                <a:gd name="T21" fmla="*/ 129 h 984"/>
                <a:gd name="T22" fmla="*/ 37 w 491"/>
                <a:gd name="T23" fmla="*/ 130 h 984"/>
                <a:gd name="T24" fmla="*/ 107 w 491"/>
                <a:gd name="T25" fmla="*/ 146 h 984"/>
                <a:gd name="T26" fmla="*/ 174 w 491"/>
                <a:gd name="T27" fmla="*/ 173 h 984"/>
                <a:gd name="T28" fmla="*/ 231 w 491"/>
                <a:gd name="T29" fmla="*/ 212 h 984"/>
                <a:gd name="T30" fmla="*/ 280 w 491"/>
                <a:gd name="T31" fmla="*/ 261 h 984"/>
                <a:gd name="T32" fmla="*/ 319 w 491"/>
                <a:gd name="T33" fmla="*/ 319 h 984"/>
                <a:gd name="T34" fmla="*/ 347 w 491"/>
                <a:gd name="T35" fmla="*/ 384 h 984"/>
                <a:gd name="T36" fmla="*/ 362 w 491"/>
                <a:gd name="T37" fmla="*/ 455 h 984"/>
                <a:gd name="T38" fmla="*/ 363 w 491"/>
                <a:gd name="T39" fmla="*/ 493 h 984"/>
                <a:gd name="T40" fmla="*/ 362 w 491"/>
                <a:gd name="T41" fmla="*/ 529 h 984"/>
                <a:gd name="T42" fmla="*/ 347 w 491"/>
                <a:gd name="T43" fmla="*/ 600 h 984"/>
                <a:gd name="T44" fmla="*/ 319 w 491"/>
                <a:gd name="T45" fmla="*/ 665 h 984"/>
                <a:gd name="T46" fmla="*/ 280 w 491"/>
                <a:gd name="T47" fmla="*/ 724 h 984"/>
                <a:gd name="T48" fmla="*/ 231 w 491"/>
                <a:gd name="T49" fmla="*/ 773 h 984"/>
                <a:gd name="T50" fmla="*/ 174 w 491"/>
                <a:gd name="T51" fmla="*/ 812 h 984"/>
                <a:gd name="T52" fmla="*/ 107 w 491"/>
                <a:gd name="T53" fmla="*/ 839 h 984"/>
                <a:gd name="T54" fmla="*/ 37 w 491"/>
                <a:gd name="T55" fmla="*/ 854 h 984"/>
                <a:gd name="T56" fmla="*/ 0 w 491"/>
                <a:gd name="T57" fmla="*/ 856 h 984"/>
                <a:gd name="T58" fmla="*/ 0 w 491"/>
                <a:gd name="T59" fmla="*/ 984 h 984"/>
                <a:gd name="T60" fmla="*/ 50 w 491"/>
                <a:gd name="T61" fmla="*/ 983 h 984"/>
                <a:gd name="T62" fmla="*/ 146 w 491"/>
                <a:gd name="T63" fmla="*/ 963 h 984"/>
                <a:gd name="T64" fmla="*/ 235 w 491"/>
                <a:gd name="T65" fmla="*/ 926 h 984"/>
                <a:gd name="T66" fmla="*/ 314 w 491"/>
                <a:gd name="T67" fmla="*/ 873 h 984"/>
                <a:gd name="T68" fmla="*/ 380 w 491"/>
                <a:gd name="T69" fmla="*/ 805 h 984"/>
                <a:gd name="T70" fmla="*/ 433 w 491"/>
                <a:gd name="T71" fmla="*/ 727 h 984"/>
                <a:gd name="T72" fmla="*/ 470 w 491"/>
                <a:gd name="T73" fmla="*/ 639 h 984"/>
                <a:gd name="T74" fmla="*/ 490 w 491"/>
                <a:gd name="T75" fmla="*/ 543 h 984"/>
                <a:gd name="T76" fmla="*/ 491 w 491"/>
                <a:gd name="T77" fmla="*/ 493 h 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91" h="984">
                  <a:moveTo>
                    <a:pt x="491" y="493"/>
                  </a:moveTo>
                  <a:lnTo>
                    <a:pt x="490" y="441"/>
                  </a:lnTo>
                  <a:lnTo>
                    <a:pt x="470" y="345"/>
                  </a:lnTo>
                  <a:lnTo>
                    <a:pt x="433" y="257"/>
                  </a:lnTo>
                  <a:lnTo>
                    <a:pt x="380" y="179"/>
                  </a:lnTo>
                  <a:lnTo>
                    <a:pt x="314" y="112"/>
                  </a:lnTo>
                  <a:lnTo>
                    <a:pt x="235" y="59"/>
                  </a:lnTo>
                  <a:lnTo>
                    <a:pt x="146" y="21"/>
                  </a:lnTo>
                  <a:lnTo>
                    <a:pt x="50" y="2"/>
                  </a:lnTo>
                  <a:lnTo>
                    <a:pt x="0" y="0"/>
                  </a:lnTo>
                  <a:lnTo>
                    <a:pt x="0" y="129"/>
                  </a:lnTo>
                  <a:lnTo>
                    <a:pt x="37" y="130"/>
                  </a:lnTo>
                  <a:lnTo>
                    <a:pt x="107" y="146"/>
                  </a:lnTo>
                  <a:lnTo>
                    <a:pt x="174" y="173"/>
                  </a:lnTo>
                  <a:lnTo>
                    <a:pt x="231" y="212"/>
                  </a:lnTo>
                  <a:lnTo>
                    <a:pt x="280" y="261"/>
                  </a:lnTo>
                  <a:lnTo>
                    <a:pt x="319" y="319"/>
                  </a:lnTo>
                  <a:lnTo>
                    <a:pt x="347" y="384"/>
                  </a:lnTo>
                  <a:lnTo>
                    <a:pt x="362" y="455"/>
                  </a:lnTo>
                  <a:lnTo>
                    <a:pt x="363" y="493"/>
                  </a:lnTo>
                  <a:lnTo>
                    <a:pt x="362" y="529"/>
                  </a:lnTo>
                  <a:lnTo>
                    <a:pt x="347" y="600"/>
                  </a:lnTo>
                  <a:lnTo>
                    <a:pt x="319" y="665"/>
                  </a:lnTo>
                  <a:lnTo>
                    <a:pt x="280" y="724"/>
                  </a:lnTo>
                  <a:lnTo>
                    <a:pt x="231" y="773"/>
                  </a:lnTo>
                  <a:lnTo>
                    <a:pt x="174" y="812"/>
                  </a:lnTo>
                  <a:lnTo>
                    <a:pt x="107" y="839"/>
                  </a:lnTo>
                  <a:lnTo>
                    <a:pt x="37" y="854"/>
                  </a:lnTo>
                  <a:lnTo>
                    <a:pt x="0" y="856"/>
                  </a:lnTo>
                  <a:lnTo>
                    <a:pt x="0" y="984"/>
                  </a:lnTo>
                  <a:lnTo>
                    <a:pt x="50" y="983"/>
                  </a:lnTo>
                  <a:lnTo>
                    <a:pt x="146" y="963"/>
                  </a:lnTo>
                  <a:lnTo>
                    <a:pt x="235" y="926"/>
                  </a:lnTo>
                  <a:lnTo>
                    <a:pt x="314" y="873"/>
                  </a:lnTo>
                  <a:lnTo>
                    <a:pt x="380" y="805"/>
                  </a:lnTo>
                  <a:lnTo>
                    <a:pt x="433" y="727"/>
                  </a:lnTo>
                  <a:lnTo>
                    <a:pt x="470" y="639"/>
                  </a:lnTo>
                  <a:lnTo>
                    <a:pt x="490" y="543"/>
                  </a:lnTo>
                  <a:lnTo>
                    <a:pt x="491" y="493"/>
                  </a:lnTo>
                  <a:close/>
                </a:path>
              </a:pathLst>
            </a:custGeom>
            <a:solidFill>
              <a:srgbClr val="FF42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4" name="Freeform 72">
              <a:extLst>
                <a:ext uri="{FF2B5EF4-FFF2-40B4-BE49-F238E27FC236}">
                  <a16:creationId xmlns:a16="http://schemas.microsoft.com/office/drawing/2014/main" id="{F217086B-BF89-1D76-EB86-14B165DC9EE0}"/>
                </a:ext>
              </a:extLst>
            </p:cNvPr>
            <p:cNvSpPr>
              <a:spLocks/>
            </p:cNvSpPr>
            <p:nvPr/>
          </p:nvSpPr>
          <p:spPr bwMode="auto">
            <a:xfrm>
              <a:off x="6096000" y="1346679"/>
              <a:ext cx="88320" cy="178604"/>
            </a:xfrm>
            <a:custGeom>
              <a:avLst/>
              <a:gdLst>
                <a:gd name="T0" fmla="*/ 363 w 363"/>
                <a:gd name="T1" fmla="*/ 364 h 727"/>
                <a:gd name="T2" fmla="*/ 362 w 363"/>
                <a:gd name="T3" fmla="*/ 326 h 727"/>
                <a:gd name="T4" fmla="*/ 347 w 363"/>
                <a:gd name="T5" fmla="*/ 255 h 727"/>
                <a:gd name="T6" fmla="*/ 319 w 363"/>
                <a:gd name="T7" fmla="*/ 190 h 727"/>
                <a:gd name="T8" fmla="*/ 280 w 363"/>
                <a:gd name="T9" fmla="*/ 132 h 727"/>
                <a:gd name="T10" fmla="*/ 231 w 363"/>
                <a:gd name="T11" fmla="*/ 83 h 727"/>
                <a:gd name="T12" fmla="*/ 174 w 363"/>
                <a:gd name="T13" fmla="*/ 44 h 727"/>
                <a:gd name="T14" fmla="*/ 107 w 363"/>
                <a:gd name="T15" fmla="*/ 17 h 727"/>
                <a:gd name="T16" fmla="*/ 37 w 363"/>
                <a:gd name="T17" fmla="*/ 1 h 727"/>
                <a:gd name="T18" fmla="*/ 0 w 363"/>
                <a:gd name="T19" fmla="*/ 0 h 727"/>
                <a:gd name="T20" fmla="*/ 0 w 363"/>
                <a:gd name="T21" fmla="*/ 727 h 727"/>
                <a:gd name="T22" fmla="*/ 37 w 363"/>
                <a:gd name="T23" fmla="*/ 725 h 727"/>
                <a:gd name="T24" fmla="*/ 107 w 363"/>
                <a:gd name="T25" fmla="*/ 710 h 727"/>
                <a:gd name="T26" fmla="*/ 174 w 363"/>
                <a:gd name="T27" fmla="*/ 683 h 727"/>
                <a:gd name="T28" fmla="*/ 231 w 363"/>
                <a:gd name="T29" fmla="*/ 644 h 727"/>
                <a:gd name="T30" fmla="*/ 280 w 363"/>
                <a:gd name="T31" fmla="*/ 595 h 727"/>
                <a:gd name="T32" fmla="*/ 319 w 363"/>
                <a:gd name="T33" fmla="*/ 536 h 727"/>
                <a:gd name="T34" fmla="*/ 347 w 363"/>
                <a:gd name="T35" fmla="*/ 471 h 727"/>
                <a:gd name="T36" fmla="*/ 362 w 363"/>
                <a:gd name="T37" fmla="*/ 400 h 727"/>
                <a:gd name="T38" fmla="*/ 363 w 363"/>
                <a:gd name="T39" fmla="*/ 364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63" h="727">
                  <a:moveTo>
                    <a:pt x="363" y="364"/>
                  </a:moveTo>
                  <a:lnTo>
                    <a:pt x="362" y="326"/>
                  </a:lnTo>
                  <a:lnTo>
                    <a:pt x="347" y="255"/>
                  </a:lnTo>
                  <a:lnTo>
                    <a:pt x="319" y="190"/>
                  </a:lnTo>
                  <a:lnTo>
                    <a:pt x="280" y="132"/>
                  </a:lnTo>
                  <a:lnTo>
                    <a:pt x="231" y="83"/>
                  </a:lnTo>
                  <a:lnTo>
                    <a:pt x="174" y="44"/>
                  </a:lnTo>
                  <a:lnTo>
                    <a:pt x="107" y="17"/>
                  </a:lnTo>
                  <a:lnTo>
                    <a:pt x="37" y="1"/>
                  </a:lnTo>
                  <a:lnTo>
                    <a:pt x="0" y="0"/>
                  </a:lnTo>
                  <a:lnTo>
                    <a:pt x="0" y="727"/>
                  </a:lnTo>
                  <a:lnTo>
                    <a:pt x="37" y="725"/>
                  </a:lnTo>
                  <a:lnTo>
                    <a:pt x="107" y="710"/>
                  </a:lnTo>
                  <a:lnTo>
                    <a:pt x="174" y="683"/>
                  </a:lnTo>
                  <a:lnTo>
                    <a:pt x="231" y="644"/>
                  </a:lnTo>
                  <a:lnTo>
                    <a:pt x="280" y="595"/>
                  </a:lnTo>
                  <a:lnTo>
                    <a:pt x="319" y="536"/>
                  </a:lnTo>
                  <a:lnTo>
                    <a:pt x="347" y="471"/>
                  </a:lnTo>
                  <a:lnTo>
                    <a:pt x="362" y="400"/>
                  </a:lnTo>
                  <a:lnTo>
                    <a:pt x="363" y="364"/>
                  </a:lnTo>
                  <a:close/>
                </a:path>
              </a:pathLst>
            </a:custGeom>
            <a:solidFill>
              <a:srgbClr val="4092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sp>
        <p:nvSpPr>
          <p:cNvPr id="35" name="Oval 34">
            <a:extLst>
              <a:ext uri="{FF2B5EF4-FFF2-40B4-BE49-F238E27FC236}">
                <a16:creationId xmlns:a16="http://schemas.microsoft.com/office/drawing/2014/main" id="{FE5035EE-034E-9591-51D8-A2E487100B80}"/>
              </a:ext>
            </a:extLst>
          </p:cNvPr>
          <p:cNvSpPr/>
          <p:nvPr/>
        </p:nvSpPr>
        <p:spPr>
          <a:xfrm>
            <a:off x="3676175" y="4472945"/>
            <a:ext cx="994299" cy="994299"/>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b="1">
                <a:effectLst>
                  <a:outerShdw blurRad="38100" dist="38100" dir="2700000" algn="tl">
                    <a:srgbClr val="000000">
                      <a:alpha val="43137"/>
                    </a:srgbClr>
                  </a:outerShdw>
                </a:effectLst>
              </a:rPr>
              <a:t>01</a:t>
            </a:r>
          </a:p>
        </p:txBody>
      </p:sp>
      <p:sp>
        <p:nvSpPr>
          <p:cNvPr id="36" name="Oval 35">
            <a:extLst>
              <a:ext uri="{FF2B5EF4-FFF2-40B4-BE49-F238E27FC236}">
                <a16:creationId xmlns:a16="http://schemas.microsoft.com/office/drawing/2014/main" id="{0FDDC7F3-5FD1-CBCE-3F8A-BD18A2617CA8}"/>
              </a:ext>
            </a:extLst>
          </p:cNvPr>
          <p:cNvSpPr/>
          <p:nvPr/>
        </p:nvSpPr>
        <p:spPr>
          <a:xfrm>
            <a:off x="4489343" y="3369240"/>
            <a:ext cx="994299" cy="994299"/>
          </a:xfrm>
          <a:prstGeom prst="ellipse">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3200" b="1">
                <a:effectLst>
                  <a:outerShdw blurRad="38100" dist="38100" dir="2700000" algn="tl">
                    <a:srgbClr val="000000">
                      <a:alpha val="43137"/>
                    </a:srgbClr>
                  </a:outerShdw>
                </a:effectLst>
              </a:rPr>
              <a:t>02</a:t>
            </a:r>
          </a:p>
        </p:txBody>
      </p:sp>
      <p:sp>
        <p:nvSpPr>
          <p:cNvPr id="37" name="Oval 36">
            <a:extLst>
              <a:ext uri="{FF2B5EF4-FFF2-40B4-BE49-F238E27FC236}">
                <a16:creationId xmlns:a16="http://schemas.microsoft.com/office/drawing/2014/main" id="{33FE1882-B10E-91BD-DB38-F8C265C51B87}"/>
              </a:ext>
            </a:extLst>
          </p:cNvPr>
          <p:cNvSpPr/>
          <p:nvPr/>
        </p:nvSpPr>
        <p:spPr>
          <a:xfrm>
            <a:off x="5513600" y="2465819"/>
            <a:ext cx="994299" cy="994299"/>
          </a:xfrm>
          <a:prstGeom prst="ellipse">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3200" b="1">
                <a:effectLst>
                  <a:outerShdw blurRad="38100" dist="38100" dir="2700000" algn="tl">
                    <a:srgbClr val="000000">
                      <a:alpha val="43137"/>
                    </a:srgbClr>
                  </a:outerShdw>
                </a:effectLst>
              </a:rPr>
              <a:t>03</a:t>
            </a:r>
          </a:p>
        </p:txBody>
      </p:sp>
      <p:sp>
        <p:nvSpPr>
          <p:cNvPr id="38" name="Oval 37">
            <a:extLst>
              <a:ext uri="{FF2B5EF4-FFF2-40B4-BE49-F238E27FC236}">
                <a16:creationId xmlns:a16="http://schemas.microsoft.com/office/drawing/2014/main" id="{20E6EB48-819C-7C6C-5461-7590EECFE690}"/>
              </a:ext>
            </a:extLst>
          </p:cNvPr>
          <p:cNvSpPr/>
          <p:nvPr/>
        </p:nvSpPr>
        <p:spPr>
          <a:xfrm>
            <a:off x="6663105" y="1649073"/>
            <a:ext cx="994299" cy="994299"/>
          </a:xfrm>
          <a:prstGeom prst="ellipse">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3200" b="1">
                <a:effectLst>
                  <a:outerShdw blurRad="38100" dist="38100" dir="2700000" algn="tl">
                    <a:srgbClr val="000000">
                      <a:alpha val="43137"/>
                    </a:srgbClr>
                  </a:outerShdw>
                </a:effectLst>
              </a:rPr>
              <a:t>04</a:t>
            </a:r>
          </a:p>
        </p:txBody>
      </p:sp>
      <p:grpSp>
        <p:nvGrpSpPr>
          <p:cNvPr id="39" name="Group 38">
            <a:extLst>
              <a:ext uri="{FF2B5EF4-FFF2-40B4-BE49-F238E27FC236}">
                <a16:creationId xmlns:a16="http://schemas.microsoft.com/office/drawing/2014/main" id="{31E16CCC-EFE3-E661-564F-7CFD5EBEC4DA}"/>
              </a:ext>
            </a:extLst>
          </p:cNvPr>
          <p:cNvGrpSpPr/>
          <p:nvPr/>
        </p:nvGrpSpPr>
        <p:grpSpPr>
          <a:xfrm>
            <a:off x="338439" y="3571313"/>
            <a:ext cx="3405579" cy="1844151"/>
            <a:chOff x="332936" y="2577912"/>
            <a:chExt cx="2926080" cy="1844151"/>
          </a:xfrm>
        </p:grpSpPr>
        <p:sp>
          <p:nvSpPr>
            <p:cNvPr id="40" name="TextBox 39">
              <a:extLst>
                <a:ext uri="{FF2B5EF4-FFF2-40B4-BE49-F238E27FC236}">
                  <a16:creationId xmlns:a16="http://schemas.microsoft.com/office/drawing/2014/main" id="{C22E0559-6A4B-9BA6-810B-01C7D58EF7F4}"/>
                </a:ext>
              </a:extLst>
            </p:cNvPr>
            <p:cNvSpPr txBox="1"/>
            <p:nvPr/>
          </p:nvSpPr>
          <p:spPr>
            <a:xfrm>
              <a:off x="332936" y="2577912"/>
              <a:ext cx="2926080" cy="830997"/>
            </a:xfrm>
            <a:prstGeom prst="rect">
              <a:avLst/>
            </a:prstGeom>
            <a:noFill/>
          </p:spPr>
          <p:txBody>
            <a:bodyPr wrap="square" lIns="0" rIns="0" rtlCol="0" anchor="b">
              <a:spAutoFit/>
            </a:bodyPr>
            <a:lstStyle/>
            <a:p>
              <a:pPr algn="ctr"/>
              <a:r>
                <a:rPr lang="en-US" sz="2400" b="1">
                  <a:solidFill>
                    <a:srgbClr val="FF0000"/>
                  </a:solidFill>
                </a:rPr>
                <a:t>Input/Output Parameters</a:t>
              </a:r>
            </a:p>
          </p:txBody>
        </p:sp>
        <p:sp>
          <p:nvSpPr>
            <p:cNvPr id="41" name="TextBox 40">
              <a:extLst>
                <a:ext uri="{FF2B5EF4-FFF2-40B4-BE49-F238E27FC236}">
                  <a16:creationId xmlns:a16="http://schemas.microsoft.com/office/drawing/2014/main" id="{BE9AC95E-1893-9BF3-177E-B829AAFA24A8}"/>
                </a:ext>
              </a:extLst>
            </p:cNvPr>
            <p:cNvSpPr txBox="1"/>
            <p:nvPr/>
          </p:nvSpPr>
          <p:spPr>
            <a:xfrm>
              <a:off x="332937" y="3406400"/>
              <a:ext cx="2711569" cy="1015663"/>
            </a:xfrm>
            <a:prstGeom prst="rect">
              <a:avLst/>
            </a:prstGeom>
            <a:noFill/>
          </p:spPr>
          <p:txBody>
            <a:bodyPr wrap="square" lIns="0" rIns="0" rtlCol="0" anchor="t">
              <a:spAutoFit/>
            </a:bodyPr>
            <a:lstStyle/>
            <a:p>
              <a:r>
                <a:rPr lang="en-US" sz="1200" noProof="1">
                  <a:solidFill>
                    <a:schemeClr val="tx1">
                      <a:lumMod val="65000"/>
                      <a:lumOff val="35000"/>
                    </a:schemeClr>
                  </a:solidFill>
                </a:rPr>
                <a:t>Exactly what the tool needs to function and what the tool returns. </a:t>
              </a:r>
            </a:p>
            <a:p>
              <a:endParaRPr lang="en-US" sz="1200" noProof="1">
                <a:solidFill>
                  <a:schemeClr val="tx1">
                    <a:lumMod val="65000"/>
                    <a:lumOff val="35000"/>
                  </a:schemeClr>
                </a:solidFill>
              </a:endParaRPr>
            </a:p>
            <a:p>
              <a:r>
                <a:rPr lang="en-US" sz="1200" i="1" noProof="1">
                  <a:solidFill>
                    <a:schemeClr val="tx1">
                      <a:lumMod val="65000"/>
                      <a:lumOff val="35000"/>
                    </a:schemeClr>
                  </a:solidFill>
                </a:rPr>
                <a:t>Ex: As input you will receive the account number.</a:t>
              </a:r>
            </a:p>
          </p:txBody>
        </p:sp>
      </p:grpSp>
      <p:grpSp>
        <p:nvGrpSpPr>
          <p:cNvPr id="42" name="Group 41">
            <a:extLst>
              <a:ext uri="{FF2B5EF4-FFF2-40B4-BE49-F238E27FC236}">
                <a16:creationId xmlns:a16="http://schemas.microsoft.com/office/drawing/2014/main" id="{E4B8B180-FDAE-DD59-7389-B3F2297FFD20}"/>
              </a:ext>
            </a:extLst>
          </p:cNvPr>
          <p:cNvGrpSpPr/>
          <p:nvPr/>
        </p:nvGrpSpPr>
        <p:grpSpPr>
          <a:xfrm>
            <a:off x="2225686" y="1672815"/>
            <a:ext cx="2926080" cy="1844151"/>
            <a:chOff x="332936" y="2947244"/>
            <a:chExt cx="2926080" cy="1844151"/>
          </a:xfrm>
        </p:grpSpPr>
        <p:sp>
          <p:nvSpPr>
            <p:cNvPr id="43" name="TextBox 42">
              <a:extLst>
                <a:ext uri="{FF2B5EF4-FFF2-40B4-BE49-F238E27FC236}">
                  <a16:creationId xmlns:a16="http://schemas.microsoft.com/office/drawing/2014/main" id="{6A0F4281-8401-6FC7-C0CC-471AA45D78B0}"/>
                </a:ext>
              </a:extLst>
            </p:cNvPr>
            <p:cNvSpPr txBox="1"/>
            <p:nvPr/>
          </p:nvSpPr>
          <p:spPr>
            <a:xfrm>
              <a:off x="332936" y="2947244"/>
              <a:ext cx="2926080" cy="461665"/>
            </a:xfrm>
            <a:prstGeom prst="rect">
              <a:avLst/>
            </a:prstGeom>
            <a:noFill/>
          </p:spPr>
          <p:txBody>
            <a:bodyPr wrap="square" lIns="0" rIns="0" rtlCol="0" anchor="b">
              <a:spAutoFit/>
            </a:bodyPr>
            <a:lstStyle/>
            <a:p>
              <a:pPr algn="r"/>
              <a:r>
                <a:rPr lang="en-US" sz="2400" b="1">
                  <a:solidFill>
                    <a:schemeClr val="accent4">
                      <a:lumMod val="75000"/>
                    </a:schemeClr>
                  </a:solidFill>
                </a:rPr>
                <a:t>Tool Identity</a:t>
              </a:r>
            </a:p>
          </p:txBody>
        </p:sp>
        <p:sp>
          <p:nvSpPr>
            <p:cNvPr id="44" name="TextBox 43">
              <a:extLst>
                <a:ext uri="{FF2B5EF4-FFF2-40B4-BE49-F238E27FC236}">
                  <a16:creationId xmlns:a16="http://schemas.microsoft.com/office/drawing/2014/main" id="{7A3A9427-AFA6-7E76-D199-CC725675AEDF}"/>
                </a:ext>
              </a:extLst>
            </p:cNvPr>
            <p:cNvSpPr txBox="1"/>
            <p:nvPr/>
          </p:nvSpPr>
          <p:spPr>
            <a:xfrm>
              <a:off x="332936" y="3406400"/>
              <a:ext cx="2926080" cy="1384995"/>
            </a:xfrm>
            <a:prstGeom prst="rect">
              <a:avLst/>
            </a:prstGeom>
            <a:noFill/>
          </p:spPr>
          <p:txBody>
            <a:bodyPr wrap="square" lIns="0" rIns="0" rtlCol="0" anchor="t">
              <a:spAutoFit/>
            </a:bodyPr>
            <a:lstStyle/>
            <a:p>
              <a:r>
                <a:rPr lang="en-US" sz="1200" noProof="1">
                  <a:solidFill>
                    <a:schemeClr val="tx1">
                      <a:lumMod val="65000"/>
                      <a:lumOff val="35000"/>
                    </a:schemeClr>
                  </a:solidFill>
                </a:rPr>
                <a:t>A unique and descriptiove name and clear purpose.</a:t>
              </a:r>
            </a:p>
            <a:p>
              <a:endParaRPr lang="en-US" sz="1200" noProof="1">
                <a:solidFill>
                  <a:schemeClr val="tx1">
                    <a:lumMod val="65000"/>
                    <a:lumOff val="35000"/>
                  </a:schemeClr>
                </a:solidFill>
              </a:endParaRPr>
            </a:p>
            <a:p>
              <a:r>
                <a:rPr lang="en-US" sz="1200" i="1" noProof="1">
                  <a:solidFill>
                    <a:schemeClr val="tx1">
                      <a:lumMod val="65000"/>
                      <a:lumOff val="35000"/>
                    </a:schemeClr>
                  </a:solidFill>
                </a:rPr>
                <a:t>Ex: Instruction: Use the CheckBalance API to verify a sufficient account balance according to the account terms and conditions.</a:t>
              </a:r>
            </a:p>
          </p:txBody>
        </p:sp>
      </p:grpSp>
      <p:grpSp>
        <p:nvGrpSpPr>
          <p:cNvPr id="45" name="Group 44">
            <a:extLst>
              <a:ext uri="{FF2B5EF4-FFF2-40B4-BE49-F238E27FC236}">
                <a16:creationId xmlns:a16="http://schemas.microsoft.com/office/drawing/2014/main" id="{456A46FB-994D-D1FE-B900-F209C340F11D}"/>
              </a:ext>
            </a:extLst>
          </p:cNvPr>
          <p:cNvGrpSpPr/>
          <p:nvPr/>
        </p:nvGrpSpPr>
        <p:grpSpPr>
          <a:xfrm>
            <a:off x="7801862" y="2256382"/>
            <a:ext cx="4051697" cy="1474819"/>
            <a:chOff x="8921977" y="2947244"/>
            <a:chExt cx="2926080" cy="1474819"/>
          </a:xfrm>
        </p:grpSpPr>
        <p:sp>
          <p:nvSpPr>
            <p:cNvPr id="46" name="TextBox 45">
              <a:extLst>
                <a:ext uri="{FF2B5EF4-FFF2-40B4-BE49-F238E27FC236}">
                  <a16:creationId xmlns:a16="http://schemas.microsoft.com/office/drawing/2014/main" id="{960E3814-0F86-0DF2-86AD-31FF0F621B56}"/>
                </a:ext>
              </a:extLst>
            </p:cNvPr>
            <p:cNvSpPr txBox="1"/>
            <p:nvPr/>
          </p:nvSpPr>
          <p:spPr>
            <a:xfrm>
              <a:off x="8921977" y="2947244"/>
              <a:ext cx="2926080" cy="461665"/>
            </a:xfrm>
            <a:prstGeom prst="rect">
              <a:avLst/>
            </a:prstGeom>
            <a:noFill/>
          </p:spPr>
          <p:txBody>
            <a:bodyPr wrap="square" lIns="0" rIns="0" rtlCol="0" anchor="b">
              <a:spAutoFit/>
            </a:bodyPr>
            <a:lstStyle/>
            <a:p>
              <a:r>
                <a:rPr lang="en-US" sz="2400" b="1" noProof="1">
                  <a:solidFill>
                    <a:schemeClr val="accent5">
                      <a:lumMod val="75000"/>
                    </a:schemeClr>
                  </a:solidFill>
                </a:rPr>
                <a:t>Error Handling</a:t>
              </a:r>
            </a:p>
          </p:txBody>
        </p:sp>
        <p:sp>
          <p:nvSpPr>
            <p:cNvPr id="47" name="TextBox 46">
              <a:extLst>
                <a:ext uri="{FF2B5EF4-FFF2-40B4-BE49-F238E27FC236}">
                  <a16:creationId xmlns:a16="http://schemas.microsoft.com/office/drawing/2014/main" id="{E213E9ED-E88C-6170-6334-0AA45EEC9154}"/>
                </a:ext>
              </a:extLst>
            </p:cNvPr>
            <p:cNvSpPr txBox="1"/>
            <p:nvPr/>
          </p:nvSpPr>
          <p:spPr>
            <a:xfrm>
              <a:off x="8921977" y="3406400"/>
              <a:ext cx="2926080" cy="1015663"/>
            </a:xfrm>
            <a:prstGeom prst="rect">
              <a:avLst/>
            </a:prstGeom>
            <a:noFill/>
          </p:spPr>
          <p:txBody>
            <a:bodyPr wrap="square" lIns="0" rIns="0" rtlCol="0" anchor="t">
              <a:spAutoFit/>
            </a:bodyPr>
            <a:lstStyle/>
            <a:p>
              <a:r>
                <a:rPr lang="en-US" sz="1200" noProof="1">
                  <a:solidFill>
                    <a:schemeClr val="tx1">
                      <a:lumMod val="65000"/>
                      <a:lumOff val="35000"/>
                    </a:schemeClr>
                  </a:solidFill>
                </a:rPr>
                <a:t>Expected failure modes and recovery procedures.</a:t>
              </a:r>
            </a:p>
            <a:p>
              <a:endParaRPr lang="en-US" sz="1200" noProof="1">
                <a:solidFill>
                  <a:schemeClr val="tx1">
                    <a:lumMod val="65000"/>
                    <a:lumOff val="35000"/>
                  </a:schemeClr>
                </a:solidFill>
              </a:endParaRPr>
            </a:p>
            <a:p>
              <a:r>
                <a:rPr lang="en-US" sz="1200" i="1" noProof="1">
                  <a:solidFill>
                    <a:schemeClr val="tx1">
                      <a:lumMod val="65000"/>
                      <a:lumOff val="35000"/>
                    </a:schemeClr>
                  </a:solidFill>
                </a:rPr>
                <a:t>Ex: If the CheckBalance function fails. Check the the account is still open. Otherwise proceed to the error handling agent.</a:t>
              </a:r>
            </a:p>
          </p:txBody>
        </p:sp>
      </p:grpSp>
      <p:grpSp>
        <p:nvGrpSpPr>
          <p:cNvPr id="48" name="Group 47">
            <a:extLst>
              <a:ext uri="{FF2B5EF4-FFF2-40B4-BE49-F238E27FC236}">
                <a16:creationId xmlns:a16="http://schemas.microsoft.com/office/drawing/2014/main" id="{69BDC2D7-6847-A2E6-47E4-D6F63527426C}"/>
              </a:ext>
            </a:extLst>
          </p:cNvPr>
          <p:cNvGrpSpPr/>
          <p:nvPr/>
        </p:nvGrpSpPr>
        <p:grpSpPr>
          <a:xfrm>
            <a:off x="5680720" y="3619887"/>
            <a:ext cx="2926080" cy="1844151"/>
            <a:chOff x="8921977" y="4283006"/>
            <a:chExt cx="2926080" cy="1844151"/>
          </a:xfrm>
        </p:grpSpPr>
        <p:sp>
          <p:nvSpPr>
            <p:cNvPr id="49" name="TextBox 48">
              <a:extLst>
                <a:ext uri="{FF2B5EF4-FFF2-40B4-BE49-F238E27FC236}">
                  <a16:creationId xmlns:a16="http://schemas.microsoft.com/office/drawing/2014/main" id="{E7D4D75B-A4FA-6EA2-2246-298899BA29FD}"/>
                </a:ext>
              </a:extLst>
            </p:cNvPr>
            <p:cNvSpPr txBox="1"/>
            <p:nvPr/>
          </p:nvSpPr>
          <p:spPr>
            <a:xfrm>
              <a:off x="8921977" y="4283006"/>
              <a:ext cx="2926080" cy="830997"/>
            </a:xfrm>
            <a:prstGeom prst="rect">
              <a:avLst/>
            </a:prstGeom>
            <a:noFill/>
          </p:spPr>
          <p:txBody>
            <a:bodyPr wrap="square" lIns="0" rIns="0" rtlCol="0" anchor="b">
              <a:spAutoFit/>
            </a:bodyPr>
            <a:lstStyle/>
            <a:p>
              <a:r>
                <a:rPr lang="en-US" sz="2400" b="1" noProof="1">
                  <a:solidFill>
                    <a:schemeClr val="accent2">
                      <a:lumMod val="75000"/>
                    </a:schemeClr>
                  </a:solidFill>
                </a:rPr>
                <a:t>Operational Constraints</a:t>
              </a:r>
            </a:p>
          </p:txBody>
        </p:sp>
        <p:sp>
          <p:nvSpPr>
            <p:cNvPr id="50" name="TextBox 49">
              <a:extLst>
                <a:ext uri="{FF2B5EF4-FFF2-40B4-BE49-F238E27FC236}">
                  <a16:creationId xmlns:a16="http://schemas.microsoft.com/office/drawing/2014/main" id="{1618AE7E-CDE7-ABA9-6EFF-11C63556E15E}"/>
                </a:ext>
              </a:extLst>
            </p:cNvPr>
            <p:cNvSpPr txBox="1"/>
            <p:nvPr/>
          </p:nvSpPr>
          <p:spPr>
            <a:xfrm>
              <a:off x="8921977" y="5111494"/>
              <a:ext cx="2926080" cy="1015663"/>
            </a:xfrm>
            <a:prstGeom prst="rect">
              <a:avLst/>
            </a:prstGeom>
            <a:noFill/>
          </p:spPr>
          <p:txBody>
            <a:bodyPr wrap="square" lIns="0" rIns="0" rtlCol="0" anchor="t">
              <a:spAutoFit/>
            </a:bodyPr>
            <a:lstStyle/>
            <a:p>
              <a:r>
                <a:rPr lang="en-US" sz="1200" noProof="1">
                  <a:solidFill>
                    <a:schemeClr val="tx1">
                      <a:lumMod val="65000"/>
                      <a:lumOff val="35000"/>
                    </a:schemeClr>
                  </a:solidFill>
                </a:rPr>
                <a:t>Any limitations, requirements, and dependencies.</a:t>
              </a:r>
            </a:p>
            <a:p>
              <a:endParaRPr lang="en-US" sz="1200" noProof="1">
                <a:solidFill>
                  <a:schemeClr val="tx1">
                    <a:lumMod val="65000"/>
                    <a:lumOff val="35000"/>
                  </a:schemeClr>
                </a:solidFill>
              </a:endParaRPr>
            </a:p>
            <a:p>
              <a:r>
                <a:rPr lang="en-US" sz="1200" i="1" noProof="1">
                  <a:solidFill>
                    <a:schemeClr val="tx1">
                      <a:lumMod val="65000"/>
                      <a:lumOff val="35000"/>
                    </a:schemeClr>
                  </a:solidFill>
                </a:rPr>
                <a:t>Ex: Only use CheckBalance if the account is open or active.</a:t>
              </a:r>
            </a:p>
          </p:txBody>
        </p:sp>
      </p:grpSp>
      <p:pic>
        <p:nvPicPr>
          <p:cNvPr id="51" name="Graphic 50" descr="Rocket with solid fill">
            <a:extLst>
              <a:ext uri="{FF2B5EF4-FFF2-40B4-BE49-F238E27FC236}">
                <a16:creationId xmlns:a16="http://schemas.microsoft.com/office/drawing/2014/main" id="{341D5AB8-47E6-6981-1907-7FFE948ADCC8}"/>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2225686" y="1598385"/>
            <a:ext cx="548640" cy="548640"/>
          </a:xfrm>
          <a:prstGeom prst="rect">
            <a:avLst/>
          </a:prstGeom>
        </p:spPr>
      </p:pic>
      <p:pic>
        <p:nvPicPr>
          <p:cNvPr id="52" name="Graphic 51" descr="Gears with solid fill">
            <a:extLst>
              <a:ext uri="{FF2B5EF4-FFF2-40B4-BE49-F238E27FC236}">
                <a16:creationId xmlns:a16="http://schemas.microsoft.com/office/drawing/2014/main" id="{C2BCEA94-9E5B-AFE6-3BFB-C872F284FA4E}"/>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8058160" y="3895032"/>
            <a:ext cx="548640" cy="548640"/>
          </a:xfrm>
          <a:prstGeom prst="rect">
            <a:avLst/>
          </a:prstGeom>
        </p:spPr>
      </p:pic>
      <p:pic>
        <p:nvPicPr>
          <p:cNvPr id="53" name="Graphic 52" descr="Bullseye with solid fill">
            <a:extLst>
              <a:ext uri="{FF2B5EF4-FFF2-40B4-BE49-F238E27FC236}">
                <a16:creationId xmlns:a16="http://schemas.microsoft.com/office/drawing/2014/main" id="{A36F94D9-C986-CDB7-FF44-4DA8DD76E2F8}"/>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10179303" y="2194070"/>
            <a:ext cx="548640" cy="548640"/>
          </a:xfrm>
          <a:prstGeom prst="rect">
            <a:avLst/>
          </a:prstGeom>
        </p:spPr>
      </p:pic>
      <p:pic>
        <p:nvPicPr>
          <p:cNvPr id="54" name="Graphic 53" descr="Clipboard Mixed with solid fill">
            <a:extLst>
              <a:ext uri="{FF2B5EF4-FFF2-40B4-BE49-F238E27FC236}">
                <a16:creationId xmlns:a16="http://schemas.microsoft.com/office/drawing/2014/main" id="{E997F89D-4AD6-051D-8518-5570DBD68DA5}"/>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338440" y="3680907"/>
            <a:ext cx="548640" cy="548640"/>
          </a:xfrm>
          <a:prstGeom prst="rect">
            <a:avLst/>
          </a:prstGeom>
        </p:spPr>
      </p:pic>
      <p:sp>
        <p:nvSpPr>
          <p:cNvPr id="4" name="Title 3">
            <a:extLst>
              <a:ext uri="{FF2B5EF4-FFF2-40B4-BE49-F238E27FC236}">
                <a16:creationId xmlns:a16="http://schemas.microsoft.com/office/drawing/2014/main" id="{A68AC7F9-3A34-89D8-06E0-4F60E2637676}"/>
              </a:ext>
            </a:extLst>
          </p:cNvPr>
          <p:cNvSpPr>
            <a:spLocks noGrp="1"/>
          </p:cNvSpPr>
          <p:nvPr>
            <p:ph type="title"/>
          </p:nvPr>
        </p:nvSpPr>
        <p:spPr/>
        <p:txBody>
          <a:bodyPr/>
          <a:lstStyle/>
          <a:p>
            <a:r>
              <a:rPr lang="en-US"/>
              <a:t>Four Essential Components for Tool Usage</a:t>
            </a:r>
          </a:p>
        </p:txBody>
      </p:sp>
      <p:sp>
        <p:nvSpPr>
          <p:cNvPr id="55" name="TextBox 54">
            <a:extLst>
              <a:ext uri="{FF2B5EF4-FFF2-40B4-BE49-F238E27FC236}">
                <a16:creationId xmlns:a16="http://schemas.microsoft.com/office/drawing/2014/main" id="{3D9EB4DF-B005-D527-541F-C9D49074FA2D}"/>
              </a:ext>
            </a:extLst>
          </p:cNvPr>
          <p:cNvSpPr txBox="1"/>
          <p:nvPr/>
        </p:nvSpPr>
        <p:spPr>
          <a:xfrm>
            <a:off x="144721" y="6410105"/>
            <a:ext cx="5235729" cy="307777"/>
          </a:xfrm>
          <a:prstGeom prst="rect">
            <a:avLst/>
          </a:prstGeom>
          <a:noFill/>
        </p:spPr>
        <p:txBody>
          <a:bodyPr wrap="none" rtlCol="0">
            <a:spAutoFit/>
          </a:bodyPr>
          <a:lstStyle/>
          <a:p>
            <a:r>
              <a:rPr lang="en-US" sz="1400"/>
              <a:t>https://</a:t>
            </a:r>
            <a:r>
              <a:rPr lang="en-US" sz="1400" err="1"/>
              <a:t>openai.com</a:t>
            </a:r>
            <a:r>
              <a:rPr lang="en-US" sz="1400"/>
              <a:t>/index/function-calling-and-other-</a:t>
            </a:r>
            <a:r>
              <a:rPr lang="en-US" sz="1400" err="1"/>
              <a:t>api</a:t>
            </a:r>
            <a:r>
              <a:rPr lang="en-US" sz="1400"/>
              <a:t>-updates/</a:t>
            </a:r>
          </a:p>
        </p:txBody>
      </p:sp>
    </p:spTree>
    <p:extLst>
      <p:ext uri="{BB962C8B-B14F-4D97-AF65-F5344CB8AC3E}">
        <p14:creationId xmlns:p14="http://schemas.microsoft.com/office/powerpoint/2010/main" val="379674018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335CB9-7299-515E-50B5-3EE9622C17F8}"/>
              </a:ext>
            </a:extLst>
          </p:cNvPr>
          <p:cNvSpPr>
            <a:spLocks noGrp="1"/>
          </p:cNvSpPr>
          <p:nvPr>
            <p:ph type="title"/>
          </p:nvPr>
        </p:nvSpPr>
        <p:spPr/>
        <p:txBody>
          <a:bodyPr/>
          <a:lstStyle/>
          <a:p>
            <a:r>
              <a:rPr lang="en-US"/>
              <a:t>Tools in a Broader Ecosystem RAISE Framework</a:t>
            </a:r>
          </a:p>
        </p:txBody>
      </p:sp>
      <p:grpSp>
        <p:nvGrpSpPr>
          <p:cNvPr id="69" name="Group 68">
            <a:extLst>
              <a:ext uri="{FF2B5EF4-FFF2-40B4-BE49-F238E27FC236}">
                <a16:creationId xmlns:a16="http://schemas.microsoft.com/office/drawing/2014/main" id="{18661EFA-BE81-8D20-EFC6-E34D094179CE}"/>
              </a:ext>
            </a:extLst>
          </p:cNvPr>
          <p:cNvGrpSpPr/>
          <p:nvPr/>
        </p:nvGrpSpPr>
        <p:grpSpPr>
          <a:xfrm>
            <a:off x="1476713" y="1039105"/>
            <a:ext cx="8556606" cy="3902986"/>
            <a:chOff x="384048" y="1333203"/>
            <a:chExt cx="8556606" cy="3902986"/>
          </a:xfrm>
        </p:grpSpPr>
        <p:sp>
          <p:nvSpPr>
            <p:cNvPr id="4" name="Rounded Rectangle 3">
              <a:extLst>
                <a:ext uri="{FF2B5EF4-FFF2-40B4-BE49-F238E27FC236}">
                  <a16:creationId xmlns:a16="http://schemas.microsoft.com/office/drawing/2014/main" id="{87356D24-5E54-6A6B-D038-71A3979DC1B4}"/>
                </a:ext>
              </a:extLst>
            </p:cNvPr>
            <p:cNvSpPr/>
            <p:nvPr/>
          </p:nvSpPr>
          <p:spPr>
            <a:xfrm>
              <a:off x="3380508" y="2717151"/>
              <a:ext cx="2521527" cy="831273"/>
            </a:xfrm>
            <a:prstGeom prst="roundRect">
              <a:avLst/>
            </a:prstGeom>
            <a:solidFill>
              <a:srgbClr val="A055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t>Controller</a:t>
              </a:r>
            </a:p>
          </p:txBody>
        </p:sp>
        <p:sp>
          <p:nvSpPr>
            <p:cNvPr id="5" name="Oval 4">
              <a:extLst>
                <a:ext uri="{FF2B5EF4-FFF2-40B4-BE49-F238E27FC236}">
                  <a16:creationId xmlns:a16="http://schemas.microsoft.com/office/drawing/2014/main" id="{EF1CDC21-F349-CA24-D94A-ADD8D77A447D}"/>
                </a:ext>
              </a:extLst>
            </p:cNvPr>
            <p:cNvSpPr/>
            <p:nvPr/>
          </p:nvSpPr>
          <p:spPr>
            <a:xfrm>
              <a:off x="384048" y="2620169"/>
              <a:ext cx="1967346" cy="1025236"/>
            </a:xfrm>
            <a:prstGeom prst="ellipse">
              <a:avLst/>
            </a:prstGeom>
            <a:solidFill>
              <a:srgbClr val="92D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t>Dialogue</a:t>
              </a:r>
            </a:p>
          </p:txBody>
        </p:sp>
        <p:sp>
          <p:nvSpPr>
            <p:cNvPr id="6" name="Rectangle 5">
              <a:extLst>
                <a:ext uri="{FF2B5EF4-FFF2-40B4-BE49-F238E27FC236}">
                  <a16:creationId xmlns:a16="http://schemas.microsoft.com/office/drawing/2014/main" id="{97736FE9-8406-826F-F62D-52ACDC9EE397}"/>
                </a:ext>
              </a:extLst>
            </p:cNvPr>
            <p:cNvSpPr/>
            <p:nvPr/>
          </p:nvSpPr>
          <p:spPr>
            <a:xfrm>
              <a:off x="2351394" y="1338171"/>
              <a:ext cx="1551709" cy="734291"/>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a:t>LLM</a:t>
              </a:r>
            </a:p>
          </p:txBody>
        </p:sp>
        <p:sp>
          <p:nvSpPr>
            <p:cNvPr id="7" name="Rectangle 6">
              <a:extLst>
                <a:ext uri="{FF2B5EF4-FFF2-40B4-BE49-F238E27FC236}">
                  <a16:creationId xmlns:a16="http://schemas.microsoft.com/office/drawing/2014/main" id="{C4B18390-1AD6-FBC5-5887-D906FEB0FB05}"/>
                </a:ext>
              </a:extLst>
            </p:cNvPr>
            <p:cNvSpPr/>
            <p:nvPr/>
          </p:nvSpPr>
          <p:spPr>
            <a:xfrm>
              <a:off x="5305432" y="1333203"/>
              <a:ext cx="1551709" cy="734291"/>
            </a:xfrm>
            <a:prstGeom prst="rect">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t>Working Memory</a:t>
              </a:r>
            </a:p>
          </p:txBody>
        </p:sp>
        <p:sp>
          <p:nvSpPr>
            <p:cNvPr id="8" name="Rectangle 7">
              <a:extLst>
                <a:ext uri="{FF2B5EF4-FFF2-40B4-BE49-F238E27FC236}">
                  <a16:creationId xmlns:a16="http://schemas.microsoft.com/office/drawing/2014/main" id="{A8792D45-1E1D-1F9E-B4E0-342AC99D376B}"/>
                </a:ext>
              </a:extLst>
            </p:cNvPr>
            <p:cNvSpPr/>
            <p:nvPr/>
          </p:nvSpPr>
          <p:spPr>
            <a:xfrm>
              <a:off x="7032479" y="2717151"/>
              <a:ext cx="1908175" cy="734291"/>
            </a:xfrm>
            <a:prstGeom prst="rect">
              <a:avLst/>
            </a:prstGeom>
            <a:solidFill>
              <a:schemeClr val="bg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t>Example Pool</a:t>
              </a:r>
            </a:p>
          </p:txBody>
        </p:sp>
        <p:sp>
          <p:nvSpPr>
            <p:cNvPr id="9" name="Rectangle 8">
              <a:extLst>
                <a:ext uri="{FF2B5EF4-FFF2-40B4-BE49-F238E27FC236}">
                  <a16:creationId xmlns:a16="http://schemas.microsoft.com/office/drawing/2014/main" id="{CFCBB152-55FB-29C4-FF5B-5D319CD9E435}"/>
                </a:ext>
              </a:extLst>
            </p:cNvPr>
            <p:cNvSpPr/>
            <p:nvPr/>
          </p:nvSpPr>
          <p:spPr>
            <a:xfrm>
              <a:off x="3380507" y="4501898"/>
              <a:ext cx="2521527" cy="734291"/>
            </a:xfrm>
            <a:prstGeom prst="rect">
              <a:avLst/>
            </a:prstGeom>
            <a:solidFill>
              <a:schemeClr val="accent3">
                <a:lumMod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t>Tool Pool</a:t>
              </a:r>
            </a:p>
          </p:txBody>
        </p:sp>
        <p:cxnSp>
          <p:nvCxnSpPr>
            <p:cNvPr id="11" name="Straight Arrow Connector 10">
              <a:extLst>
                <a:ext uri="{FF2B5EF4-FFF2-40B4-BE49-F238E27FC236}">
                  <a16:creationId xmlns:a16="http://schemas.microsoft.com/office/drawing/2014/main" id="{58E60CFE-64DD-34B1-8F41-B09FBDF64EA0}"/>
                </a:ext>
              </a:extLst>
            </p:cNvPr>
            <p:cNvCxnSpPr/>
            <p:nvPr/>
          </p:nvCxnSpPr>
          <p:spPr>
            <a:xfrm>
              <a:off x="2351392" y="3084296"/>
              <a:ext cx="1029113" cy="0"/>
            </a:xfrm>
            <a:prstGeom prst="straightConnector1">
              <a:avLst/>
            </a:prstGeom>
            <a:ln>
              <a:tailEnd type="triangle"/>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cxnSp>
          <p:nvCxnSpPr>
            <p:cNvPr id="12" name="Straight Arrow Connector 11">
              <a:extLst>
                <a:ext uri="{FF2B5EF4-FFF2-40B4-BE49-F238E27FC236}">
                  <a16:creationId xmlns:a16="http://schemas.microsoft.com/office/drawing/2014/main" id="{A1E13374-9CA6-5978-BF11-886A88E4EC6F}"/>
                </a:ext>
              </a:extLst>
            </p:cNvPr>
            <p:cNvCxnSpPr/>
            <p:nvPr/>
          </p:nvCxnSpPr>
          <p:spPr>
            <a:xfrm>
              <a:off x="2351393" y="3241964"/>
              <a:ext cx="1029113" cy="0"/>
            </a:xfrm>
            <a:prstGeom prst="straightConnector1">
              <a:avLst/>
            </a:prstGeom>
            <a:ln>
              <a:headEnd type="triangle"/>
              <a:tailEnd type="none"/>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6C045D01-622D-D77B-FCBE-09FD62952D48}"/>
                </a:ext>
              </a:extLst>
            </p:cNvPr>
            <p:cNvSpPr txBox="1"/>
            <p:nvPr/>
          </p:nvSpPr>
          <p:spPr>
            <a:xfrm>
              <a:off x="2544218" y="2807254"/>
              <a:ext cx="603050" cy="276999"/>
            </a:xfrm>
            <a:prstGeom prst="rect">
              <a:avLst/>
            </a:prstGeom>
            <a:noFill/>
          </p:spPr>
          <p:txBody>
            <a:bodyPr wrap="none" rtlCol="0">
              <a:spAutoFit/>
            </a:bodyPr>
            <a:lstStyle/>
            <a:p>
              <a:r>
                <a:rPr lang="en-US" sz="1200"/>
                <a:t>Query</a:t>
              </a:r>
            </a:p>
          </p:txBody>
        </p:sp>
        <p:sp>
          <p:nvSpPr>
            <p:cNvPr id="14" name="TextBox 13">
              <a:extLst>
                <a:ext uri="{FF2B5EF4-FFF2-40B4-BE49-F238E27FC236}">
                  <a16:creationId xmlns:a16="http://schemas.microsoft.com/office/drawing/2014/main" id="{DE050D7A-21C2-9335-248C-03BC3ABFE711}"/>
                </a:ext>
              </a:extLst>
            </p:cNvPr>
            <p:cNvSpPr txBox="1"/>
            <p:nvPr/>
          </p:nvSpPr>
          <p:spPr>
            <a:xfrm>
              <a:off x="2408765" y="3230055"/>
              <a:ext cx="873957" cy="276999"/>
            </a:xfrm>
            <a:prstGeom prst="rect">
              <a:avLst/>
            </a:prstGeom>
            <a:noFill/>
          </p:spPr>
          <p:txBody>
            <a:bodyPr wrap="none" rtlCol="0">
              <a:spAutoFit/>
            </a:bodyPr>
            <a:lstStyle/>
            <a:p>
              <a:r>
                <a:rPr lang="en-US" sz="1200"/>
                <a:t>Response</a:t>
              </a:r>
            </a:p>
          </p:txBody>
        </p:sp>
        <p:cxnSp>
          <p:nvCxnSpPr>
            <p:cNvPr id="15" name="Straight Arrow Connector 14">
              <a:extLst>
                <a:ext uri="{FF2B5EF4-FFF2-40B4-BE49-F238E27FC236}">
                  <a16:creationId xmlns:a16="http://schemas.microsoft.com/office/drawing/2014/main" id="{D96976FA-594A-0160-64A9-950E7CC6108A}"/>
                </a:ext>
              </a:extLst>
            </p:cNvPr>
            <p:cNvCxnSpPr/>
            <p:nvPr/>
          </p:nvCxnSpPr>
          <p:spPr>
            <a:xfrm>
              <a:off x="5954725" y="3064606"/>
              <a:ext cx="1029113" cy="0"/>
            </a:xfrm>
            <a:prstGeom prst="straightConnector1">
              <a:avLst/>
            </a:prstGeom>
            <a:ln>
              <a:tailEnd type="triangle"/>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cxnSp>
          <p:nvCxnSpPr>
            <p:cNvPr id="16" name="Straight Arrow Connector 15">
              <a:extLst>
                <a:ext uri="{FF2B5EF4-FFF2-40B4-BE49-F238E27FC236}">
                  <a16:creationId xmlns:a16="http://schemas.microsoft.com/office/drawing/2014/main" id="{6727AE37-9DFF-A257-8359-B6AF7088E05D}"/>
                </a:ext>
              </a:extLst>
            </p:cNvPr>
            <p:cNvCxnSpPr/>
            <p:nvPr/>
          </p:nvCxnSpPr>
          <p:spPr>
            <a:xfrm>
              <a:off x="5954726" y="3222274"/>
              <a:ext cx="1029113" cy="0"/>
            </a:xfrm>
            <a:prstGeom prst="straightConnector1">
              <a:avLst/>
            </a:prstGeom>
            <a:ln>
              <a:headEnd type="triangle"/>
              <a:tailEnd type="none"/>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sp>
          <p:nvSpPr>
            <p:cNvPr id="17" name="TextBox 16">
              <a:extLst>
                <a:ext uri="{FF2B5EF4-FFF2-40B4-BE49-F238E27FC236}">
                  <a16:creationId xmlns:a16="http://schemas.microsoft.com/office/drawing/2014/main" id="{4171E7E1-2E27-E293-36CD-47F38E62CCDF}"/>
                </a:ext>
              </a:extLst>
            </p:cNvPr>
            <p:cNvSpPr txBox="1"/>
            <p:nvPr/>
          </p:nvSpPr>
          <p:spPr>
            <a:xfrm>
              <a:off x="6147551" y="2787564"/>
              <a:ext cx="755335" cy="276999"/>
            </a:xfrm>
            <a:prstGeom prst="rect">
              <a:avLst/>
            </a:prstGeom>
            <a:noFill/>
          </p:spPr>
          <p:txBody>
            <a:bodyPr wrap="none" rtlCol="0">
              <a:spAutoFit/>
            </a:bodyPr>
            <a:lstStyle/>
            <a:p>
              <a:r>
                <a:rPr lang="en-US" sz="1200"/>
                <a:t>Retrieve</a:t>
              </a:r>
            </a:p>
          </p:txBody>
        </p:sp>
        <p:sp>
          <p:nvSpPr>
            <p:cNvPr id="18" name="TextBox 17">
              <a:extLst>
                <a:ext uri="{FF2B5EF4-FFF2-40B4-BE49-F238E27FC236}">
                  <a16:creationId xmlns:a16="http://schemas.microsoft.com/office/drawing/2014/main" id="{DB8E4152-ED4B-1348-19AD-F2688D9BABAF}"/>
                </a:ext>
              </a:extLst>
            </p:cNvPr>
            <p:cNvSpPr txBox="1"/>
            <p:nvPr/>
          </p:nvSpPr>
          <p:spPr>
            <a:xfrm>
              <a:off x="6012098" y="3210365"/>
              <a:ext cx="857927" cy="276999"/>
            </a:xfrm>
            <a:prstGeom prst="rect">
              <a:avLst/>
            </a:prstGeom>
            <a:noFill/>
          </p:spPr>
          <p:txBody>
            <a:bodyPr wrap="none" rtlCol="0">
              <a:spAutoFit/>
            </a:bodyPr>
            <a:lstStyle/>
            <a:p>
              <a:r>
                <a:rPr lang="en-US" sz="1200"/>
                <a:t>Examples</a:t>
              </a:r>
            </a:p>
          </p:txBody>
        </p:sp>
        <p:cxnSp>
          <p:nvCxnSpPr>
            <p:cNvPr id="23" name="Straight Arrow Connector 22">
              <a:extLst>
                <a:ext uri="{FF2B5EF4-FFF2-40B4-BE49-F238E27FC236}">
                  <a16:creationId xmlns:a16="http://schemas.microsoft.com/office/drawing/2014/main" id="{37D0DE06-A98D-82D7-7C33-ADE6704B3EAE}"/>
                </a:ext>
              </a:extLst>
            </p:cNvPr>
            <p:cNvCxnSpPr>
              <a:cxnSpLocks/>
            </p:cNvCxnSpPr>
            <p:nvPr/>
          </p:nvCxnSpPr>
          <p:spPr>
            <a:xfrm>
              <a:off x="4596651" y="3582971"/>
              <a:ext cx="0" cy="890762"/>
            </a:xfrm>
            <a:prstGeom prst="straightConnector1">
              <a:avLst/>
            </a:prstGeom>
            <a:ln>
              <a:tailEnd type="triangle"/>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cxnSp>
          <p:nvCxnSpPr>
            <p:cNvPr id="24" name="Straight Arrow Connector 23">
              <a:extLst>
                <a:ext uri="{FF2B5EF4-FFF2-40B4-BE49-F238E27FC236}">
                  <a16:creationId xmlns:a16="http://schemas.microsoft.com/office/drawing/2014/main" id="{92E83179-1C18-028D-C569-6F859AA129EC}"/>
                </a:ext>
              </a:extLst>
            </p:cNvPr>
            <p:cNvCxnSpPr>
              <a:cxnSpLocks/>
            </p:cNvCxnSpPr>
            <p:nvPr/>
          </p:nvCxnSpPr>
          <p:spPr>
            <a:xfrm>
              <a:off x="4759722" y="3582971"/>
              <a:ext cx="0" cy="890762"/>
            </a:xfrm>
            <a:prstGeom prst="straightConnector1">
              <a:avLst/>
            </a:prstGeom>
            <a:ln>
              <a:headEnd type="triangle"/>
              <a:tailEnd type="none"/>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cxnSp>
          <p:nvCxnSpPr>
            <p:cNvPr id="34" name="Straight Arrow Connector 33">
              <a:extLst>
                <a:ext uri="{FF2B5EF4-FFF2-40B4-BE49-F238E27FC236}">
                  <a16:creationId xmlns:a16="http://schemas.microsoft.com/office/drawing/2014/main" id="{9CD4EE25-AB28-1B4F-9A79-6F11AB60204D}"/>
                </a:ext>
              </a:extLst>
            </p:cNvPr>
            <p:cNvCxnSpPr>
              <a:cxnSpLocks/>
            </p:cNvCxnSpPr>
            <p:nvPr/>
          </p:nvCxnSpPr>
          <p:spPr>
            <a:xfrm flipH="1" flipV="1">
              <a:off x="2991796" y="2084171"/>
              <a:ext cx="1143858" cy="596685"/>
            </a:xfrm>
            <a:prstGeom prst="straightConnector1">
              <a:avLst/>
            </a:prstGeom>
            <a:ln>
              <a:tailEnd type="triangle"/>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cxnSp>
          <p:nvCxnSpPr>
            <p:cNvPr id="35" name="Straight Arrow Connector 34">
              <a:extLst>
                <a:ext uri="{FF2B5EF4-FFF2-40B4-BE49-F238E27FC236}">
                  <a16:creationId xmlns:a16="http://schemas.microsoft.com/office/drawing/2014/main" id="{375EAF62-57B6-CCAE-D46B-1B668A682DB9}"/>
                </a:ext>
              </a:extLst>
            </p:cNvPr>
            <p:cNvCxnSpPr>
              <a:cxnSpLocks/>
              <a:endCxn id="6" idx="2"/>
            </p:cNvCxnSpPr>
            <p:nvPr/>
          </p:nvCxnSpPr>
          <p:spPr>
            <a:xfrm flipH="1" flipV="1">
              <a:off x="3127249" y="2072462"/>
              <a:ext cx="1099977" cy="573508"/>
            </a:xfrm>
            <a:prstGeom prst="straightConnector1">
              <a:avLst/>
            </a:prstGeom>
            <a:ln>
              <a:headEnd type="triangle"/>
              <a:tailEnd type="none"/>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cxnSp>
          <p:nvCxnSpPr>
            <p:cNvPr id="45" name="Straight Arrow Connector 44">
              <a:extLst>
                <a:ext uri="{FF2B5EF4-FFF2-40B4-BE49-F238E27FC236}">
                  <a16:creationId xmlns:a16="http://schemas.microsoft.com/office/drawing/2014/main" id="{D89DB5DD-9BC9-1215-3EA4-675BD7EB3215}"/>
                </a:ext>
              </a:extLst>
            </p:cNvPr>
            <p:cNvCxnSpPr>
              <a:cxnSpLocks/>
            </p:cNvCxnSpPr>
            <p:nvPr/>
          </p:nvCxnSpPr>
          <p:spPr>
            <a:xfrm rot="7567030" flipH="1" flipV="1">
              <a:off x="4897416" y="2097384"/>
              <a:ext cx="1143858" cy="596685"/>
            </a:xfrm>
            <a:prstGeom prst="straightConnector1">
              <a:avLst/>
            </a:prstGeom>
            <a:ln>
              <a:tailEnd type="triangle"/>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cxnSp>
          <p:nvCxnSpPr>
            <p:cNvPr id="46" name="Straight Arrow Connector 45">
              <a:extLst>
                <a:ext uri="{FF2B5EF4-FFF2-40B4-BE49-F238E27FC236}">
                  <a16:creationId xmlns:a16="http://schemas.microsoft.com/office/drawing/2014/main" id="{4D6863B7-3B25-B4D4-9F9D-63846FF9D8AC}"/>
                </a:ext>
              </a:extLst>
            </p:cNvPr>
            <p:cNvCxnSpPr>
              <a:cxnSpLocks/>
            </p:cNvCxnSpPr>
            <p:nvPr/>
          </p:nvCxnSpPr>
          <p:spPr>
            <a:xfrm flipV="1">
              <a:off x="5099217" y="2187940"/>
              <a:ext cx="995643" cy="489757"/>
            </a:xfrm>
            <a:prstGeom prst="straightConnector1">
              <a:avLst/>
            </a:prstGeom>
            <a:ln>
              <a:headEnd type="triangle"/>
              <a:tailEnd type="none"/>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sp>
          <p:nvSpPr>
            <p:cNvPr id="49" name="TextBox 48">
              <a:extLst>
                <a:ext uri="{FF2B5EF4-FFF2-40B4-BE49-F238E27FC236}">
                  <a16:creationId xmlns:a16="http://schemas.microsoft.com/office/drawing/2014/main" id="{E4754035-AA44-2F50-FB5E-153D67F2B23E}"/>
                </a:ext>
              </a:extLst>
            </p:cNvPr>
            <p:cNvSpPr txBox="1"/>
            <p:nvPr/>
          </p:nvSpPr>
          <p:spPr>
            <a:xfrm>
              <a:off x="3908642" y="3890829"/>
              <a:ext cx="688009" cy="276999"/>
            </a:xfrm>
            <a:prstGeom prst="rect">
              <a:avLst/>
            </a:prstGeom>
            <a:noFill/>
          </p:spPr>
          <p:txBody>
            <a:bodyPr wrap="none" rtlCol="0">
              <a:spAutoFit/>
            </a:bodyPr>
            <a:lstStyle/>
            <a:p>
              <a:r>
                <a:rPr lang="en-US" sz="1200"/>
                <a:t>Actions</a:t>
              </a:r>
            </a:p>
          </p:txBody>
        </p:sp>
        <p:sp>
          <p:nvSpPr>
            <p:cNvPr id="50" name="TextBox 49">
              <a:extLst>
                <a:ext uri="{FF2B5EF4-FFF2-40B4-BE49-F238E27FC236}">
                  <a16:creationId xmlns:a16="http://schemas.microsoft.com/office/drawing/2014/main" id="{C36877C2-0022-65F8-43B3-695787F7237D}"/>
                </a:ext>
              </a:extLst>
            </p:cNvPr>
            <p:cNvSpPr txBox="1"/>
            <p:nvPr/>
          </p:nvSpPr>
          <p:spPr>
            <a:xfrm>
              <a:off x="4746316" y="3882893"/>
              <a:ext cx="1088760" cy="276999"/>
            </a:xfrm>
            <a:prstGeom prst="rect">
              <a:avLst/>
            </a:prstGeom>
            <a:noFill/>
          </p:spPr>
          <p:txBody>
            <a:bodyPr wrap="none" rtlCol="0">
              <a:spAutoFit/>
            </a:bodyPr>
            <a:lstStyle/>
            <a:p>
              <a:r>
                <a:rPr lang="en-US" sz="1200"/>
                <a:t>Observations</a:t>
              </a:r>
            </a:p>
          </p:txBody>
        </p:sp>
        <p:sp>
          <p:nvSpPr>
            <p:cNvPr id="51" name="TextBox 50">
              <a:extLst>
                <a:ext uri="{FF2B5EF4-FFF2-40B4-BE49-F238E27FC236}">
                  <a16:creationId xmlns:a16="http://schemas.microsoft.com/office/drawing/2014/main" id="{A3E27587-A05C-272F-4779-CC9CDA8ACB3F}"/>
                </a:ext>
              </a:extLst>
            </p:cNvPr>
            <p:cNvSpPr txBox="1"/>
            <p:nvPr/>
          </p:nvSpPr>
          <p:spPr>
            <a:xfrm>
              <a:off x="4938419" y="2087385"/>
              <a:ext cx="540982" cy="276999"/>
            </a:xfrm>
            <a:prstGeom prst="rect">
              <a:avLst/>
            </a:prstGeom>
            <a:noFill/>
          </p:spPr>
          <p:txBody>
            <a:bodyPr wrap="none" rtlCol="0">
              <a:spAutoFit/>
            </a:bodyPr>
            <a:lstStyle/>
            <a:p>
              <a:r>
                <a:rPr lang="en-US" sz="1200"/>
                <a:t>Write</a:t>
              </a:r>
            </a:p>
          </p:txBody>
        </p:sp>
        <p:sp>
          <p:nvSpPr>
            <p:cNvPr id="52" name="TextBox 51">
              <a:extLst>
                <a:ext uri="{FF2B5EF4-FFF2-40B4-BE49-F238E27FC236}">
                  <a16:creationId xmlns:a16="http://schemas.microsoft.com/office/drawing/2014/main" id="{6C268BD1-D1B3-2AB1-D32D-30417845F927}"/>
                </a:ext>
              </a:extLst>
            </p:cNvPr>
            <p:cNvSpPr txBox="1"/>
            <p:nvPr/>
          </p:nvSpPr>
          <p:spPr>
            <a:xfrm>
              <a:off x="5806210" y="2251433"/>
              <a:ext cx="550151" cy="276999"/>
            </a:xfrm>
            <a:prstGeom prst="rect">
              <a:avLst/>
            </a:prstGeom>
            <a:noFill/>
          </p:spPr>
          <p:txBody>
            <a:bodyPr wrap="none" rtlCol="0">
              <a:spAutoFit/>
            </a:bodyPr>
            <a:lstStyle/>
            <a:p>
              <a:r>
                <a:rPr lang="en-US" sz="1200"/>
                <a:t>Read</a:t>
              </a:r>
            </a:p>
          </p:txBody>
        </p:sp>
        <p:sp>
          <p:nvSpPr>
            <p:cNvPr id="53" name="TextBox 52">
              <a:extLst>
                <a:ext uri="{FF2B5EF4-FFF2-40B4-BE49-F238E27FC236}">
                  <a16:creationId xmlns:a16="http://schemas.microsoft.com/office/drawing/2014/main" id="{305F3D42-263F-5FF4-497F-3A0D19073E6C}"/>
                </a:ext>
              </a:extLst>
            </p:cNvPr>
            <p:cNvSpPr txBox="1"/>
            <p:nvPr/>
          </p:nvSpPr>
          <p:spPr>
            <a:xfrm>
              <a:off x="2767234" y="2246189"/>
              <a:ext cx="679994" cy="276999"/>
            </a:xfrm>
            <a:prstGeom prst="rect">
              <a:avLst/>
            </a:prstGeom>
            <a:noFill/>
          </p:spPr>
          <p:txBody>
            <a:bodyPr wrap="none" rtlCol="0">
              <a:spAutoFit/>
            </a:bodyPr>
            <a:lstStyle/>
            <a:p>
              <a:r>
                <a:rPr lang="en-US" sz="1200"/>
                <a:t>Prompt</a:t>
              </a:r>
            </a:p>
          </p:txBody>
        </p:sp>
        <p:sp>
          <p:nvSpPr>
            <p:cNvPr id="54" name="TextBox 53">
              <a:extLst>
                <a:ext uri="{FF2B5EF4-FFF2-40B4-BE49-F238E27FC236}">
                  <a16:creationId xmlns:a16="http://schemas.microsoft.com/office/drawing/2014/main" id="{C9232C04-3978-7BA2-0F5F-38077D0EFC28}"/>
                </a:ext>
              </a:extLst>
            </p:cNvPr>
            <p:cNvSpPr txBox="1"/>
            <p:nvPr/>
          </p:nvSpPr>
          <p:spPr>
            <a:xfrm>
              <a:off x="3499627" y="2080514"/>
              <a:ext cx="585417" cy="276999"/>
            </a:xfrm>
            <a:prstGeom prst="rect">
              <a:avLst/>
            </a:prstGeom>
            <a:noFill/>
          </p:spPr>
          <p:txBody>
            <a:bodyPr wrap="none" rtlCol="0">
              <a:spAutoFit/>
            </a:bodyPr>
            <a:lstStyle/>
            <a:p>
              <a:r>
                <a:rPr lang="en-US" sz="1200"/>
                <a:t>Parse</a:t>
              </a:r>
            </a:p>
          </p:txBody>
        </p:sp>
      </p:grpSp>
      <p:sp>
        <p:nvSpPr>
          <p:cNvPr id="55" name="Rounded Rectangle 54">
            <a:extLst>
              <a:ext uri="{FF2B5EF4-FFF2-40B4-BE49-F238E27FC236}">
                <a16:creationId xmlns:a16="http://schemas.microsoft.com/office/drawing/2014/main" id="{C6F18684-FEF6-C07D-CB19-ACFF500632DA}"/>
              </a:ext>
            </a:extLst>
          </p:cNvPr>
          <p:cNvSpPr/>
          <p:nvPr/>
        </p:nvSpPr>
        <p:spPr>
          <a:xfrm>
            <a:off x="384048" y="5329003"/>
            <a:ext cx="2607748" cy="786984"/>
          </a:xfrm>
          <a:prstGeom prst="roundRect">
            <a:avLst/>
          </a:prstGeom>
          <a:noFill/>
          <a:ln>
            <a:solidFill>
              <a:schemeClr val="accent1"/>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6" name="TextBox 55">
            <a:extLst>
              <a:ext uri="{FF2B5EF4-FFF2-40B4-BE49-F238E27FC236}">
                <a16:creationId xmlns:a16="http://schemas.microsoft.com/office/drawing/2014/main" id="{314887DA-D5A9-4046-658E-7F8D89F67D19}"/>
              </a:ext>
            </a:extLst>
          </p:cNvPr>
          <p:cNvSpPr txBox="1"/>
          <p:nvPr/>
        </p:nvSpPr>
        <p:spPr>
          <a:xfrm>
            <a:off x="384048" y="5328854"/>
            <a:ext cx="559769" cy="276999"/>
          </a:xfrm>
          <a:prstGeom prst="rect">
            <a:avLst/>
          </a:prstGeom>
          <a:noFill/>
        </p:spPr>
        <p:txBody>
          <a:bodyPr wrap="none" rtlCol="0">
            <a:spAutoFit/>
          </a:bodyPr>
          <a:lstStyle/>
          <a:p>
            <a:r>
              <a:rPr lang="en-US" sz="1200"/>
              <a:t>LLMs</a:t>
            </a:r>
          </a:p>
        </p:txBody>
      </p:sp>
      <p:sp>
        <p:nvSpPr>
          <p:cNvPr id="57" name="Rounded Rectangle 56">
            <a:extLst>
              <a:ext uri="{FF2B5EF4-FFF2-40B4-BE49-F238E27FC236}">
                <a16:creationId xmlns:a16="http://schemas.microsoft.com/office/drawing/2014/main" id="{E31C7684-35C9-9725-EC58-2257EE3EF520}"/>
              </a:ext>
            </a:extLst>
          </p:cNvPr>
          <p:cNvSpPr/>
          <p:nvPr/>
        </p:nvSpPr>
        <p:spPr>
          <a:xfrm>
            <a:off x="3147268" y="5329003"/>
            <a:ext cx="2607748" cy="786984"/>
          </a:xfrm>
          <a:prstGeom prst="roundRect">
            <a:avLst/>
          </a:prstGeom>
          <a:noFill/>
          <a:ln>
            <a:solidFill>
              <a:schemeClr val="accent1"/>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8" name="TextBox 57">
            <a:extLst>
              <a:ext uri="{FF2B5EF4-FFF2-40B4-BE49-F238E27FC236}">
                <a16:creationId xmlns:a16="http://schemas.microsoft.com/office/drawing/2014/main" id="{0AA04268-7869-286E-2926-BB9F558B3E84}"/>
              </a:ext>
            </a:extLst>
          </p:cNvPr>
          <p:cNvSpPr txBox="1"/>
          <p:nvPr/>
        </p:nvSpPr>
        <p:spPr>
          <a:xfrm>
            <a:off x="3147268" y="5328854"/>
            <a:ext cx="1342483" cy="276999"/>
          </a:xfrm>
          <a:prstGeom prst="rect">
            <a:avLst/>
          </a:prstGeom>
          <a:noFill/>
        </p:spPr>
        <p:txBody>
          <a:bodyPr wrap="none" rtlCol="0">
            <a:spAutoFit/>
          </a:bodyPr>
          <a:lstStyle/>
          <a:p>
            <a:r>
              <a:rPr lang="en-US" sz="1200"/>
              <a:t>Working Memory</a:t>
            </a:r>
          </a:p>
        </p:txBody>
      </p:sp>
      <p:sp>
        <p:nvSpPr>
          <p:cNvPr id="61" name="Rounded Rectangle 60">
            <a:extLst>
              <a:ext uri="{FF2B5EF4-FFF2-40B4-BE49-F238E27FC236}">
                <a16:creationId xmlns:a16="http://schemas.microsoft.com/office/drawing/2014/main" id="{9E132AFE-DF05-D3F7-FEDC-8BB73B4DF104}"/>
              </a:ext>
            </a:extLst>
          </p:cNvPr>
          <p:cNvSpPr/>
          <p:nvPr/>
        </p:nvSpPr>
        <p:spPr>
          <a:xfrm>
            <a:off x="5904595" y="5328854"/>
            <a:ext cx="2607748" cy="786984"/>
          </a:xfrm>
          <a:prstGeom prst="roundRect">
            <a:avLst/>
          </a:prstGeom>
          <a:noFill/>
          <a:ln>
            <a:solidFill>
              <a:schemeClr val="accent1"/>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2" name="TextBox 61">
            <a:extLst>
              <a:ext uri="{FF2B5EF4-FFF2-40B4-BE49-F238E27FC236}">
                <a16:creationId xmlns:a16="http://schemas.microsoft.com/office/drawing/2014/main" id="{D6BBFA7D-F158-A401-B8C6-00FFCA3B587D}"/>
              </a:ext>
            </a:extLst>
          </p:cNvPr>
          <p:cNvSpPr txBox="1"/>
          <p:nvPr/>
        </p:nvSpPr>
        <p:spPr>
          <a:xfrm>
            <a:off x="5904595" y="5328705"/>
            <a:ext cx="815223" cy="276999"/>
          </a:xfrm>
          <a:prstGeom prst="rect">
            <a:avLst/>
          </a:prstGeom>
          <a:noFill/>
        </p:spPr>
        <p:txBody>
          <a:bodyPr wrap="none" rtlCol="0">
            <a:spAutoFit/>
          </a:bodyPr>
          <a:lstStyle/>
          <a:p>
            <a:r>
              <a:rPr lang="en-US" sz="1200"/>
              <a:t>Tool Pool</a:t>
            </a:r>
          </a:p>
        </p:txBody>
      </p:sp>
      <p:sp>
        <p:nvSpPr>
          <p:cNvPr id="63" name="Rounded Rectangle 62">
            <a:extLst>
              <a:ext uri="{FF2B5EF4-FFF2-40B4-BE49-F238E27FC236}">
                <a16:creationId xmlns:a16="http://schemas.microsoft.com/office/drawing/2014/main" id="{ED3FAC47-5838-FAFF-E34F-00EBE2813C16}"/>
              </a:ext>
            </a:extLst>
          </p:cNvPr>
          <p:cNvSpPr/>
          <p:nvPr/>
        </p:nvSpPr>
        <p:spPr>
          <a:xfrm>
            <a:off x="8667815" y="5328854"/>
            <a:ext cx="2607748" cy="786984"/>
          </a:xfrm>
          <a:prstGeom prst="roundRect">
            <a:avLst/>
          </a:prstGeom>
          <a:noFill/>
          <a:ln>
            <a:solidFill>
              <a:schemeClr val="accent1"/>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4" name="TextBox 63">
            <a:extLst>
              <a:ext uri="{FF2B5EF4-FFF2-40B4-BE49-F238E27FC236}">
                <a16:creationId xmlns:a16="http://schemas.microsoft.com/office/drawing/2014/main" id="{855DF916-8D51-ADD4-BA51-6F0AF9C86B73}"/>
              </a:ext>
            </a:extLst>
          </p:cNvPr>
          <p:cNvSpPr txBox="1"/>
          <p:nvPr/>
        </p:nvSpPr>
        <p:spPr>
          <a:xfrm>
            <a:off x="8667815" y="5328705"/>
            <a:ext cx="1140056" cy="276999"/>
          </a:xfrm>
          <a:prstGeom prst="rect">
            <a:avLst/>
          </a:prstGeom>
          <a:noFill/>
        </p:spPr>
        <p:txBody>
          <a:bodyPr wrap="none" rtlCol="0">
            <a:spAutoFit/>
          </a:bodyPr>
          <a:lstStyle/>
          <a:p>
            <a:r>
              <a:rPr lang="en-US" sz="1200"/>
              <a:t>Example Pool</a:t>
            </a:r>
          </a:p>
        </p:txBody>
      </p:sp>
      <p:sp>
        <p:nvSpPr>
          <p:cNvPr id="65" name="Rectangle 64">
            <a:extLst>
              <a:ext uri="{FF2B5EF4-FFF2-40B4-BE49-F238E27FC236}">
                <a16:creationId xmlns:a16="http://schemas.microsoft.com/office/drawing/2014/main" id="{A4CB24FC-8CB9-AF26-3A1D-3A3BDB4CD35E}"/>
              </a:ext>
            </a:extLst>
          </p:cNvPr>
          <p:cNvSpPr/>
          <p:nvPr/>
        </p:nvSpPr>
        <p:spPr>
          <a:xfrm>
            <a:off x="487180" y="5605704"/>
            <a:ext cx="2435902" cy="435332"/>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900"/>
              <a:t>API-based LLMs, Open-source local LLMs</a:t>
            </a:r>
          </a:p>
        </p:txBody>
      </p:sp>
      <p:sp>
        <p:nvSpPr>
          <p:cNvPr id="66" name="Rectangle 65">
            <a:extLst>
              <a:ext uri="{FF2B5EF4-FFF2-40B4-BE49-F238E27FC236}">
                <a16:creationId xmlns:a16="http://schemas.microsoft.com/office/drawing/2014/main" id="{C4EAB718-CEC0-9744-3B33-4E5644AEFD0F}"/>
              </a:ext>
            </a:extLst>
          </p:cNvPr>
          <p:cNvSpPr/>
          <p:nvPr/>
        </p:nvSpPr>
        <p:spPr>
          <a:xfrm>
            <a:off x="3233191" y="5605704"/>
            <a:ext cx="2435902" cy="435332"/>
          </a:xfrm>
          <a:prstGeom prst="rect">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900"/>
              <a:t>System Prompt, Task Instruction, Conversation history, Scratchpad, Retrieved Examples, Task Trajectory</a:t>
            </a:r>
          </a:p>
        </p:txBody>
      </p:sp>
      <p:sp>
        <p:nvSpPr>
          <p:cNvPr id="67" name="Rectangle 66">
            <a:extLst>
              <a:ext uri="{FF2B5EF4-FFF2-40B4-BE49-F238E27FC236}">
                <a16:creationId xmlns:a16="http://schemas.microsoft.com/office/drawing/2014/main" id="{59ACE95C-5A6D-D18E-A5CD-F7FDCF9AEE07}"/>
              </a:ext>
            </a:extLst>
          </p:cNvPr>
          <p:cNvSpPr/>
          <p:nvPr/>
        </p:nvSpPr>
        <p:spPr>
          <a:xfrm>
            <a:off x="5993464" y="5605704"/>
            <a:ext cx="2435902" cy="435332"/>
          </a:xfrm>
          <a:prstGeom prst="rect">
            <a:avLst/>
          </a:prstGeom>
          <a:solidFill>
            <a:schemeClr val="accent3">
              <a:lumMod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900"/>
              <a:t>Database, Scripting Programming, Interpreter, Knowledge Bases, AI Tools</a:t>
            </a:r>
          </a:p>
        </p:txBody>
      </p:sp>
      <p:sp>
        <p:nvSpPr>
          <p:cNvPr id="68" name="Rectangle 67">
            <a:extLst>
              <a:ext uri="{FF2B5EF4-FFF2-40B4-BE49-F238E27FC236}">
                <a16:creationId xmlns:a16="http://schemas.microsoft.com/office/drawing/2014/main" id="{209146A4-49A3-E296-3A17-AD09DF0B5B2B}"/>
              </a:ext>
            </a:extLst>
          </p:cNvPr>
          <p:cNvSpPr/>
          <p:nvPr/>
        </p:nvSpPr>
        <p:spPr>
          <a:xfrm>
            <a:off x="8753738" y="5605704"/>
            <a:ext cx="2435902" cy="435332"/>
          </a:xfrm>
          <a:prstGeom prst="rect">
            <a:avLst/>
          </a:prstGeom>
          <a:solidFill>
            <a:schemeClr val="bg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900"/>
              <a:t>&lt;Q1, A1&gt;, &lt;Q2, A2&gt; … &lt;QN, AN&gt;</a:t>
            </a:r>
          </a:p>
        </p:txBody>
      </p:sp>
    </p:spTree>
    <p:extLst>
      <p:ext uri="{BB962C8B-B14F-4D97-AF65-F5344CB8AC3E}">
        <p14:creationId xmlns:p14="http://schemas.microsoft.com/office/powerpoint/2010/main" val="66312582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507AF9E6-C529-2309-A0D0-D01DE669B1A0}"/>
            </a:ext>
          </a:extLst>
        </p:cNvPr>
        <p:cNvGrpSpPr/>
        <p:nvPr/>
      </p:nvGrpSpPr>
      <p:grpSpPr>
        <a:xfrm>
          <a:off x="0" y="0"/>
          <a:ext cx="0" cy="0"/>
          <a:chOff x="0" y="0"/>
          <a:chExt cx="0" cy="0"/>
        </a:xfrm>
      </p:grpSpPr>
      <p:sp>
        <p:nvSpPr>
          <p:cNvPr id="76" name="Rectangle 75">
            <a:extLst>
              <a:ext uri="{FF2B5EF4-FFF2-40B4-BE49-F238E27FC236}">
                <a16:creationId xmlns:a16="http://schemas.microsoft.com/office/drawing/2014/main" id="{4F354338-0AA8-4666-9F57-4A811170D427}"/>
              </a:ext>
            </a:extLst>
          </p:cNvPr>
          <p:cNvSpPr/>
          <p:nvPr/>
        </p:nvSpPr>
        <p:spPr>
          <a:xfrm>
            <a:off x="9892145" y="2487505"/>
            <a:ext cx="2086798" cy="3747039"/>
          </a:xfrm>
          <a:prstGeom prst="rect">
            <a:avLst/>
          </a:prstGeom>
          <a:solidFill>
            <a:schemeClr val="accent3">
              <a:lumMod val="90000"/>
              <a:alpha val="4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1F41044-55BB-BA79-F678-45A1E5B604EA}"/>
              </a:ext>
            </a:extLst>
          </p:cNvPr>
          <p:cNvSpPr>
            <a:spLocks noGrp="1"/>
          </p:cNvSpPr>
          <p:nvPr>
            <p:ph type="title"/>
          </p:nvPr>
        </p:nvSpPr>
        <p:spPr/>
        <p:txBody>
          <a:bodyPr/>
          <a:lstStyle/>
          <a:p>
            <a:r>
              <a:rPr lang="en-US"/>
              <a:t>Operationalizing the RAISE Framework</a:t>
            </a:r>
          </a:p>
        </p:txBody>
      </p:sp>
      <p:grpSp>
        <p:nvGrpSpPr>
          <p:cNvPr id="69" name="Group 68">
            <a:extLst>
              <a:ext uri="{FF2B5EF4-FFF2-40B4-BE49-F238E27FC236}">
                <a16:creationId xmlns:a16="http://schemas.microsoft.com/office/drawing/2014/main" id="{B1936F73-3BDC-4F2A-ABAB-3F2B82957BB0}"/>
              </a:ext>
            </a:extLst>
          </p:cNvPr>
          <p:cNvGrpSpPr>
            <a:grpSpLocks noChangeAspect="1"/>
          </p:cNvGrpSpPr>
          <p:nvPr/>
        </p:nvGrpSpPr>
        <p:grpSpPr>
          <a:xfrm>
            <a:off x="487180" y="1586358"/>
            <a:ext cx="4039667" cy="1842642"/>
            <a:chOff x="384048" y="1333203"/>
            <a:chExt cx="8556606" cy="3902986"/>
          </a:xfrm>
        </p:grpSpPr>
        <p:sp>
          <p:nvSpPr>
            <p:cNvPr id="4" name="Rounded Rectangle 3">
              <a:extLst>
                <a:ext uri="{FF2B5EF4-FFF2-40B4-BE49-F238E27FC236}">
                  <a16:creationId xmlns:a16="http://schemas.microsoft.com/office/drawing/2014/main" id="{3A0F9292-1E28-7EB9-E5C0-8EE52B1D8072}"/>
                </a:ext>
              </a:extLst>
            </p:cNvPr>
            <p:cNvSpPr/>
            <p:nvPr/>
          </p:nvSpPr>
          <p:spPr>
            <a:xfrm>
              <a:off x="3380508" y="2717151"/>
              <a:ext cx="2521527" cy="831273"/>
            </a:xfrm>
            <a:prstGeom prst="roundRect">
              <a:avLst/>
            </a:prstGeom>
            <a:solidFill>
              <a:srgbClr val="A055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a:t>Controller</a:t>
              </a:r>
            </a:p>
          </p:txBody>
        </p:sp>
        <p:sp>
          <p:nvSpPr>
            <p:cNvPr id="5" name="Oval 4">
              <a:extLst>
                <a:ext uri="{FF2B5EF4-FFF2-40B4-BE49-F238E27FC236}">
                  <a16:creationId xmlns:a16="http://schemas.microsoft.com/office/drawing/2014/main" id="{D9179B96-3BB1-D2FB-342D-578F00242E5F}"/>
                </a:ext>
              </a:extLst>
            </p:cNvPr>
            <p:cNvSpPr/>
            <p:nvPr/>
          </p:nvSpPr>
          <p:spPr>
            <a:xfrm>
              <a:off x="384048" y="2620169"/>
              <a:ext cx="1967346" cy="1025236"/>
            </a:xfrm>
            <a:prstGeom prst="ellipse">
              <a:avLst/>
            </a:prstGeom>
            <a:solidFill>
              <a:srgbClr val="92D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900"/>
                <a:t>Dialogue</a:t>
              </a:r>
            </a:p>
          </p:txBody>
        </p:sp>
        <p:sp>
          <p:nvSpPr>
            <p:cNvPr id="6" name="Rectangle 5">
              <a:extLst>
                <a:ext uri="{FF2B5EF4-FFF2-40B4-BE49-F238E27FC236}">
                  <a16:creationId xmlns:a16="http://schemas.microsoft.com/office/drawing/2014/main" id="{E9AAC7A1-6232-3A9C-4442-544B263B5295}"/>
                </a:ext>
              </a:extLst>
            </p:cNvPr>
            <p:cNvSpPr/>
            <p:nvPr/>
          </p:nvSpPr>
          <p:spPr>
            <a:xfrm>
              <a:off x="2351394" y="1338171"/>
              <a:ext cx="1551709" cy="734291"/>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900"/>
                <a:t>LLM</a:t>
              </a:r>
            </a:p>
          </p:txBody>
        </p:sp>
        <p:sp>
          <p:nvSpPr>
            <p:cNvPr id="7" name="Rectangle 6">
              <a:extLst>
                <a:ext uri="{FF2B5EF4-FFF2-40B4-BE49-F238E27FC236}">
                  <a16:creationId xmlns:a16="http://schemas.microsoft.com/office/drawing/2014/main" id="{B9400A52-FDB5-FED3-E6C0-3E9307935D63}"/>
                </a:ext>
              </a:extLst>
            </p:cNvPr>
            <p:cNvSpPr/>
            <p:nvPr/>
          </p:nvSpPr>
          <p:spPr>
            <a:xfrm>
              <a:off x="5305432" y="1333203"/>
              <a:ext cx="1551709" cy="734291"/>
            </a:xfrm>
            <a:prstGeom prst="rect">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900"/>
                <a:t>Working Memory</a:t>
              </a:r>
            </a:p>
          </p:txBody>
        </p:sp>
        <p:sp>
          <p:nvSpPr>
            <p:cNvPr id="8" name="Rectangle 7">
              <a:extLst>
                <a:ext uri="{FF2B5EF4-FFF2-40B4-BE49-F238E27FC236}">
                  <a16:creationId xmlns:a16="http://schemas.microsoft.com/office/drawing/2014/main" id="{1FB6CBCE-27C7-C74F-2AA2-B3F20F3622A6}"/>
                </a:ext>
              </a:extLst>
            </p:cNvPr>
            <p:cNvSpPr/>
            <p:nvPr/>
          </p:nvSpPr>
          <p:spPr>
            <a:xfrm>
              <a:off x="7032479" y="2717151"/>
              <a:ext cx="1908175" cy="734291"/>
            </a:xfrm>
            <a:prstGeom prst="rect">
              <a:avLst/>
            </a:prstGeom>
            <a:solidFill>
              <a:schemeClr val="bg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900"/>
                <a:t>Example Pool</a:t>
              </a:r>
            </a:p>
          </p:txBody>
        </p:sp>
        <p:sp>
          <p:nvSpPr>
            <p:cNvPr id="9" name="Rectangle 8">
              <a:extLst>
                <a:ext uri="{FF2B5EF4-FFF2-40B4-BE49-F238E27FC236}">
                  <a16:creationId xmlns:a16="http://schemas.microsoft.com/office/drawing/2014/main" id="{12361D76-66AC-32E0-F501-146DC864A15E}"/>
                </a:ext>
              </a:extLst>
            </p:cNvPr>
            <p:cNvSpPr/>
            <p:nvPr/>
          </p:nvSpPr>
          <p:spPr>
            <a:xfrm>
              <a:off x="3380507" y="4501898"/>
              <a:ext cx="2521527" cy="734291"/>
            </a:xfrm>
            <a:prstGeom prst="rect">
              <a:avLst/>
            </a:prstGeom>
            <a:solidFill>
              <a:schemeClr val="accent3">
                <a:lumMod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900"/>
                <a:t>Tool Pool</a:t>
              </a:r>
            </a:p>
          </p:txBody>
        </p:sp>
        <p:cxnSp>
          <p:nvCxnSpPr>
            <p:cNvPr id="11" name="Straight Arrow Connector 10">
              <a:extLst>
                <a:ext uri="{FF2B5EF4-FFF2-40B4-BE49-F238E27FC236}">
                  <a16:creationId xmlns:a16="http://schemas.microsoft.com/office/drawing/2014/main" id="{ABBC102B-A57C-4D13-4E1B-1A722087F1D0}"/>
                </a:ext>
              </a:extLst>
            </p:cNvPr>
            <p:cNvCxnSpPr/>
            <p:nvPr/>
          </p:nvCxnSpPr>
          <p:spPr>
            <a:xfrm>
              <a:off x="2351392" y="3084296"/>
              <a:ext cx="1029113" cy="0"/>
            </a:xfrm>
            <a:prstGeom prst="straightConnector1">
              <a:avLst/>
            </a:prstGeom>
            <a:ln>
              <a:tailEnd type="triangle"/>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cxnSp>
          <p:nvCxnSpPr>
            <p:cNvPr id="12" name="Straight Arrow Connector 11">
              <a:extLst>
                <a:ext uri="{FF2B5EF4-FFF2-40B4-BE49-F238E27FC236}">
                  <a16:creationId xmlns:a16="http://schemas.microsoft.com/office/drawing/2014/main" id="{2C7DA535-E375-633A-3ADB-8576289B0A91}"/>
                </a:ext>
              </a:extLst>
            </p:cNvPr>
            <p:cNvCxnSpPr/>
            <p:nvPr/>
          </p:nvCxnSpPr>
          <p:spPr>
            <a:xfrm>
              <a:off x="2351393" y="3241964"/>
              <a:ext cx="1029113" cy="0"/>
            </a:xfrm>
            <a:prstGeom prst="straightConnector1">
              <a:avLst/>
            </a:prstGeom>
            <a:ln>
              <a:headEnd type="triangle"/>
              <a:tailEnd type="none"/>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1680CD95-B610-D269-7D09-AFEC9D464C41}"/>
                </a:ext>
              </a:extLst>
            </p:cNvPr>
            <p:cNvSpPr txBox="1"/>
            <p:nvPr/>
          </p:nvSpPr>
          <p:spPr>
            <a:xfrm>
              <a:off x="2419688" y="2774233"/>
              <a:ext cx="757852" cy="358554"/>
            </a:xfrm>
            <a:prstGeom prst="rect">
              <a:avLst/>
            </a:prstGeom>
            <a:noFill/>
          </p:spPr>
          <p:txBody>
            <a:bodyPr wrap="none" rtlCol="0">
              <a:spAutoFit/>
            </a:bodyPr>
            <a:lstStyle/>
            <a:p>
              <a:r>
                <a:rPr lang="en-US" sz="500"/>
                <a:t>Query</a:t>
              </a:r>
            </a:p>
          </p:txBody>
        </p:sp>
        <p:sp>
          <p:nvSpPr>
            <p:cNvPr id="14" name="TextBox 13">
              <a:extLst>
                <a:ext uri="{FF2B5EF4-FFF2-40B4-BE49-F238E27FC236}">
                  <a16:creationId xmlns:a16="http://schemas.microsoft.com/office/drawing/2014/main" id="{A1DD21E4-6EB1-9BA6-51C2-38A68E2477B5}"/>
                </a:ext>
              </a:extLst>
            </p:cNvPr>
            <p:cNvSpPr txBox="1"/>
            <p:nvPr/>
          </p:nvSpPr>
          <p:spPr>
            <a:xfrm>
              <a:off x="2391680" y="3177675"/>
              <a:ext cx="998926" cy="358554"/>
            </a:xfrm>
            <a:prstGeom prst="rect">
              <a:avLst/>
            </a:prstGeom>
            <a:noFill/>
          </p:spPr>
          <p:txBody>
            <a:bodyPr wrap="none" rtlCol="0">
              <a:spAutoFit/>
            </a:bodyPr>
            <a:lstStyle/>
            <a:p>
              <a:r>
                <a:rPr lang="en-US" sz="500"/>
                <a:t>Response</a:t>
              </a:r>
            </a:p>
          </p:txBody>
        </p:sp>
        <p:cxnSp>
          <p:nvCxnSpPr>
            <p:cNvPr id="15" name="Straight Arrow Connector 14">
              <a:extLst>
                <a:ext uri="{FF2B5EF4-FFF2-40B4-BE49-F238E27FC236}">
                  <a16:creationId xmlns:a16="http://schemas.microsoft.com/office/drawing/2014/main" id="{31C5EDFE-1C51-D7DA-598A-4421EE34073C}"/>
                </a:ext>
              </a:extLst>
            </p:cNvPr>
            <p:cNvCxnSpPr/>
            <p:nvPr/>
          </p:nvCxnSpPr>
          <p:spPr>
            <a:xfrm>
              <a:off x="5954725" y="3064606"/>
              <a:ext cx="1029113" cy="0"/>
            </a:xfrm>
            <a:prstGeom prst="straightConnector1">
              <a:avLst/>
            </a:prstGeom>
            <a:ln>
              <a:tailEnd type="triangle"/>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cxnSp>
          <p:nvCxnSpPr>
            <p:cNvPr id="16" name="Straight Arrow Connector 15">
              <a:extLst>
                <a:ext uri="{FF2B5EF4-FFF2-40B4-BE49-F238E27FC236}">
                  <a16:creationId xmlns:a16="http://schemas.microsoft.com/office/drawing/2014/main" id="{530AA2E4-8076-66A8-1DA3-366ADB33519B}"/>
                </a:ext>
              </a:extLst>
            </p:cNvPr>
            <p:cNvCxnSpPr/>
            <p:nvPr/>
          </p:nvCxnSpPr>
          <p:spPr>
            <a:xfrm>
              <a:off x="5954726" y="3222274"/>
              <a:ext cx="1029113" cy="0"/>
            </a:xfrm>
            <a:prstGeom prst="straightConnector1">
              <a:avLst/>
            </a:prstGeom>
            <a:ln>
              <a:headEnd type="triangle"/>
              <a:tailEnd type="none"/>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sp>
          <p:nvSpPr>
            <p:cNvPr id="17" name="TextBox 16">
              <a:extLst>
                <a:ext uri="{FF2B5EF4-FFF2-40B4-BE49-F238E27FC236}">
                  <a16:creationId xmlns:a16="http://schemas.microsoft.com/office/drawing/2014/main" id="{0AE584FC-23DE-FEDD-EDBA-2FEB34DF18A2}"/>
                </a:ext>
              </a:extLst>
            </p:cNvPr>
            <p:cNvSpPr txBox="1"/>
            <p:nvPr/>
          </p:nvSpPr>
          <p:spPr>
            <a:xfrm>
              <a:off x="5997074" y="2760385"/>
              <a:ext cx="893667" cy="358554"/>
            </a:xfrm>
            <a:prstGeom prst="rect">
              <a:avLst/>
            </a:prstGeom>
            <a:noFill/>
          </p:spPr>
          <p:txBody>
            <a:bodyPr wrap="none" rtlCol="0">
              <a:spAutoFit/>
            </a:bodyPr>
            <a:lstStyle/>
            <a:p>
              <a:r>
                <a:rPr lang="en-US" sz="500"/>
                <a:t>Retrieve</a:t>
              </a:r>
            </a:p>
          </p:txBody>
        </p:sp>
        <p:sp>
          <p:nvSpPr>
            <p:cNvPr id="18" name="TextBox 17">
              <a:extLst>
                <a:ext uri="{FF2B5EF4-FFF2-40B4-BE49-F238E27FC236}">
                  <a16:creationId xmlns:a16="http://schemas.microsoft.com/office/drawing/2014/main" id="{457CA956-2D98-A984-2F1E-CA63AD40730D}"/>
                </a:ext>
              </a:extLst>
            </p:cNvPr>
            <p:cNvSpPr txBox="1"/>
            <p:nvPr/>
          </p:nvSpPr>
          <p:spPr>
            <a:xfrm>
              <a:off x="6022814" y="3149950"/>
              <a:ext cx="985345" cy="358554"/>
            </a:xfrm>
            <a:prstGeom prst="rect">
              <a:avLst/>
            </a:prstGeom>
            <a:noFill/>
          </p:spPr>
          <p:txBody>
            <a:bodyPr wrap="none" rtlCol="0">
              <a:spAutoFit/>
            </a:bodyPr>
            <a:lstStyle/>
            <a:p>
              <a:r>
                <a:rPr lang="en-US" sz="500"/>
                <a:t>Examples</a:t>
              </a:r>
            </a:p>
          </p:txBody>
        </p:sp>
        <p:cxnSp>
          <p:nvCxnSpPr>
            <p:cNvPr id="23" name="Straight Arrow Connector 22">
              <a:extLst>
                <a:ext uri="{FF2B5EF4-FFF2-40B4-BE49-F238E27FC236}">
                  <a16:creationId xmlns:a16="http://schemas.microsoft.com/office/drawing/2014/main" id="{00A8C7C5-6535-2D5E-BEE1-54DE041DFD92}"/>
                </a:ext>
              </a:extLst>
            </p:cNvPr>
            <p:cNvCxnSpPr>
              <a:cxnSpLocks/>
            </p:cNvCxnSpPr>
            <p:nvPr/>
          </p:nvCxnSpPr>
          <p:spPr>
            <a:xfrm>
              <a:off x="4596651" y="3582971"/>
              <a:ext cx="0" cy="890762"/>
            </a:xfrm>
            <a:prstGeom prst="straightConnector1">
              <a:avLst/>
            </a:prstGeom>
            <a:ln>
              <a:tailEnd type="triangle"/>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cxnSp>
          <p:nvCxnSpPr>
            <p:cNvPr id="24" name="Straight Arrow Connector 23">
              <a:extLst>
                <a:ext uri="{FF2B5EF4-FFF2-40B4-BE49-F238E27FC236}">
                  <a16:creationId xmlns:a16="http://schemas.microsoft.com/office/drawing/2014/main" id="{F1EC6D56-4008-9794-4334-A9B974BD425F}"/>
                </a:ext>
              </a:extLst>
            </p:cNvPr>
            <p:cNvCxnSpPr>
              <a:cxnSpLocks/>
            </p:cNvCxnSpPr>
            <p:nvPr/>
          </p:nvCxnSpPr>
          <p:spPr>
            <a:xfrm>
              <a:off x="4759722" y="3582971"/>
              <a:ext cx="0" cy="890762"/>
            </a:xfrm>
            <a:prstGeom prst="straightConnector1">
              <a:avLst/>
            </a:prstGeom>
            <a:ln>
              <a:headEnd type="triangle"/>
              <a:tailEnd type="none"/>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cxnSp>
          <p:nvCxnSpPr>
            <p:cNvPr id="34" name="Straight Arrow Connector 33">
              <a:extLst>
                <a:ext uri="{FF2B5EF4-FFF2-40B4-BE49-F238E27FC236}">
                  <a16:creationId xmlns:a16="http://schemas.microsoft.com/office/drawing/2014/main" id="{F84EE08B-DB54-7AA9-D723-4F0A082D1570}"/>
                </a:ext>
              </a:extLst>
            </p:cNvPr>
            <p:cNvCxnSpPr>
              <a:cxnSpLocks/>
            </p:cNvCxnSpPr>
            <p:nvPr/>
          </p:nvCxnSpPr>
          <p:spPr>
            <a:xfrm flipH="1" flipV="1">
              <a:off x="2991796" y="2084171"/>
              <a:ext cx="1143858" cy="596685"/>
            </a:xfrm>
            <a:prstGeom prst="straightConnector1">
              <a:avLst/>
            </a:prstGeom>
            <a:ln>
              <a:tailEnd type="triangle"/>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cxnSp>
          <p:nvCxnSpPr>
            <p:cNvPr id="35" name="Straight Arrow Connector 34">
              <a:extLst>
                <a:ext uri="{FF2B5EF4-FFF2-40B4-BE49-F238E27FC236}">
                  <a16:creationId xmlns:a16="http://schemas.microsoft.com/office/drawing/2014/main" id="{4524144E-0541-DA65-21D3-F8898CF49A1E}"/>
                </a:ext>
              </a:extLst>
            </p:cNvPr>
            <p:cNvCxnSpPr>
              <a:cxnSpLocks/>
            </p:cNvCxnSpPr>
            <p:nvPr/>
          </p:nvCxnSpPr>
          <p:spPr>
            <a:xfrm flipH="1" flipV="1">
              <a:off x="3310602" y="2089184"/>
              <a:ext cx="1099977" cy="573507"/>
            </a:xfrm>
            <a:prstGeom prst="straightConnector1">
              <a:avLst/>
            </a:prstGeom>
            <a:ln>
              <a:headEnd type="triangle"/>
              <a:tailEnd type="none"/>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cxnSp>
          <p:nvCxnSpPr>
            <p:cNvPr id="45" name="Straight Arrow Connector 44">
              <a:extLst>
                <a:ext uri="{FF2B5EF4-FFF2-40B4-BE49-F238E27FC236}">
                  <a16:creationId xmlns:a16="http://schemas.microsoft.com/office/drawing/2014/main" id="{A8FFAA2A-9CF9-CC07-C834-FE202DDBB795}"/>
                </a:ext>
              </a:extLst>
            </p:cNvPr>
            <p:cNvCxnSpPr>
              <a:cxnSpLocks/>
            </p:cNvCxnSpPr>
            <p:nvPr/>
          </p:nvCxnSpPr>
          <p:spPr>
            <a:xfrm rot="7567030" flipH="1" flipV="1">
              <a:off x="4828108" y="2071886"/>
              <a:ext cx="1143859" cy="596684"/>
            </a:xfrm>
            <a:prstGeom prst="straightConnector1">
              <a:avLst/>
            </a:prstGeom>
            <a:ln>
              <a:tailEnd type="triangle"/>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cxnSp>
          <p:nvCxnSpPr>
            <p:cNvPr id="46" name="Straight Arrow Connector 45">
              <a:extLst>
                <a:ext uri="{FF2B5EF4-FFF2-40B4-BE49-F238E27FC236}">
                  <a16:creationId xmlns:a16="http://schemas.microsoft.com/office/drawing/2014/main" id="{6FF1B6E8-3065-4A80-7A74-89F51C9E77D0}"/>
                </a:ext>
              </a:extLst>
            </p:cNvPr>
            <p:cNvCxnSpPr>
              <a:cxnSpLocks/>
            </p:cNvCxnSpPr>
            <p:nvPr/>
          </p:nvCxnSpPr>
          <p:spPr>
            <a:xfrm flipV="1">
              <a:off x="5099217" y="2187940"/>
              <a:ext cx="995643" cy="489757"/>
            </a:xfrm>
            <a:prstGeom prst="straightConnector1">
              <a:avLst/>
            </a:prstGeom>
            <a:ln>
              <a:headEnd type="triangle"/>
              <a:tailEnd type="none"/>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sp>
          <p:nvSpPr>
            <p:cNvPr id="49" name="TextBox 48">
              <a:extLst>
                <a:ext uri="{FF2B5EF4-FFF2-40B4-BE49-F238E27FC236}">
                  <a16:creationId xmlns:a16="http://schemas.microsoft.com/office/drawing/2014/main" id="{60F3643B-971A-3657-F218-A026527AAEBB}"/>
                </a:ext>
              </a:extLst>
            </p:cNvPr>
            <p:cNvSpPr txBox="1"/>
            <p:nvPr/>
          </p:nvSpPr>
          <p:spPr>
            <a:xfrm>
              <a:off x="3842240" y="3833512"/>
              <a:ext cx="835948" cy="358554"/>
            </a:xfrm>
            <a:prstGeom prst="rect">
              <a:avLst/>
            </a:prstGeom>
            <a:noFill/>
          </p:spPr>
          <p:txBody>
            <a:bodyPr wrap="none" rtlCol="0">
              <a:spAutoFit/>
            </a:bodyPr>
            <a:lstStyle/>
            <a:p>
              <a:r>
                <a:rPr lang="en-US" sz="500"/>
                <a:t>Actions</a:t>
              </a:r>
            </a:p>
          </p:txBody>
        </p:sp>
        <p:sp>
          <p:nvSpPr>
            <p:cNvPr id="50" name="TextBox 49">
              <a:extLst>
                <a:ext uri="{FF2B5EF4-FFF2-40B4-BE49-F238E27FC236}">
                  <a16:creationId xmlns:a16="http://schemas.microsoft.com/office/drawing/2014/main" id="{8B2F1046-8E2F-EC84-311B-A17801C325B8}"/>
                </a:ext>
              </a:extLst>
            </p:cNvPr>
            <p:cNvSpPr txBox="1"/>
            <p:nvPr/>
          </p:nvSpPr>
          <p:spPr>
            <a:xfrm>
              <a:off x="4632211" y="3823728"/>
              <a:ext cx="1185673" cy="358554"/>
            </a:xfrm>
            <a:prstGeom prst="rect">
              <a:avLst/>
            </a:prstGeom>
            <a:noFill/>
          </p:spPr>
          <p:txBody>
            <a:bodyPr wrap="none" rtlCol="0">
              <a:spAutoFit/>
            </a:bodyPr>
            <a:lstStyle/>
            <a:p>
              <a:r>
                <a:rPr lang="en-US" sz="500"/>
                <a:t>Observations</a:t>
              </a:r>
            </a:p>
          </p:txBody>
        </p:sp>
        <p:sp>
          <p:nvSpPr>
            <p:cNvPr id="51" name="TextBox 50">
              <a:extLst>
                <a:ext uri="{FF2B5EF4-FFF2-40B4-BE49-F238E27FC236}">
                  <a16:creationId xmlns:a16="http://schemas.microsoft.com/office/drawing/2014/main" id="{4D12B538-1143-515D-BA2F-C76E27B1F1A7}"/>
                </a:ext>
              </a:extLst>
            </p:cNvPr>
            <p:cNvSpPr txBox="1"/>
            <p:nvPr/>
          </p:nvSpPr>
          <p:spPr>
            <a:xfrm>
              <a:off x="5020770" y="1999013"/>
              <a:ext cx="706923" cy="358554"/>
            </a:xfrm>
            <a:prstGeom prst="rect">
              <a:avLst/>
            </a:prstGeom>
            <a:noFill/>
          </p:spPr>
          <p:txBody>
            <a:bodyPr wrap="none" rtlCol="0">
              <a:spAutoFit/>
            </a:bodyPr>
            <a:lstStyle/>
            <a:p>
              <a:r>
                <a:rPr lang="en-US" sz="500"/>
                <a:t>Write</a:t>
              </a:r>
            </a:p>
          </p:txBody>
        </p:sp>
        <p:sp>
          <p:nvSpPr>
            <p:cNvPr id="52" name="TextBox 51">
              <a:extLst>
                <a:ext uri="{FF2B5EF4-FFF2-40B4-BE49-F238E27FC236}">
                  <a16:creationId xmlns:a16="http://schemas.microsoft.com/office/drawing/2014/main" id="{5CCDAAC8-BDD5-B41A-9381-90AB24FB5824}"/>
                </a:ext>
              </a:extLst>
            </p:cNvPr>
            <p:cNvSpPr txBox="1"/>
            <p:nvPr/>
          </p:nvSpPr>
          <p:spPr>
            <a:xfrm>
              <a:off x="5738004" y="2215445"/>
              <a:ext cx="713714" cy="358554"/>
            </a:xfrm>
            <a:prstGeom prst="rect">
              <a:avLst/>
            </a:prstGeom>
            <a:noFill/>
          </p:spPr>
          <p:txBody>
            <a:bodyPr wrap="none" rtlCol="0">
              <a:spAutoFit/>
            </a:bodyPr>
            <a:lstStyle/>
            <a:p>
              <a:r>
                <a:rPr lang="en-US" sz="500"/>
                <a:t>Read</a:t>
              </a:r>
            </a:p>
          </p:txBody>
        </p:sp>
        <p:sp>
          <p:nvSpPr>
            <p:cNvPr id="53" name="TextBox 52">
              <a:extLst>
                <a:ext uri="{FF2B5EF4-FFF2-40B4-BE49-F238E27FC236}">
                  <a16:creationId xmlns:a16="http://schemas.microsoft.com/office/drawing/2014/main" id="{86FC40AE-9DB3-2C84-3E12-7D8D433A1CC3}"/>
                </a:ext>
              </a:extLst>
            </p:cNvPr>
            <p:cNvSpPr txBox="1"/>
            <p:nvPr/>
          </p:nvSpPr>
          <p:spPr>
            <a:xfrm>
              <a:off x="2708964" y="2274027"/>
              <a:ext cx="825759" cy="358554"/>
            </a:xfrm>
            <a:prstGeom prst="rect">
              <a:avLst/>
            </a:prstGeom>
            <a:noFill/>
          </p:spPr>
          <p:txBody>
            <a:bodyPr wrap="none" rtlCol="0">
              <a:spAutoFit/>
            </a:bodyPr>
            <a:lstStyle/>
            <a:p>
              <a:r>
                <a:rPr lang="en-US" sz="500"/>
                <a:t>Prompt</a:t>
              </a:r>
            </a:p>
          </p:txBody>
        </p:sp>
        <p:sp>
          <p:nvSpPr>
            <p:cNvPr id="54" name="TextBox 53">
              <a:extLst>
                <a:ext uri="{FF2B5EF4-FFF2-40B4-BE49-F238E27FC236}">
                  <a16:creationId xmlns:a16="http://schemas.microsoft.com/office/drawing/2014/main" id="{67AB63A4-928A-EAA9-81D5-808EB42EB5B3}"/>
                </a:ext>
              </a:extLst>
            </p:cNvPr>
            <p:cNvSpPr txBox="1"/>
            <p:nvPr/>
          </p:nvSpPr>
          <p:spPr>
            <a:xfrm>
              <a:off x="3543831" y="2011368"/>
              <a:ext cx="744270" cy="358554"/>
            </a:xfrm>
            <a:prstGeom prst="rect">
              <a:avLst/>
            </a:prstGeom>
            <a:noFill/>
          </p:spPr>
          <p:txBody>
            <a:bodyPr wrap="none" rtlCol="0">
              <a:spAutoFit/>
            </a:bodyPr>
            <a:lstStyle/>
            <a:p>
              <a:r>
                <a:rPr lang="en-US" sz="500"/>
                <a:t>Parse</a:t>
              </a:r>
            </a:p>
          </p:txBody>
        </p:sp>
      </p:grpSp>
      <p:sp>
        <p:nvSpPr>
          <p:cNvPr id="3" name="Rounded Rectangle 2">
            <a:extLst>
              <a:ext uri="{FF2B5EF4-FFF2-40B4-BE49-F238E27FC236}">
                <a16:creationId xmlns:a16="http://schemas.microsoft.com/office/drawing/2014/main" id="{BA61D170-5F32-F36D-5ACA-BCBA66B4EAFC}"/>
              </a:ext>
            </a:extLst>
          </p:cNvPr>
          <p:cNvSpPr/>
          <p:nvPr/>
        </p:nvSpPr>
        <p:spPr>
          <a:xfrm>
            <a:off x="325535" y="1407188"/>
            <a:ext cx="4329592" cy="2219436"/>
          </a:xfrm>
          <a:prstGeom prst="roundRect">
            <a:avLst/>
          </a:prstGeom>
          <a:noFill/>
          <a:ln>
            <a:solidFill>
              <a:schemeClr val="accent1"/>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Rounded Rectangle 9">
            <a:extLst>
              <a:ext uri="{FF2B5EF4-FFF2-40B4-BE49-F238E27FC236}">
                <a16:creationId xmlns:a16="http://schemas.microsoft.com/office/drawing/2014/main" id="{D49D65A7-B1B0-A75F-1868-2D91C56AB096}"/>
              </a:ext>
            </a:extLst>
          </p:cNvPr>
          <p:cNvSpPr/>
          <p:nvPr/>
        </p:nvSpPr>
        <p:spPr>
          <a:xfrm>
            <a:off x="4786044" y="1407188"/>
            <a:ext cx="7192899" cy="4827356"/>
          </a:xfrm>
          <a:prstGeom prst="roundRect">
            <a:avLst/>
          </a:prstGeom>
          <a:noFill/>
          <a:ln>
            <a:solidFill>
              <a:schemeClr val="accent1"/>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3B2DFCDC-0B36-DFF6-447B-2758CBF015CF}"/>
              </a:ext>
            </a:extLst>
          </p:cNvPr>
          <p:cNvSpPr/>
          <p:nvPr/>
        </p:nvSpPr>
        <p:spPr>
          <a:xfrm>
            <a:off x="5248573" y="1604004"/>
            <a:ext cx="5807354" cy="46596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t>Task Plan</a:t>
            </a:r>
          </a:p>
        </p:txBody>
      </p:sp>
      <p:sp>
        <p:nvSpPr>
          <p:cNvPr id="28" name="Rectangle 27">
            <a:extLst>
              <a:ext uri="{FF2B5EF4-FFF2-40B4-BE49-F238E27FC236}">
                <a16:creationId xmlns:a16="http://schemas.microsoft.com/office/drawing/2014/main" id="{AFEE542F-A8A3-8722-4CDA-FB2584CAC347}"/>
              </a:ext>
            </a:extLst>
          </p:cNvPr>
          <p:cNvSpPr/>
          <p:nvPr/>
        </p:nvSpPr>
        <p:spPr>
          <a:xfrm>
            <a:off x="4956444" y="2566160"/>
            <a:ext cx="1774021" cy="67378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t>Generate Response</a:t>
            </a:r>
          </a:p>
        </p:txBody>
      </p:sp>
      <p:sp>
        <p:nvSpPr>
          <p:cNvPr id="29" name="Rectangle 28">
            <a:extLst>
              <a:ext uri="{FF2B5EF4-FFF2-40B4-BE49-F238E27FC236}">
                <a16:creationId xmlns:a16="http://schemas.microsoft.com/office/drawing/2014/main" id="{3BA75FD5-F116-F316-DECF-1F84CE70143E}"/>
              </a:ext>
            </a:extLst>
          </p:cNvPr>
          <p:cNvSpPr/>
          <p:nvPr/>
        </p:nvSpPr>
        <p:spPr>
          <a:xfrm>
            <a:off x="7345090" y="2581878"/>
            <a:ext cx="2062071" cy="673788"/>
          </a:xfrm>
          <a:prstGeom prst="rect">
            <a:avLst/>
          </a:prstGeom>
          <a:solidFill>
            <a:srgbClr val="A055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t>Use Tools</a:t>
            </a:r>
          </a:p>
        </p:txBody>
      </p:sp>
      <p:sp>
        <p:nvSpPr>
          <p:cNvPr id="30" name="Rectangle 29">
            <a:extLst>
              <a:ext uri="{FF2B5EF4-FFF2-40B4-BE49-F238E27FC236}">
                <a16:creationId xmlns:a16="http://schemas.microsoft.com/office/drawing/2014/main" id="{52759A33-DE97-8875-1CE5-6AA403A082DB}"/>
              </a:ext>
            </a:extLst>
          </p:cNvPr>
          <p:cNvSpPr/>
          <p:nvPr/>
        </p:nvSpPr>
        <p:spPr>
          <a:xfrm>
            <a:off x="10109616" y="5269835"/>
            <a:ext cx="1539343" cy="673788"/>
          </a:xfrm>
          <a:prstGeom prst="rect">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t>Context</a:t>
            </a:r>
          </a:p>
        </p:txBody>
      </p:sp>
      <p:sp>
        <p:nvSpPr>
          <p:cNvPr id="31" name="Rectangle 30">
            <a:extLst>
              <a:ext uri="{FF2B5EF4-FFF2-40B4-BE49-F238E27FC236}">
                <a16:creationId xmlns:a16="http://schemas.microsoft.com/office/drawing/2014/main" id="{2725AD82-FBA9-86E8-D6D8-D1D0688EF145}"/>
              </a:ext>
            </a:extLst>
          </p:cNvPr>
          <p:cNvSpPr/>
          <p:nvPr/>
        </p:nvSpPr>
        <p:spPr>
          <a:xfrm>
            <a:off x="10109617" y="4409925"/>
            <a:ext cx="1539344" cy="673788"/>
          </a:xfrm>
          <a:prstGeom prst="rect">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t>Examples</a:t>
            </a:r>
          </a:p>
        </p:txBody>
      </p:sp>
      <p:sp>
        <p:nvSpPr>
          <p:cNvPr id="32" name="Rectangle 31">
            <a:extLst>
              <a:ext uri="{FF2B5EF4-FFF2-40B4-BE49-F238E27FC236}">
                <a16:creationId xmlns:a16="http://schemas.microsoft.com/office/drawing/2014/main" id="{0FA4022A-0DD0-CC07-A9D4-4F2D556DDA2B}"/>
              </a:ext>
            </a:extLst>
          </p:cNvPr>
          <p:cNvSpPr/>
          <p:nvPr/>
        </p:nvSpPr>
        <p:spPr>
          <a:xfrm>
            <a:off x="10109616" y="3549066"/>
            <a:ext cx="1539345" cy="673788"/>
          </a:xfrm>
          <a:prstGeom prst="rect">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t>Scratchpad</a:t>
            </a:r>
          </a:p>
        </p:txBody>
      </p:sp>
      <p:sp>
        <p:nvSpPr>
          <p:cNvPr id="33" name="Rectangle 32">
            <a:extLst>
              <a:ext uri="{FF2B5EF4-FFF2-40B4-BE49-F238E27FC236}">
                <a16:creationId xmlns:a16="http://schemas.microsoft.com/office/drawing/2014/main" id="{BE76E266-3530-EBBA-DD7E-36BB93A98419}"/>
              </a:ext>
            </a:extLst>
          </p:cNvPr>
          <p:cNvSpPr/>
          <p:nvPr/>
        </p:nvSpPr>
        <p:spPr>
          <a:xfrm>
            <a:off x="10109617" y="2689156"/>
            <a:ext cx="1539342" cy="673788"/>
          </a:xfrm>
          <a:prstGeom prst="rect">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t>System Prompt</a:t>
            </a:r>
          </a:p>
        </p:txBody>
      </p:sp>
      <p:sp>
        <p:nvSpPr>
          <p:cNvPr id="36" name="Rectangle 35">
            <a:extLst>
              <a:ext uri="{FF2B5EF4-FFF2-40B4-BE49-F238E27FC236}">
                <a16:creationId xmlns:a16="http://schemas.microsoft.com/office/drawing/2014/main" id="{4121E002-8DD3-A0AD-7599-B5444E6D9C0F}"/>
              </a:ext>
            </a:extLst>
          </p:cNvPr>
          <p:cNvSpPr/>
          <p:nvPr/>
        </p:nvSpPr>
        <p:spPr>
          <a:xfrm>
            <a:off x="7345090" y="3885960"/>
            <a:ext cx="1539346" cy="673788"/>
          </a:xfrm>
          <a:prstGeom prst="rect">
            <a:avLst/>
          </a:prstGeom>
          <a:solidFill>
            <a:srgbClr val="A055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t>Retrieved Examples</a:t>
            </a:r>
          </a:p>
        </p:txBody>
      </p:sp>
      <p:sp>
        <p:nvSpPr>
          <p:cNvPr id="37" name="Rectangle 36">
            <a:extLst>
              <a:ext uri="{FF2B5EF4-FFF2-40B4-BE49-F238E27FC236}">
                <a16:creationId xmlns:a16="http://schemas.microsoft.com/office/drawing/2014/main" id="{0C22287E-CA76-18BC-1FC1-C07C44C7499E}"/>
              </a:ext>
            </a:extLst>
          </p:cNvPr>
          <p:cNvSpPr/>
          <p:nvPr/>
        </p:nvSpPr>
        <p:spPr>
          <a:xfrm>
            <a:off x="7345090" y="4746819"/>
            <a:ext cx="1539346" cy="673788"/>
          </a:xfrm>
          <a:prstGeom prst="rect">
            <a:avLst/>
          </a:prstGeom>
          <a:solidFill>
            <a:srgbClr val="A055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t>Get External Reaction</a:t>
            </a:r>
          </a:p>
        </p:txBody>
      </p:sp>
      <p:cxnSp>
        <p:nvCxnSpPr>
          <p:cNvPr id="39" name="Straight Arrow Connector 38">
            <a:extLst>
              <a:ext uri="{FF2B5EF4-FFF2-40B4-BE49-F238E27FC236}">
                <a16:creationId xmlns:a16="http://schemas.microsoft.com/office/drawing/2014/main" id="{532CE62D-32B0-EAA5-654C-D65A0F6DA1C1}"/>
              </a:ext>
            </a:extLst>
          </p:cNvPr>
          <p:cNvCxnSpPr>
            <a:cxnSpLocks/>
            <a:stCxn id="37" idx="3"/>
            <a:endCxn id="30" idx="1"/>
          </p:cNvCxnSpPr>
          <p:nvPr/>
        </p:nvCxnSpPr>
        <p:spPr>
          <a:xfrm>
            <a:off x="8884436" y="5083713"/>
            <a:ext cx="1225180" cy="523016"/>
          </a:xfrm>
          <a:prstGeom prst="straightConnector1">
            <a:avLst/>
          </a:prstGeom>
          <a:ln>
            <a:solidFill>
              <a:schemeClr val="tx1"/>
            </a:solidFill>
            <a:tailEnd type="triangle"/>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cxnSp>
        <p:nvCxnSpPr>
          <p:cNvPr id="41" name="Straight Arrow Connector 40">
            <a:extLst>
              <a:ext uri="{FF2B5EF4-FFF2-40B4-BE49-F238E27FC236}">
                <a16:creationId xmlns:a16="http://schemas.microsoft.com/office/drawing/2014/main" id="{B2535264-60A2-CC3F-2D1C-F734A9FF3425}"/>
              </a:ext>
            </a:extLst>
          </p:cNvPr>
          <p:cNvCxnSpPr>
            <a:cxnSpLocks/>
            <a:stCxn id="36" idx="3"/>
            <a:endCxn id="31" idx="1"/>
          </p:cNvCxnSpPr>
          <p:nvPr/>
        </p:nvCxnSpPr>
        <p:spPr>
          <a:xfrm>
            <a:off x="8884436" y="4222854"/>
            <a:ext cx="1225181" cy="523965"/>
          </a:xfrm>
          <a:prstGeom prst="straightConnector1">
            <a:avLst/>
          </a:prstGeom>
          <a:ln>
            <a:solidFill>
              <a:schemeClr val="tx1"/>
            </a:solidFill>
            <a:tailEnd type="triangle"/>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cxnSp>
        <p:nvCxnSpPr>
          <p:cNvPr id="47" name="Straight Arrow Connector 46">
            <a:extLst>
              <a:ext uri="{FF2B5EF4-FFF2-40B4-BE49-F238E27FC236}">
                <a16:creationId xmlns:a16="http://schemas.microsoft.com/office/drawing/2014/main" id="{2653B59E-FE73-F7CC-285F-CDE444BA5DE9}"/>
              </a:ext>
            </a:extLst>
          </p:cNvPr>
          <p:cNvCxnSpPr>
            <a:stCxn id="29" idx="2"/>
            <a:endCxn id="32" idx="1"/>
          </p:cNvCxnSpPr>
          <p:nvPr/>
        </p:nvCxnSpPr>
        <p:spPr>
          <a:xfrm>
            <a:off x="8376126" y="3255666"/>
            <a:ext cx="1733490" cy="630294"/>
          </a:xfrm>
          <a:prstGeom prst="straightConnector1">
            <a:avLst/>
          </a:prstGeom>
          <a:ln>
            <a:solidFill>
              <a:schemeClr val="tx1"/>
            </a:solidFill>
            <a:tailEnd type="triangle"/>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cxnSp>
        <p:nvCxnSpPr>
          <p:cNvPr id="71" name="Curved Connector 70">
            <a:extLst>
              <a:ext uri="{FF2B5EF4-FFF2-40B4-BE49-F238E27FC236}">
                <a16:creationId xmlns:a16="http://schemas.microsoft.com/office/drawing/2014/main" id="{5808F961-2715-3D85-1E8F-BA45A0B597C8}"/>
              </a:ext>
            </a:extLst>
          </p:cNvPr>
          <p:cNvCxnSpPr>
            <a:stCxn id="30" idx="3"/>
            <a:endCxn id="32" idx="3"/>
          </p:cNvCxnSpPr>
          <p:nvPr/>
        </p:nvCxnSpPr>
        <p:spPr>
          <a:xfrm flipV="1">
            <a:off x="11648959" y="3885960"/>
            <a:ext cx="2" cy="1720769"/>
          </a:xfrm>
          <a:prstGeom prst="curvedConnector3">
            <a:avLst>
              <a:gd name="adj1" fmla="val 11430100000"/>
            </a:avLst>
          </a:prstGeom>
          <a:ln>
            <a:solidFill>
              <a:schemeClr val="tx1"/>
            </a:solidFill>
            <a:tailEnd type="triangle"/>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cxnSp>
        <p:nvCxnSpPr>
          <p:cNvPr id="73" name="Straight Arrow Connector 72">
            <a:extLst>
              <a:ext uri="{FF2B5EF4-FFF2-40B4-BE49-F238E27FC236}">
                <a16:creationId xmlns:a16="http://schemas.microsoft.com/office/drawing/2014/main" id="{5ADDE42D-EB37-88C2-6538-331C85F730D8}"/>
              </a:ext>
            </a:extLst>
          </p:cNvPr>
          <p:cNvCxnSpPr>
            <a:stCxn id="27" idx="2"/>
            <a:endCxn id="29" idx="0"/>
          </p:cNvCxnSpPr>
          <p:nvPr/>
        </p:nvCxnSpPr>
        <p:spPr>
          <a:xfrm>
            <a:off x="8152250" y="2069971"/>
            <a:ext cx="223876" cy="511907"/>
          </a:xfrm>
          <a:prstGeom prst="straightConnector1">
            <a:avLst/>
          </a:prstGeom>
          <a:ln>
            <a:solidFill>
              <a:schemeClr val="tx1"/>
            </a:solidFill>
            <a:tailEnd type="triangle"/>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cxnSp>
        <p:nvCxnSpPr>
          <p:cNvPr id="75" name="Straight Arrow Connector 74">
            <a:extLst>
              <a:ext uri="{FF2B5EF4-FFF2-40B4-BE49-F238E27FC236}">
                <a16:creationId xmlns:a16="http://schemas.microsoft.com/office/drawing/2014/main" id="{5F31DB75-57CB-6AF7-42F1-66C0A9ABE449}"/>
              </a:ext>
            </a:extLst>
          </p:cNvPr>
          <p:cNvCxnSpPr>
            <a:stCxn id="27" idx="2"/>
            <a:endCxn id="28" idx="0"/>
          </p:cNvCxnSpPr>
          <p:nvPr/>
        </p:nvCxnSpPr>
        <p:spPr>
          <a:xfrm flipH="1">
            <a:off x="5843455" y="2069971"/>
            <a:ext cx="2308795" cy="496189"/>
          </a:xfrm>
          <a:prstGeom prst="straightConnector1">
            <a:avLst/>
          </a:prstGeom>
          <a:ln>
            <a:solidFill>
              <a:schemeClr val="tx1"/>
            </a:solidFill>
            <a:tailEnd type="triangle"/>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cxnSp>
        <p:nvCxnSpPr>
          <p:cNvPr id="78" name="Straight Arrow Connector 77">
            <a:extLst>
              <a:ext uri="{FF2B5EF4-FFF2-40B4-BE49-F238E27FC236}">
                <a16:creationId xmlns:a16="http://schemas.microsoft.com/office/drawing/2014/main" id="{AC13BD48-5CDD-15A7-44AB-05751B459089}"/>
              </a:ext>
            </a:extLst>
          </p:cNvPr>
          <p:cNvCxnSpPr>
            <a:stCxn id="37" idx="0"/>
            <a:endCxn id="36" idx="2"/>
          </p:cNvCxnSpPr>
          <p:nvPr/>
        </p:nvCxnSpPr>
        <p:spPr>
          <a:xfrm flipV="1">
            <a:off x="8114763" y="4559748"/>
            <a:ext cx="0" cy="187071"/>
          </a:xfrm>
          <a:prstGeom prst="straightConnector1">
            <a:avLst/>
          </a:prstGeom>
          <a:ln>
            <a:solidFill>
              <a:schemeClr val="tx1"/>
            </a:solidFill>
            <a:tailEnd type="triangle"/>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cxnSp>
        <p:nvCxnSpPr>
          <p:cNvPr id="80" name="Straight Arrow Connector 79">
            <a:extLst>
              <a:ext uri="{FF2B5EF4-FFF2-40B4-BE49-F238E27FC236}">
                <a16:creationId xmlns:a16="http://schemas.microsoft.com/office/drawing/2014/main" id="{963482ED-625D-0DFF-4C79-B40397338EA4}"/>
              </a:ext>
            </a:extLst>
          </p:cNvPr>
          <p:cNvCxnSpPr>
            <a:stCxn id="28" idx="2"/>
            <a:endCxn id="37" idx="1"/>
          </p:cNvCxnSpPr>
          <p:nvPr/>
        </p:nvCxnSpPr>
        <p:spPr>
          <a:xfrm>
            <a:off x="5843455" y="3239948"/>
            <a:ext cx="1501635" cy="1843765"/>
          </a:xfrm>
          <a:prstGeom prst="straightConnector1">
            <a:avLst/>
          </a:prstGeom>
          <a:ln>
            <a:solidFill>
              <a:schemeClr val="tx1"/>
            </a:solidFill>
            <a:tailEnd type="triangle"/>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cxnSp>
        <p:nvCxnSpPr>
          <p:cNvPr id="82" name="Straight Arrow Connector 81">
            <a:extLst>
              <a:ext uri="{FF2B5EF4-FFF2-40B4-BE49-F238E27FC236}">
                <a16:creationId xmlns:a16="http://schemas.microsoft.com/office/drawing/2014/main" id="{29010BCE-8523-02BF-EED9-8CA99253F313}"/>
              </a:ext>
            </a:extLst>
          </p:cNvPr>
          <p:cNvCxnSpPr>
            <a:stCxn id="76" idx="0"/>
            <a:endCxn id="27" idx="2"/>
          </p:cNvCxnSpPr>
          <p:nvPr/>
        </p:nvCxnSpPr>
        <p:spPr>
          <a:xfrm flipH="1" flipV="1">
            <a:off x="8152250" y="2069971"/>
            <a:ext cx="2783294" cy="417534"/>
          </a:xfrm>
          <a:prstGeom prst="straightConnector1">
            <a:avLst/>
          </a:prstGeom>
          <a:ln>
            <a:solidFill>
              <a:schemeClr val="tx1"/>
            </a:solidFill>
            <a:tailEnd type="triangle"/>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sp>
        <p:nvSpPr>
          <p:cNvPr id="83" name="TextBox 82">
            <a:extLst>
              <a:ext uri="{FF2B5EF4-FFF2-40B4-BE49-F238E27FC236}">
                <a16:creationId xmlns:a16="http://schemas.microsoft.com/office/drawing/2014/main" id="{E6F44383-2B29-3F4E-F73F-12CE35320E3F}"/>
              </a:ext>
            </a:extLst>
          </p:cNvPr>
          <p:cNvSpPr txBox="1"/>
          <p:nvPr/>
        </p:nvSpPr>
        <p:spPr>
          <a:xfrm>
            <a:off x="9892145" y="1030750"/>
            <a:ext cx="1531188" cy="369332"/>
          </a:xfrm>
          <a:prstGeom prst="rect">
            <a:avLst/>
          </a:prstGeom>
          <a:noFill/>
        </p:spPr>
        <p:txBody>
          <a:bodyPr wrap="none" rtlCol="0">
            <a:spAutoFit/>
          </a:bodyPr>
          <a:lstStyle/>
          <a:p>
            <a:r>
              <a:rPr lang="en-US"/>
              <a:t>Agentic Loop</a:t>
            </a:r>
          </a:p>
        </p:txBody>
      </p:sp>
      <p:sp>
        <p:nvSpPr>
          <p:cNvPr id="85" name="Rectangle 84">
            <a:extLst>
              <a:ext uri="{FF2B5EF4-FFF2-40B4-BE49-F238E27FC236}">
                <a16:creationId xmlns:a16="http://schemas.microsoft.com/office/drawing/2014/main" id="{30F40626-1099-4FB3-8E6C-17B8401A5665}"/>
              </a:ext>
            </a:extLst>
          </p:cNvPr>
          <p:cNvSpPr/>
          <p:nvPr/>
        </p:nvSpPr>
        <p:spPr>
          <a:xfrm>
            <a:off x="325535" y="3885960"/>
            <a:ext cx="6617951" cy="2884661"/>
          </a:xfrm>
          <a:prstGeom prst="rect">
            <a:avLst/>
          </a:prstGeom>
          <a:solidFill>
            <a:schemeClr val="bg1">
              <a:lumMod val="85000"/>
              <a:alpha val="90087"/>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4" name="TextBox 83">
            <a:extLst>
              <a:ext uri="{FF2B5EF4-FFF2-40B4-BE49-F238E27FC236}">
                <a16:creationId xmlns:a16="http://schemas.microsoft.com/office/drawing/2014/main" id="{C82E9405-1FA4-44A4-D8E2-AD284EBDF4AF}"/>
              </a:ext>
            </a:extLst>
          </p:cNvPr>
          <p:cNvSpPr txBox="1"/>
          <p:nvPr/>
        </p:nvSpPr>
        <p:spPr>
          <a:xfrm>
            <a:off x="361976" y="3964394"/>
            <a:ext cx="6581509" cy="2862322"/>
          </a:xfrm>
          <a:prstGeom prst="rect">
            <a:avLst/>
          </a:prstGeom>
          <a:noFill/>
        </p:spPr>
        <p:txBody>
          <a:bodyPr wrap="square" rtlCol="0">
            <a:spAutoFit/>
          </a:bodyPr>
          <a:lstStyle/>
          <a:p>
            <a:pPr marL="285750" indent="-285750">
              <a:buFont typeface="Arial" panose="020B0604020202020204" pitchFamily="34" charset="0"/>
              <a:buChar char="•"/>
            </a:pPr>
            <a:r>
              <a:rPr lang="en-US"/>
              <a:t>RAISE is built on </a:t>
            </a:r>
            <a:r>
              <a:rPr lang="en-US" err="1"/>
              <a:t>ReAct</a:t>
            </a:r>
            <a:r>
              <a:rPr lang="en-US"/>
              <a:t> method</a:t>
            </a:r>
          </a:p>
          <a:p>
            <a:pPr marL="285750" indent="-285750">
              <a:buFont typeface="Arial" panose="020B0604020202020204" pitchFamily="34" charset="0"/>
              <a:buChar char="•"/>
            </a:pPr>
            <a:r>
              <a:rPr lang="en-US" err="1"/>
              <a:t>ReAct</a:t>
            </a:r>
            <a:endParaRPr lang="en-US"/>
          </a:p>
          <a:p>
            <a:pPr marL="742950" lvl="1" indent="-285750">
              <a:buFont typeface="Arial" panose="020B0604020202020204" pitchFamily="34" charset="0"/>
              <a:buChar char="•"/>
            </a:pPr>
            <a:r>
              <a:rPr lang="en-US"/>
              <a:t>Agent first writes a thought about the given task</a:t>
            </a:r>
          </a:p>
          <a:p>
            <a:pPr marL="742950" lvl="1" indent="-285750">
              <a:buFont typeface="Arial" panose="020B0604020202020204" pitchFamily="34" charset="0"/>
              <a:buChar char="•"/>
            </a:pPr>
            <a:r>
              <a:rPr lang="en-US"/>
              <a:t>Then the agent performs the action on that thought</a:t>
            </a:r>
          </a:p>
          <a:p>
            <a:pPr marL="742950" lvl="1" indent="-285750">
              <a:buFont typeface="Arial" panose="020B0604020202020204" pitchFamily="34" charset="0"/>
              <a:buChar char="•"/>
            </a:pPr>
            <a:r>
              <a:rPr lang="en-US"/>
              <a:t>The output is observed.</a:t>
            </a:r>
          </a:p>
          <a:p>
            <a:pPr marL="742950" lvl="1" indent="-285750">
              <a:buFont typeface="Arial" panose="020B0604020202020204" pitchFamily="34" charset="0"/>
              <a:buChar char="•"/>
            </a:pPr>
            <a:r>
              <a:rPr lang="en-US"/>
              <a:t>This cycle is repeated until the task is completed.</a:t>
            </a:r>
            <a:br>
              <a:rPr lang="en-US"/>
            </a:br>
            <a:endParaRPr lang="en-US"/>
          </a:p>
          <a:p>
            <a:pPr marL="285750" indent="-285750">
              <a:buFont typeface="Arial" panose="020B0604020202020204" pitchFamily="34" charset="0"/>
              <a:buChar char="•"/>
            </a:pPr>
            <a:r>
              <a:rPr lang="en-US"/>
              <a:t>RAISE adds memory mechanism that mirrors human short-term and long term memory. </a:t>
            </a:r>
          </a:p>
          <a:p>
            <a:pPr marL="742950" lvl="1" indent="-285750">
              <a:buFont typeface="Arial" panose="020B0604020202020204" pitchFamily="34" charset="0"/>
              <a:buChar char="•"/>
            </a:pPr>
            <a:r>
              <a:rPr lang="en-US"/>
              <a:t>Scratchpad + Datasets</a:t>
            </a:r>
          </a:p>
        </p:txBody>
      </p:sp>
    </p:spTree>
    <p:extLst>
      <p:ext uri="{BB962C8B-B14F-4D97-AF65-F5344CB8AC3E}">
        <p14:creationId xmlns:p14="http://schemas.microsoft.com/office/powerpoint/2010/main" val="1534573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577EFAF-35C0-68E5-C211-A0019B298A36}"/>
              </a:ext>
            </a:extLst>
          </p:cNvPr>
          <p:cNvSpPr>
            <a:spLocks noGrp="1"/>
          </p:cNvSpPr>
          <p:nvPr>
            <p:ph type="title"/>
          </p:nvPr>
        </p:nvSpPr>
        <p:spPr/>
        <p:txBody>
          <a:bodyPr/>
          <a:lstStyle/>
          <a:p>
            <a:r>
              <a:rPr lang="en-US"/>
              <a:t>Agentic Progression Framework</a:t>
            </a:r>
          </a:p>
        </p:txBody>
      </p:sp>
      <p:sp>
        <p:nvSpPr>
          <p:cNvPr id="6" name="Freeform: Shape 12">
            <a:extLst>
              <a:ext uri="{FF2B5EF4-FFF2-40B4-BE49-F238E27FC236}">
                <a16:creationId xmlns:a16="http://schemas.microsoft.com/office/drawing/2014/main" id="{45B4ABCF-1A2D-FCB9-AE79-43F553C7E6BA}"/>
              </a:ext>
            </a:extLst>
          </p:cNvPr>
          <p:cNvSpPr/>
          <p:nvPr/>
        </p:nvSpPr>
        <p:spPr>
          <a:xfrm rot="10800000">
            <a:off x="3241946" y="4129119"/>
            <a:ext cx="5708108" cy="1993552"/>
          </a:xfrm>
          <a:custGeom>
            <a:avLst/>
            <a:gdLst>
              <a:gd name="connsiteX0" fmla="*/ 3370714 w 6741428"/>
              <a:gd name="connsiteY0" fmla="*/ 2214532 h 2214532"/>
              <a:gd name="connsiteX1" fmla="*/ 536431 w 6741428"/>
              <a:gd name="connsiteY1" fmla="*/ 1507638 h 2214532"/>
              <a:gd name="connsiteX2" fmla="*/ 775396 w 6741428"/>
              <a:gd name="connsiteY2" fmla="*/ 1449988 h 2214532"/>
              <a:gd name="connsiteX3" fmla="*/ 767642 w 6741428"/>
              <a:gd name="connsiteY3" fmla="*/ 1445508 h 2214532"/>
              <a:gd name="connsiteX4" fmla="*/ 516660 w 6741428"/>
              <a:gd name="connsiteY4" fmla="*/ 1506057 h 2214532"/>
              <a:gd name="connsiteX5" fmla="*/ 0 w 6741428"/>
              <a:gd name="connsiteY5" fmla="*/ 840685 h 2214532"/>
              <a:gd name="connsiteX6" fmla="*/ 3370714 w 6741428"/>
              <a:gd name="connsiteY6" fmla="*/ 0 h 2214532"/>
              <a:gd name="connsiteX7" fmla="*/ 6741428 w 6741428"/>
              <a:gd name="connsiteY7" fmla="*/ 840685 h 2214532"/>
              <a:gd name="connsiteX8" fmla="*/ 6224768 w 6741428"/>
              <a:gd name="connsiteY8" fmla="*/ 1506057 h 2214532"/>
              <a:gd name="connsiteX9" fmla="*/ 5975996 w 6741428"/>
              <a:gd name="connsiteY9" fmla="*/ 1446041 h 2214532"/>
              <a:gd name="connsiteX10" fmla="*/ 5967981 w 6741428"/>
              <a:gd name="connsiteY10" fmla="*/ 1450458 h 2214532"/>
              <a:gd name="connsiteX11" fmla="*/ 6204997 w 6741428"/>
              <a:gd name="connsiteY11" fmla="*/ 1507638 h 2214532"/>
              <a:gd name="connsiteX0" fmla="*/ 3370714 w 6741428"/>
              <a:gd name="connsiteY0" fmla="*/ 2214532 h 2214532"/>
              <a:gd name="connsiteX1" fmla="*/ 536431 w 6741428"/>
              <a:gd name="connsiteY1" fmla="*/ 1507638 h 2214532"/>
              <a:gd name="connsiteX2" fmla="*/ 775396 w 6741428"/>
              <a:gd name="connsiteY2" fmla="*/ 1449988 h 2214532"/>
              <a:gd name="connsiteX3" fmla="*/ 767642 w 6741428"/>
              <a:gd name="connsiteY3" fmla="*/ 1445508 h 2214532"/>
              <a:gd name="connsiteX4" fmla="*/ 516660 w 6741428"/>
              <a:gd name="connsiteY4" fmla="*/ 1506057 h 2214532"/>
              <a:gd name="connsiteX5" fmla="*/ 0 w 6741428"/>
              <a:gd name="connsiteY5" fmla="*/ 840685 h 2214532"/>
              <a:gd name="connsiteX6" fmla="*/ 3370714 w 6741428"/>
              <a:gd name="connsiteY6" fmla="*/ 0 h 2214532"/>
              <a:gd name="connsiteX7" fmla="*/ 6741428 w 6741428"/>
              <a:gd name="connsiteY7" fmla="*/ 840685 h 2214532"/>
              <a:gd name="connsiteX8" fmla="*/ 6224768 w 6741428"/>
              <a:gd name="connsiteY8" fmla="*/ 1506057 h 2214532"/>
              <a:gd name="connsiteX9" fmla="*/ 5975996 w 6741428"/>
              <a:gd name="connsiteY9" fmla="*/ 1446041 h 2214532"/>
              <a:gd name="connsiteX10" fmla="*/ 6204997 w 6741428"/>
              <a:gd name="connsiteY10" fmla="*/ 1507638 h 2214532"/>
              <a:gd name="connsiteX11" fmla="*/ 3370714 w 6741428"/>
              <a:gd name="connsiteY11" fmla="*/ 2214532 h 2214532"/>
              <a:gd name="connsiteX0" fmla="*/ 3370714 w 6741428"/>
              <a:gd name="connsiteY0" fmla="*/ 2214532 h 2214532"/>
              <a:gd name="connsiteX1" fmla="*/ 536431 w 6741428"/>
              <a:gd name="connsiteY1" fmla="*/ 1507638 h 2214532"/>
              <a:gd name="connsiteX2" fmla="*/ 775396 w 6741428"/>
              <a:gd name="connsiteY2" fmla="*/ 1449988 h 2214532"/>
              <a:gd name="connsiteX3" fmla="*/ 767642 w 6741428"/>
              <a:gd name="connsiteY3" fmla="*/ 1445508 h 2214532"/>
              <a:gd name="connsiteX4" fmla="*/ 516660 w 6741428"/>
              <a:gd name="connsiteY4" fmla="*/ 1506057 h 2214532"/>
              <a:gd name="connsiteX5" fmla="*/ 0 w 6741428"/>
              <a:gd name="connsiteY5" fmla="*/ 840685 h 2214532"/>
              <a:gd name="connsiteX6" fmla="*/ 3370714 w 6741428"/>
              <a:gd name="connsiteY6" fmla="*/ 0 h 2214532"/>
              <a:gd name="connsiteX7" fmla="*/ 6741428 w 6741428"/>
              <a:gd name="connsiteY7" fmla="*/ 840685 h 2214532"/>
              <a:gd name="connsiteX8" fmla="*/ 6224768 w 6741428"/>
              <a:gd name="connsiteY8" fmla="*/ 1506057 h 2214532"/>
              <a:gd name="connsiteX9" fmla="*/ 6204997 w 6741428"/>
              <a:gd name="connsiteY9" fmla="*/ 1507638 h 2214532"/>
              <a:gd name="connsiteX10" fmla="*/ 3370714 w 6741428"/>
              <a:gd name="connsiteY10" fmla="*/ 2214532 h 2214532"/>
              <a:gd name="connsiteX0" fmla="*/ 3370714 w 6741428"/>
              <a:gd name="connsiteY0" fmla="*/ 2214532 h 2214532"/>
              <a:gd name="connsiteX1" fmla="*/ 536431 w 6741428"/>
              <a:gd name="connsiteY1" fmla="*/ 1507638 h 2214532"/>
              <a:gd name="connsiteX2" fmla="*/ 775396 w 6741428"/>
              <a:gd name="connsiteY2" fmla="*/ 1449988 h 2214532"/>
              <a:gd name="connsiteX3" fmla="*/ 516660 w 6741428"/>
              <a:gd name="connsiteY3" fmla="*/ 1506057 h 2214532"/>
              <a:gd name="connsiteX4" fmla="*/ 0 w 6741428"/>
              <a:gd name="connsiteY4" fmla="*/ 840685 h 2214532"/>
              <a:gd name="connsiteX5" fmla="*/ 3370714 w 6741428"/>
              <a:gd name="connsiteY5" fmla="*/ 0 h 2214532"/>
              <a:gd name="connsiteX6" fmla="*/ 6741428 w 6741428"/>
              <a:gd name="connsiteY6" fmla="*/ 840685 h 2214532"/>
              <a:gd name="connsiteX7" fmla="*/ 6224768 w 6741428"/>
              <a:gd name="connsiteY7" fmla="*/ 1506057 h 2214532"/>
              <a:gd name="connsiteX8" fmla="*/ 6204997 w 6741428"/>
              <a:gd name="connsiteY8" fmla="*/ 1507638 h 2214532"/>
              <a:gd name="connsiteX9" fmla="*/ 3370714 w 6741428"/>
              <a:gd name="connsiteY9" fmla="*/ 2214532 h 2214532"/>
              <a:gd name="connsiteX0" fmla="*/ 3370714 w 6741428"/>
              <a:gd name="connsiteY0" fmla="*/ 2214532 h 2214532"/>
              <a:gd name="connsiteX1" fmla="*/ 536431 w 6741428"/>
              <a:gd name="connsiteY1" fmla="*/ 1507638 h 2214532"/>
              <a:gd name="connsiteX2" fmla="*/ 516660 w 6741428"/>
              <a:gd name="connsiteY2" fmla="*/ 1506057 h 2214532"/>
              <a:gd name="connsiteX3" fmla="*/ 0 w 6741428"/>
              <a:gd name="connsiteY3" fmla="*/ 840685 h 2214532"/>
              <a:gd name="connsiteX4" fmla="*/ 3370714 w 6741428"/>
              <a:gd name="connsiteY4" fmla="*/ 0 h 2214532"/>
              <a:gd name="connsiteX5" fmla="*/ 6741428 w 6741428"/>
              <a:gd name="connsiteY5" fmla="*/ 840685 h 2214532"/>
              <a:gd name="connsiteX6" fmla="*/ 6224768 w 6741428"/>
              <a:gd name="connsiteY6" fmla="*/ 1506057 h 2214532"/>
              <a:gd name="connsiteX7" fmla="*/ 6204997 w 6741428"/>
              <a:gd name="connsiteY7" fmla="*/ 1507638 h 2214532"/>
              <a:gd name="connsiteX8" fmla="*/ 3370714 w 6741428"/>
              <a:gd name="connsiteY8" fmla="*/ 2214532 h 2214532"/>
              <a:gd name="connsiteX0" fmla="*/ 3370714 w 6741428"/>
              <a:gd name="connsiteY0" fmla="*/ 2214532 h 2214532"/>
              <a:gd name="connsiteX1" fmla="*/ 536431 w 6741428"/>
              <a:gd name="connsiteY1" fmla="*/ 1507638 h 2214532"/>
              <a:gd name="connsiteX2" fmla="*/ 516660 w 6741428"/>
              <a:gd name="connsiteY2" fmla="*/ 1506057 h 2214532"/>
              <a:gd name="connsiteX3" fmla="*/ 0 w 6741428"/>
              <a:gd name="connsiteY3" fmla="*/ 840685 h 2214532"/>
              <a:gd name="connsiteX4" fmla="*/ 3370714 w 6741428"/>
              <a:gd name="connsiteY4" fmla="*/ 0 h 2214532"/>
              <a:gd name="connsiteX5" fmla="*/ 6741428 w 6741428"/>
              <a:gd name="connsiteY5" fmla="*/ 840685 h 2214532"/>
              <a:gd name="connsiteX6" fmla="*/ 6224768 w 6741428"/>
              <a:gd name="connsiteY6" fmla="*/ 1506057 h 2214532"/>
              <a:gd name="connsiteX7" fmla="*/ 3370714 w 6741428"/>
              <a:gd name="connsiteY7" fmla="*/ 2214532 h 2214532"/>
              <a:gd name="connsiteX0" fmla="*/ 3370714 w 6741428"/>
              <a:gd name="connsiteY0" fmla="*/ 2214532 h 2214532"/>
              <a:gd name="connsiteX1" fmla="*/ 516660 w 6741428"/>
              <a:gd name="connsiteY1" fmla="*/ 1506057 h 2214532"/>
              <a:gd name="connsiteX2" fmla="*/ 0 w 6741428"/>
              <a:gd name="connsiteY2" fmla="*/ 840685 h 2214532"/>
              <a:gd name="connsiteX3" fmla="*/ 3370714 w 6741428"/>
              <a:gd name="connsiteY3" fmla="*/ 0 h 2214532"/>
              <a:gd name="connsiteX4" fmla="*/ 6741428 w 6741428"/>
              <a:gd name="connsiteY4" fmla="*/ 840685 h 2214532"/>
              <a:gd name="connsiteX5" fmla="*/ 6224768 w 6741428"/>
              <a:gd name="connsiteY5" fmla="*/ 1506057 h 2214532"/>
              <a:gd name="connsiteX6" fmla="*/ 3370714 w 6741428"/>
              <a:gd name="connsiteY6" fmla="*/ 2214532 h 2214532"/>
              <a:gd name="connsiteX0" fmla="*/ 3370714 w 6224768"/>
              <a:gd name="connsiteY0" fmla="*/ 2214532 h 2214532"/>
              <a:gd name="connsiteX1" fmla="*/ 516660 w 6224768"/>
              <a:gd name="connsiteY1" fmla="*/ 1506057 h 2214532"/>
              <a:gd name="connsiteX2" fmla="*/ 0 w 6224768"/>
              <a:gd name="connsiteY2" fmla="*/ 840685 h 2214532"/>
              <a:gd name="connsiteX3" fmla="*/ 3370714 w 6224768"/>
              <a:gd name="connsiteY3" fmla="*/ 0 h 2214532"/>
              <a:gd name="connsiteX4" fmla="*/ 6224768 w 6224768"/>
              <a:gd name="connsiteY4" fmla="*/ 1506057 h 2214532"/>
              <a:gd name="connsiteX5" fmla="*/ 3370714 w 6224768"/>
              <a:gd name="connsiteY5" fmla="*/ 2214532 h 2214532"/>
              <a:gd name="connsiteX0" fmla="*/ 3370714 w 6224768"/>
              <a:gd name="connsiteY0" fmla="*/ 1993552 h 1993552"/>
              <a:gd name="connsiteX1" fmla="*/ 516660 w 6224768"/>
              <a:gd name="connsiteY1" fmla="*/ 1285077 h 1993552"/>
              <a:gd name="connsiteX2" fmla="*/ 0 w 6224768"/>
              <a:gd name="connsiteY2" fmla="*/ 619705 h 1993552"/>
              <a:gd name="connsiteX3" fmla="*/ 3385954 w 6224768"/>
              <a:gd name="connsiteY3" fmla="*/ 0 h 1993552"/>
              <a:gd name="connsiteX4" fmla="*/ 6224768 w 6224768"/>
              <a:gd name="connsiteY4" fmla="*/ 1285077 h 1993552"/>
              <a:gd name="connsiteX5" fmla="*/ 3370714 w 6224768"/>
              <a:gd name="connsiteY5" fmla="*/ 1993552 h 1993552"/>
              <a:gd name="connsiteX0" fmla="*/ 2854054 w 5708108"/>
              <a:gd name="connsiteY0" fmla="*/ 1993552 h 1993552"/>
              <a:gd name="connsiteX1" fmla="*/ 0 w 5708108"/>
              <a:gd name="connsiteY1" fmla="*/ 1285077 h 1993552"/>
              <a:gd name="connsiteX2" fmla="*/ 2869294 w 5708108"/>
              <a:gd name="connsiteY2" fmla="*/ 0 h 1993552"/>
              <a:gd name="connsiteX3" fmla="*/ 5708108 w 5708108"/>
              <a:gd name="connsiteY3" fmla="*/ 1285077 h 1993552"/>
              <a:gd name="connsiteX4" fmla="*/ 2854054 w 5708108"/>
              <a:gd name="connsiteY4" fmla="*/ 1993552 h 19935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08108" h="1993552">
                <a:moveTo>
                  <a:pt x="2854054" y="1993552"/>
                </a:moveTo>
                <a:lnTo>
                  <a:pt x="0" y="1285077"/>
                </a:lnTo>
                <a:lnTo>
                  <a:pt x="2869294" y="0"/>
                </a:lnTo>
                <a:lnTo>
                  <a:pt x="5708108" y="1285077"/>
                </a:lnTo>
                <a:lnTo>
                  <a:pt x="2854054" y="1993552"/>
                </a:lnTo>
                <a:close/>
              </a:path>
            </a:pathLst>
          </a:cu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Freeform: Shape 13">
            <a:extLst>
              <a:ext uri="{FF2B5EF4-FFF2-40B4-BE49-F238E27FC236}">
                <a16:creationId xmlns:a16="http://schemas.microsoft.com/office/drawing/2014/main" id="{0F7E82CF-1DAE-EC98-2B02-C3BFB2E1DB61}"/>
              </a:ext>
            </a:extLst>
          </p:cNvPr>
          <p:cNvSpPr/>
          <p:nvPr/>
        </p:nvSpPr>
        <p:spPr>
          <a:xfrm rot="10800000">
            <a:off x="3955376" y="3383280"/>
            <a:ext cx="4281246" cy="1654535"/>
          </a:xfrm>
          <a:custGeom>
            <a:avLst/>
            <a:gdLst>
              <a:gd name="connsiteX0" fmla="*/ 2677196 w 5354392"/>
              <a:gd name="connsiteY0" fmla="*/ 1857735 h 1857735"/>
              <a:gd name="connsiteX1" fmla="*/ 561976 w 5354392"/>
              <a:gd name="connsiteY1" fmla="*/ 1330181 h 1857735"/>
              <a:gd name="connsiteX2" fmla="*/ 811207 w 5354392"/>
              <a:gd name="connsiteY2" fmla="*/ 1271422 h 1857735"/>
              <a:gd name="connsiteX3" fmla="*/ 799257 w 5354392"/>
              <a:gd name="connsiteY3" fmla="*/ 1260269 h 1857735"/>
              <a:gd name="connsiteX4" fmla="*/ 536573 w 5354392"/>
              <a:gd name="connsiteY4" fmla="*/ 1322200 h 1857735"/>
              <a:gd name="connsiteX5" fmla="*/ 0 w 5354392"/>
              <a:gd name="connsiteY5" fmla="*/ 631185 h 1857735"/>
              <a:gd name="connsiteX6" fmla="*/ 2677196 w 5354392"/>
              <a:gd name="connsiteY6" fmla="*/ 0 h 1857735"/>
              <a:gd name="connsiteX7" fmla="*/ 5354392 w 5354392"/>
              <a:gd name="connsiteY7" fmla="*/ 631185 h 1857735"/>
              <a:gd name="connsiteX8" fmla="*/ 4817819 w 5354392"/>
              <a:gd name="connsiteY8" fmla="*/ 1322200 h 1857735"/>
              <a:gd name="connsiteX9" fmla="*/ 4504339 w 5354392"/>
              <a:gd name="connsiteY9" fmla="*/ 1248293 h 1857735"/>
              <a:gd name="connsiteX10" fmla="*/ 4486713 w 5354392"/>
              <a:gd name="connsiteY10" fmla="*/ 1258108 h 1857735"/>
              <a:gd name="connsiteX11" fmla="*/ 4792416 w 5354392"/>
              <a:gd name="connsiteY11" fmla="*/ 1330181 h 1857735"/>
              <a:gd name="connsiteX0" fmla="*/ 2677196 w 5354392"/>
              <a:gd name="connsiteY0" fmla="*/ 1857735 h 1857735"/>
              <a:gd name="connsiteX1" fmla="*/ 561976 w 5354392"/>
              <a:gd name="connsiteY1" fmla="*/ 1330181 h 1857735"/>
              <a:gd name="connsiteX2" fmla="*/ 811207 w 5354392"/>
              <a:gd name="connsiteY2" fmla="*/ 1271422 h 1857735"/>
              <a:gd name="connsiteX3" fmla="*/ 799257 w 5354392"/>
              <a:gd name="connsiteY3" fmla="*/ 1260269 h 1857735"/>
              <a:gd name="connsiteX4" fmla="*/ 536573 w 5354392"/>
              <a:gd name="connsiteY4" fmla="*/ 1322200 h 1857735"/>
              <a:gd name="connsiteX5" fmla="*/ 0 w 5354392"/>
              <a:gd name="connsiteY5" fmla="*/ 631185 h 1857735"/>
              <a:gd name="connsiteX6" fmla="*/ 2677196 w 5354392"/>
              <a:gd name="connsiteY6" fmla="*/ 0 h 1857735"/>
              <a:gd name="connsiteX7" fmla="*/ 5354392 w 5354392"/>
              <a:gd name="connsiteY7" fmla="*/ 631185 h 1857735"/>
              <a:gd name="connsiteX8" fmla="*/ 4817819 w 5354392"/>
              <a:gd name="connsiteY8" fmla="*/ 1322200 h 1857735"/>
              <a:gd name="connsiteX9" fmla="*/ 4504339 w 5354392"/>
              <a:gd name="connsiteY9" fmla="*/ 1248293 h 1857735"/>
              <a:gd name="connsiteX10" fmla="*/ 4792416 w 5354392"/>
              <a:gd name="connsiteY10" fmla="*/ 1330181 h 1857735"/>
              <a:gd name="connsiteX11" fmla="*/ 2677196 w 5354392"/>
              <a:gd name="connsiteY11" fmla="*/ 1857735 h 1857735"/>
              <a:gd name="connsiteX0" fmla="*/ 2677196 w 5354392"/>
              <a:gd name="connsiteY0" fmla="*/ 1857735 h 1857735"/>
              <a:gd name="connsiteX1" fmla="*/ 561976 w 5354392"/>
              <a:gd name="connsiteY1" fmla="*/ 1330181 h 1857735"/>
              <a:gd name="connsiteX2" fmla="*/ 811207 w 5354392"/>
              <a:gd name="connsiteY2" fmla="*/ 1271422 h 1857735"/>
              <a:gd name="connsiteX3" fmla="*/ 799257 w 5354392"/>
              <a:gd name="connsiteY3" fmla="*/ 1260269 h 1857735"/>
              <a:gd name="connsiteX4" fmla="*/ 536573 w 5354392"/>
              <a:gd name="connsiteY4" fmla="*/ 1322200 h 1857735"/>
              <a:gd name="connsiteX5" fmla="*/ 0 w 5354392"/>
              <a:gd name="connsiteY5" fmla="*/ 631185 h 1857735"/>
              <a:gd name="connsiteX6" fmla="*/ 2677196 w 5354392"/>
              <a:gd name="connsiteY6" fmla="*/ 0 h 1857735"/>
              <a:gd name="connsiteX7" fmla="*/ 5354392 w 5354392"/>
              <a:gd name="connsiteY7" fmla="*/ 631185 h 1857735"/>
              <a:gd name="connsiteX8" fmla="*/ 4817819 w 5354392"/>
              <a:gd name="connsiteY8" fmla="*/ 1322200 h 1857735"/>
              <a:gd name="connsiteX9" fmla="*/ 4792416 w 5354392"/>
              <a:gd name="connsiteY9" fmla="*/ 1330181 h 1857735"/>
              <a:gd name="connsiteX10" fmla="*/ 2677196 w 5354392"/>
              <a:gd name="connsiteY10" fmla="*/ 1857735 h 1857735"/>
              <a:gd name="connsiteX0" fmla="*/ 2677196 w 5354392"/>
              <a:gd name="connsiteY0" fmla="*/ 1857735 h 1857735"/>
              <a:gd name="connsiteX1" fmla="*/ 561976 w 5354392"/>
              <a:gd name="connsiteY1" fmla="*/ 1330181 h 1857735"/>
              <a:gd name="connsiteX2" fmla="*/ 811207 w 5354392"/>
              <a:gd name="connsiteY2" fmla="*/ 1271422 h 1857735"/>
              <a:gd name="connsiteX3" fmla="*/ 799257 w 5354392"/>
              <a:gd name="connsiteY3" fmla="*/ 1260269 h 1857735"/>
              <a:gd name="connsiteX4" fmla="*/ 536573 w 5354392"/>
              <a:gd name="connsiteY4" fmla="*/ 1322200 h 1857735"/>
              <a:gd name="connsiteX5" fmla="*/ 0 w 5354392"/>
              <a:gd name="connsiteY5" fmla="*/ 631185 h 1857735"/>
              <a:gd name="connsiteX6" fmla="*/ 2677196 w 5354392"/>
              <a:gd name="connsiteY6" fmla="*/ 0 h 1857735"/>
              <a:gd name="connsiteX7" fmla="*/ 5354392 w 5354392"/>
              <a:gd name="connsiteY7" fmla="*/ 631185 h 1857735"/>
              <a:gd name="connsiteX8" fmla="*/ 4817819 w 5354392"/>
              <a:gd name="connsiteY8" fmla="*/ 1322200 h 1857735"/>
              <a:gd name="connsiteX9" fmla="*/ 2677196 w 5354392"/>
              <a:gd name="connsiteY9" fmla="*/ 1857735 h 1857735"/>
              <a:gd name="connsiteX0" fmla="*/ 2677196 w 5354392"/>
              <a:gd name="connsiteY0" fmla="*/ 1857735 h 1857735"/>
              <a:gd name="connsiteX1" fmla="*/ 561976 w 5354392"/>
              <a:gd name="connsiteY1" fmla="*/ 1330181 h 1857735"/>
              <a:gd name="connsiteX2" fmla="*/ 811207 w 5354392"/>
              <a:gd name="connsiteY2" fmla="*/ 1271422 h 1857735"/>
              <a:gd name="connsiteX3" fmla="*/ 536573 w 5354392"/>
              <a:gd name="connsiteY3" fmla="*/ 1322200 h 1857735"/>
              <a:gd name="connsiteX4" fmla="*/ 0 w 5354392"/>
              <a:gd name="connsiteY4" fmla="*/ 631185 h 1857735"/>
              <a:gd name="connsiteX5" fmla="*/ 2677196 w 5354392"/>
              <a:gd name="connsiteY5" fmla="*/ 0 h 1857735"/>
              <a:gd name="connsiteX6" fmla="*/ 5354392 w 5354392"/>
              <a:gd name="connsiteY6" fmla="*/ 631185 h 1857735"/>
              <a:gd name="connsiteX7" fmla="*/ 4817819 w 5354392"/>
              <a:gd name="connsiteY7" fmla="*/ 1322200 h 1857735"/>
              <a:gd name="connsiteX8" fmla="*/ 2677196 w 5354392"/>
              <a:gd name="connsiteY8" fmla="*/ 1857735 h 1857735"/>
              <a:gd name="connsiteX0" fmla="*/ 2677196 w 5354392"/>
              <a:gd name="connsiteY0" fmla="*/ 1857735 h 1857735"/>
              <a:gd name="connsiteX1" fmla="*/ 561976 w 5354392"/>
              <a:gd name="connsiteY1" fmla="*/ 1330181 h 1857735"/>
              <a:gd name="connsiteX2" fmla="*/ 536573 w 5354392"/>
              <a:gd name="connsiteY2" fmla="*/ 1322200 h 1857735"/>
              <a:gd name="connsiteX3" fmla="*/ 0 w 5354392"/>
              <a:gd name="connsiteY3" fmla="*/ 631185 h 1857735"/>
              <a:gd name="connsiteX4" fmla="*/ 2677196 w 5354392"/>
              <a:gd name="connsiteY4" fmla="*/ 0 h 1857735"/>
              <a:gd name="connsiteX5" fmla="*/ 5354392 w 5354392"/>
              <a:gd name="connsiteY5" fmla="*/ 631185 h 1857735"/>
              <a:gd name="connsiteX6" fmla="*/ 4817819 w 5354392"/>
              <a:gd name="connsiteY6" fmla="*/ 1322200 h 1857735"/>
              <a:gd name="connsiteX7" fmla="*/ 2677196 w 5354392"/>
              <a:gd name="connsiteY7" fmla="*/ 1857735 h 1857735"/>
              <a:gd name="connsiteX0" fmla="*/ 2677196 w 5354392"/>
              <a:gd name="connsiteY0" fmla="*/ 1857735 h 1857735"/>
              <a:gd name="connsiteX1" fmla="*/ 536573 w 5354392"/>
              <a:gd name="connsiteY1" fmla="*/ 1322200 h 1857735"/>
              <a:gd name="connsiteX2" fmla="*/ 0 w 5354392"/>
              <a:gd name="connsiteY2" fmla="*/ 631185 h 1857735"/>
              <a:gd name="connsiteX3" fmla="*/ 2677196 w 5354392"/>
              <a:gd name="connsiteY3" fmla="*/ 0 h 1857735"/>
              <a:gd name="connsiteX4" fmla="*/ 5354392 w 5354392"/>
              <a:gd name="connsiteY4" fmla="*/ 631185 h 1857735"/>
              <a:gd name="connsiteX5" fmla="*/ 4817819 w 5354392"/>
              <a:gd name="connsiteY5" fmla="*/ 1322200 h 1857735"/>
              <a:gd name="connsiteX6" fmla="*/ 2677196 w 5354392"/>
              <a:gd name="connsiteY6" fmla="*/ 1857735 h 1857735"/>
              <a:gd name="connsiteX0" fmla="*/ 2677196 w 4817819"/>
              <a:gd name="connsiteY0" fmla="*/ 1857735 h 1857735"/>
              <a:gd name="connsiteX1" fmla="*/ 536573 w 4817819"/>
              <a:gd name="connsiteY1" fmla="*/ 1322200 h 1857735"/>
              <a:gd name="connsiteX2" fmla="*/ 0 w 4817819"/>
              <a:gd name="connsiteY2" fmla="*/ 631185 h 1857735"/>
              <a:gd name="connsiteX3" fmla="*/ 2677196 w 4817819"/>
              <a:gd name="connsiteY3" fmla="*/ 0 h 1857735"/>
              <a:gd name="connsiteX4" fmla="*/ 4817819 w 4817819"/>
              <a:gd name="connsiteY4" fmla="*/ 1322200 h 1857735"/>
              <a:gd name="connsiteX5" fmla="*/ 2677196 w 4817819"/>
              <a:gd name="connsiteY5" fmla="*/ 1857735 h 1857735"/>
              <a:gd name="connsiteX0" fmla="*/ 2140623 w 4281246"/>
              <a:gd name="connsiteY0" fmla="*/ 1857735 h 1857735"/>
              <a:gd name="connsiteX1" fmla="*/ 0 w 4281246"/>
              <a:gd name="connsiteY1" fmla="*/ 1322200 h 1857735"/>
              <a:gd name="connsiteX2" fmla="*/ 2140623 w 4281246"/>
              <a:gd name="connsiteY2" fmla="*/ 0 h 1857735"/>
              <a:gd name="connsiteX3" fmla="*/ 4281246 w 4281246"/>
              <a:gd name="connsiteY3" fmla="*/ 1322200 h 1857735"/>
              <a:gd name="connsiteX4" fmla="*/ 2140623 w 4281246"/>
              <a:gd name="connsiteY4" fmla="*/ 1857735 h 1857735"/>
              <a:gd name="connsiteX0" fmla="*/ 2140623 w 4281246"/>
              <a:gd name="connsiteY0" fmla="*/ 1654535 h 1654535"/>
              <a:gd name="connsiteX1" fmla="*/ 0 w 4281246"/>
              <a:gd name="connsiteY1" fmla="*/ 1119000 h 1654535"/>
              <a:gd name="connsiteX2" fmla="*/ 2108873 w 4281246"/>
              <a:gd name="connsiteY2" fmla="*/ 0 h 1654535"/>
              <a:gd name="connsiteX3" fmla="*/ 4281246 w 4281246"/>
              <a:gd name="connsiteY3" fmla="*/ 1119000 h 1654535"/>
              <a:gd name="connsiteX4" fmla="*/ 2140623 w 4281246"/>
              <a:gd name="connsiteY4" fmla="*/ 1654535 h 1654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1246" h="1654535">
                <a:moveTo>
                  <a:pt x="2140623" y="1654535"/>
                </a:moveTo>
                <a:lnTo>
                  <a:pt x="0" y="1119000"/>
                </a:lnTo>
                <a:lnTo>
                  <a:pt x="2108873" y="0"/>
                </a:lnTo>
                <a:lnTo>
                  <a:pt x="4281246" y="1119000"/>
                </a:lnTo>
                <a:lnTo>
                  <a:pt x="2140623" y="1654535"/>
                </a:lnTo>
                <a:close/>
              </a:path>
            </a:pathLst>
          </a:cu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Shape 14">
            <a:extLst>
              <a:ext uri="{FF2B5EF4-FFF2-40B4-BE49-F238E27FC236}">
                <a16:creationId xmlns:a16="http://schemas.microsoft.com/office/drawing/2014/main" id="{59CE7DCB-6236-9D6F-5604-F644B2EBEDCA}"/>
              </a:ext>
            </a:extLst>
          </p:cNvPr>
          <p:cNvSpPr/>
          <p:nvPr/>
        </p:nvSpPr>
        <p:spPr>
          <a:xfrm rot="10800000">
            <a:off x="4664391" y="2643865"/>
            <a:ext cx="2856898" cy="1287648"/>
          </a:xfrm>
          <a:custGeom>
            <a:avLst/>
            <a:gdLst>
              <a:gd name="connsiteX0" fmla="*/ 1951263 w 3902523"/>
              <a:gd name="connsiteY0" fmla="*/ 1516248 h 1516248"/>
              <a:gd name="connsiteX1" fmla="*/ 525976 w 3902523"/>
              <a:gd name="connsiteY1" fmla="*/ 1160769 h 1516248"/>
              <a:gd name="connsiteX2" fmla="*/ 724017 w 3902523"/>
              <a:gd name="connsiteY2" fmla="*/ 1114983 h 1516248"/>
              <a:gd name="connsiteX3" fmla="*/ 718983 w 3902523"/>
              <a:gd name="connsiteY3" fmla="*/ 1109797 h 1516248"/>
              <a:gd name="connsiteX4" fmla="*/ 519650 w 3902523"/>
              <a:gd name="connsiteY4" fmla="*/ 1155882 h 1516248"/>
              <a:gd name="connsiteX5" fmla="*/ 0 w 3902523"/>
              <a:gd name="connsiteY5" fmla="*/ 486661 h 1516248"/>
              <a:gd name="connsiteX6" fmla="*/ 1951262 w 3902523"/>
              <a:gd name="connsiteY6" fmla="*/ 0 h 1516248"/>
              <a:gd name="connsiteX7" fmla="*/ 3902523 w 3902523"/>
              <a:gd name="connsiteY7" fmla="*/ 486661 h 1516248"/>
              <a:gd name="connsiteX8" fmla="*/ 3382874 w 3902523"/>
              <a:gd name="connsiteY8" fmla="*/ 1155882 h 1516248"/>
              <a:gd name="connsiteX9" fmla="*/ 3184027 w 3902523"/>
              <a:gd name="connsiteY9" fmla="*/ 1109910 h 1516248"/>
              <a:gd name="connsiteX10" fmla="*/ 3175851 w 3902523"/>
              <a:gd name="connsiteY10" fmla="*/ 1114370 h 1516248"/>
              <a:gd name="connsiteX11" fmla="*/ 3376548 w 3902523"/>
              <a:gd name="connsiteY11" fmla="*/ 1160770 h 1516248"/>
              <a:gd name="connsiteX0" fmla="*/ 1951263 w 3902523"/>
              <a:gd name="connsiteY0" fmla="*/ 1516248 h 1516248"/>
              <a:gd name="connsiteX1" fmla="*/ 525976 w 3902523"/>
              <a:gd name="connsiteY1" fmla="*/ 1160769 h 1516248"/>
              <a:gd name="connsiteX2" fmla="*/ 724017 w 3902523"/>
              <a:gd name="connsiteY2" fmla="*/ 1114983 h 1516248"/>
              <a:gd name="connsiteX3" fmla="*/ 718983 w 3902523"/>
              <a:gd name="connsiteY3" fmla="*/ 1109797 h 1516248"/>
              <a:gd name="connsiteX4" fmla="*/ 519650 w 3902523"/>
              <a:gd name="connsiteY4" fmla="*/ 1155882 h 1516248"/>
              <a:gd name="connsiteX5" fmla="*/ 0 w 3902523"/>
              <a:gd name="connsiteY5" fmla="*/ 486661 h 1516248"/>
              <a:gd name="connsiteX6" fmla="*/ 1951262 w 3902523"/>
              <a:gd name="connsiteY6" fmla="*/ 0 h 1516248"/>
              <a:gd name="connsiteX7" fmla="*/ 3902523 w 3902523"/>
              <a:gd name="connsiteY7" fmla="*/ 486661 h 1516248"/>
              <a:gd name="connsiteX8" fmla="*/ 3382874 w 3902523"/>
              <a:gd name="connsiteY8" fmla="*/ 1155882 h 1516248"/>
              <a:gd name="connsiteX9" fmla="*/ 3184027 w 3902523"/>
              <a:gd name="connsiteY9" fmla="*/ 1109910 h 1516248"/>
              <a:gd name="connsiteX10" fmla="*/ 3376548 w 3902523"/>
              <a:gd name="connsiteY10" fmla="*/ 1160770 h 1516248"/>
              <a:gd name="connsiteX11" fmla="*/ 1951263 w 3902523"/>
              <a:gd name="connsiteY11" fmla="*/ 1516248 h 1516248"/>
              <a:gd name="connsiteX0" fmla="*/ 1951263 w 3902523"/>
              <a:gd name="connsiteY0" fmla="*/ 1516248 h 1516248"/>
              <a:gd name="connsiteX1" fmla="*/ 525976 w 3902523"/>
              <a:gd name="connsiteY1" fmla="*/ 1160769 h 1516248"/>
              <a:gd name="connsiteX2" fmla="*/ 724017 w 3902523"/>
              <a:gd name="connsiteY2" fmla="*/ 1114983 h 1516248"/>
              <a:gd name="connsiteX3" fmla="*/ 718983 w 3902523"/>
              <a:gd name="connsiteY3" fmla="*/ 1109797 h 1516248"/>
              <a:gd name="connsiteX4" fmla="*/ 519650 w 3902523"/>
              <a:gd name="connsiteY4" fmla="*/ 1155882 h 1516248"/>
              <a:gd name="connsiteX5" fmla="*/ 0 w 3902523"/>
              <a:gd name="connsiteY5" fmla="*/ 486661 h 1516248"/>
              <a:gd name="connsiteX6" fmla="*/ 1951262 w 3902523"/>
              <a:gd name="connsiteY6" fmla="*/ 0 h 1516248"/>
              <a:gd name="connsiteX7" fmla="*/ 3902523 w 3902523"/>
              <a:gd name="connsiteY7" fmla="*/ 486661 h 1516248"/>
              <a:gd name="connsiteX8" fmla="*/ 3382874 w 3902523"/>
              <a:gd name="connsiteY8" fmla="*/ 1155882 h 1516248"/>
              <a:gd name="connsiteX9" fmla="*/ 3376548 w 3902523"/>
              <a:gd name="connsiteY9" fmla="*/ 1160770 h 1516248"/>
              <a:gd name="connsiteX10" fmla="*/ 1951263 w 3902523"/>
              <a:gd name="connsiteY10" fmla="*/ 1516248 h 1516248"/>
              <a:gd name="connsiteX0" fmla="*/ 1951263 w 3902523"/>
              <a:gd name="connsiteY0" fmla="*/ 1516248 h 1516248"/>
              <a:gd name="connsiteX1" fmla="*/ 525976 w 3902523"/>
              <a:gd name="connsiteY1" fmla="*/ 1160769 h 1516248"/>
              <a:gd name="connsiteX2" fmla="*/ 724017 w 3902523"/>
              <a:gd name="connsiteY2" fmla="*/ 1114983 h 1516248"/>
              <a:gd name="connsiteX3" fmla="*/ 718983 w 3902523"/>
              <a:gd name="connsiteY3" fmla="*/ 1109797 h 1516248"/>
              <a:gd name="connsiteX4" fmla="*/ 519650 w 3902523"/>
              <a:gd name="connsiteY4" fmla="*/ 1155882 h 1516248"/>
              <a:gd name="connsiteX5" fmla="*/ 0 w 3902523"/>
              <a:gd name="connsiteY5" fmla="*/ 486661 h 1516248"/>
              <a:gd name="connsiteX6" fmla="*/ 1951262 w 3902523"/>
              <a:gd name="connsiteY6" fmla="*/ 0 h 1516248"/>
              <a:gd name="connsiteX7" fmla="*/ 3902523 w 3902523"/>
              <a:gd name="connsiteY7" fmla="*/ 486661 h 1516248"/>
              <a:gd name="connsiteX8" fmla="*/ 3382874 w 3902523"/>
              <a:gd name="connsiteY8" fmla="*/ 1155882 h 1516248"/>
              <a:gd name="connsiteX9" fmla="*/ 1951263 w 3902523"/>
              <a:gd name="connsiteY9" fmla="*/ 1516248 h 1516248"/>
              <a:gd name="connsiteX0" fmla="*/ 1951263 w 3902523"/>
              <a:gd name="connsiteY0" fmla="*/ 1516248 h 1516248"/>
              <a:gd name="connsiteX1" fmla="*/ 525976 w 3902523"/>
              <a:gd name="connsiteY1" fmla="*/ 1160769 h 1516248"/>
              <a:gd name="connsiteX2" fmla="*/ 724017 w 3902523"/>
              <a:gd name="connsiteY2" fmla="*/ 1114983 h 1516248"/>
              <a:gd name="connsiteX3" fmla="*/ 519650 w 3902523"/>
              <a:gd name="connsiteY3" fmla="*/ 1155882 h 1516248"/>
              <a:gd name="connsiteX4" fmla="*/ 0 w 3902523"/>
              <a:gd name="connsiteY4" fmla="*/ 486661 h 1516248"/>
              <a:gd name="connsiteX5" fmla="*/ 1951262 w 3902523"/>
              <a:gd name="connsiteY5" fmla="*/ 0 h 1516248"/>
              <a:gd name="connsiteX6" fmla="*/ 3902523 w 3902523"/>
              <a:gd name="connsiteY6" fmla="*/ 486661 h 1516248"/>
              <a:gd name="connsiteX7" fmla="*/ 3382874 w 3902523"/>
              <a:gd name="connsiteY7" fmla="*/ 1155882 h 1516248"/>
              <a:gd name="connsiteX8" fmla="*/ 1951263 w 3902523"/>
              <a:gd name="connsiteY8" fmla="*/ 1516248 h 1516248"/>
              <a:gd name="connsiteX0" fmla="*/ 1951263 w 3902523"/>
              <a:gd name="connsiteY0" fmla="*/ 1516248 h 1516248"/>
              <a:gd name="connsiteX1" fmla="*/ 525976 w 3902523"/>
              <a:gd name="connsiteY1" fmla="*/ 1160769 h 1516248"/>
              <a:gd name="connsiteX2" fmla="*/ 519650 w 3902523"/>
              <a:gd name="connsiteY2" fmla="*/ 1155882 h 1516248"/>
              <a:gd name="connsiteX3" fmla="*/ 0 w 3902523"/>
              <a:gd name="connsiteY3" fmla="*/ 486661 h 1516248"/>
              <a:gd name="connsiteX4" fmla="*/ 1951262 w 3902523"/>
              <a:gd name="connsiteY4" fmla="*/ 0 h 1516248"/>
              <a:gd name="connsiteX5" fmla="*/ 3902523 w 3902523"/>
              <a:gd name="connsiteY5" fmla="*/ 486661 h 1516248"/>
              <a:gd name="connsiteX6" fmla="*/ 3382874 w 3902523"/>
              <a:gd name="connsiteY6" fmla="*/ 1155882 h 1516248"/>
              <a:gd name="connsiteX7" fmla="*/ 1951263 w 3902523"/>
              <a:gd name="connsiteY7" fmla="*/ 1516248 h 1516248"/>
              <a:gd name="connsiteX0" fmla="*/ 1951263 w 3902523"/>
              <a:gd name="connsiteY0" fmla="*/ 1516248 h 1516248"/>
              <a:gd name="connsiteX1" fmla="*/ 525976 w 3902523"/>
              <a:gd name="connsiteY1" fmla="*/ 1160769 h 1516248"/>
              <a:gd name="connsiteX2" fmla="*/ 0 w 3902523"/>
              <a:gd name="connsiteY2" fmla="*/ 486661 h 1516248"/>
              <a:gd name="connsiteX3" fmla="*/ 1951262 w 3902523"/>
              <a:gd name="connsiteY3" fmla="*/ 0 h 1516248"/>
              <a:gd name="connsiteX4" fmla="*/ 3902523 w 3902523"/>
              <a:gd name="connsiteY4" fmla="*/ 486661 h 1516248"/>
              <a:gd name="connsiteX5" fmla="*/ 3382874 w 3902523"/>
              <a:gd name="connsiteY5" fmla="*/ 1155882 h 1516248"/>
              <a:gd name="connsiteX6" fmla="*/ 1951263 w 3902523"/>
              <a:gd name="connsiteY6" fmla="*/ 1516248 h 1516248"/>
              <a:gd name="connsiteX0" fmla="*/ 1951263 w 3382874"/>
              <a:gd name="connsiteY0" fmla="*/ 1516248 h 1516248"/>
              <a:gd name="connsiteX1" fmla="*/ 525976 w 3382874"/>
              <a:gd name="connsiteY1" fmla="*/ 1160769 h 1516248"/>
              <a:gd name="connsiteX2" fmla="*/ 0 w 3382874"/>
              <a:gd name="connsiteY2" fmla="*/ 486661 h 1516248"/>
              <a:gd name="connsiteX3" fmla="*/ 1951262 w 3382874"/>
              <a:gd name="connsiteY3" fmla="*/ 0 h 1516248"/>
              <a:gd name="connsiteX4" fmla="*/ 3382874 w 3382874"/>
              <a:gd name="connsiteY4" fmla="*/ 1155882 h 1516248"/>
              <a:gd name="connsiteX5" fmla="*/ 1951263 w 3382874"/>
              <a:gd name="connsiteY5" fmla="*/ 1516248 h 1516248"/>
              <a:gd name="connsiteX0" fmla="*/ 1425287 w 2856898"/>
              <a:gd name="connsiteY0" fmla="*/ 1516248 h 1516248"/>
              <a:gd name="connsiteX1" fmla="*/ 0 w 2856898"/>
              <a:gd name="connsiteY1" fmla="*/ 1160769 h 1516248"/>
              <a:gd name="connsiteX2" fmla="*/ 1425286 w 2856898"/>
              <a:gd name="connsiteY2" fmla="*/ 0 h 1516248"/>
              <a:gd name="connsiteX3" fmla="*/ 2856898 w 2856898"/>
              <a:gd name="connsiteY3" fmla="*/ 1155882 h 1516248"/>
              <a:gd name="connsiteX4" fmla="*/ 1425287 w 2856898"/>
              <a:gd name="connsiteY4" fmla="*/ 1516248 h 1516248"/>
              <a:gd name="connsiteX0" fmla="*/ 1425287 w 2856898"/>
              <a:gd name="connsiteY0" fmla="*/ 1287648 h 1287648"/>
              <a:gd name="connsiteX1" fmla="*/ 0 w 2856898"/>
              <a:gd name="connsiteY1" fmla="*/ 932169 h 1287648"/>
              <a:gd name="connsiteX2" fmla="*/ 1399886 w 2856898"/>
              <a:gd name="connsiteY2" fmla="*/ 0 h 1287648"/>
              <a:gd name="connsiteX3" fmla="*/ 2856898 w 2856898"/>
              <a:gd name="connsiteY3" fmla="*/ 927282 h 1287648"/>
              <a:gd name="connsiteX4" fmla="*/ 1425287 w 2856898"/>
              <a:gd name="connsiteY4" fmla="*/ 1287648 h 1287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6898" h="1287648">
                <a:moveTo>
                  <a:pt x="1425287" y="1287648"/>
                </a:moveTo>
                <a:lnTo>
                  <a:pt x="0" y="932169"/>
                </a:lnTo>
                <a:lnTo>
                  <a:pt x="1399886" y="0"/>
                </a:lnTo>
                <a:lnTo>
                  <a:pt x="2856898" y="927282"/>
                </a:lnTo>
                <a:lnTo>
                  <a:pt x="1425287" y="1287648"/>
                </a:lnTo>
                <a:close/>
              </a:path>
            </a:pathLst>
          </a:cu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eform: Shape 15">
            <a:extLst>
              <a:ext uri="{FF2B5EF4-FFF2-40B4-BE49-F238E27FC236}">
                <a16:creationId xmlns:a16="http://schemas.microsoft.com/office/drawing/2014/main" id="{F2741346-36B7-D92D-40F9-D69BEDE42A46}"/>
              </a:ext>
            </a:extLst>
          </p:cNvPr>
          <p:cNvSpPr/>
          <p:nvPr/>
        </p:nvSpPr>
        <p:spPr>
          <a:xfrm rot="10800000">
            <a:off x="5387732" y="1900269"/>
            <a:ext cx="1411045" cy="996628"/>
          </a:xfrm>
          <a:custGeom>
            <a:avLst/>
            <a:gdLst>
              <a:gd name="connsiteX0" fmla="*/ 1240077 w 2480154"/>
              <a:gd name="connsiteY0" fmla="*/ 1168078 h 1168078"/>
              <a:gd name="connsiteX1" fmla="*/ 537299 w 2480154"/>
              <a:gd name="connsiteY1" fmla="*/ 992799 h 1168078"/>
              <a:gd name="connsiteX2" fmla="*/ 531810 w 2480154"/>
              <a:gd name="connsiteY2" fmla="*/ 994168 h 1168078"/>
              <a:gd name="connsiteX3" fmla="*/ 0 w 2480154"/>
              <a:gd name="connsiteY3" fmla="*/ 309286 h 1168078"/>
              <a:gd name="connsiteX4" fmla="*/ 1240077 w 2480154"/>
              <a:gd name="connsiteY4" fmla="*/ 0 h 1168078"/>
              <a:gd name="connsiteX5" fmla="*/ 2480154 w 2480154"/>
              <a:gd name="connsiteY5" fmla="*/ 309286 h 1168078"/>
              <a:gd name="connsiteX6" fmla="*/ 1948344 w 2480154"/>
              <a:gd name="connsiteY6" fmla="*/ 994168 h 1168078"/>
              <a:gd name="connsiteX7" fmla="*/ 1942856 w 2480154"/>
              <a:gd name="connsiteY7" fmla="*/ 992799 h 1168078"/>
              <a:gd name="connsiteX0" fmla="*/ 1240077 w 2480154"/>
              <a:gd name="connsiteY0" fmla="*/ 1168078 h 1168078"/>
              <a:gd name="connsiteX1" fmla="*/ 537299 w 2480154"/>
              <a:gd name="connsiteY1" fmla="*/ 992799 h 1168078"/>
              <a:gd name="connsiteX2" fmla="*/ 531810 w 2480154"/>
              <a:gd name="connsiteY2" fmla="*/ 994168 h 1168078"/>
              <a:gd name="connsiteX3" fmla="*/ 0 w 2480154"/>
              <a:gd name="connsiteY3" fmla="*/ 309286 h 1168078"/>
              <a:gd name="connsiteX4" fmla="*/ 1240077 w 2480154"/>
              <a:gd name="connsiteY4" fmla="*/ 0 h 1168078"/>
              <a:gd name="connsiteX5" fmla="*/ 2480154 w 2480154"/>
              <a:gd name="connsiteY5" fmla="*/ 309286 h 1168078"/>
              <a:gd name="connsiteX6" fmla="*/ 1948344 w 2480154"/>
              <a:gd name="connsiteY6" fmla="*/ 994168 h 1168078"/>
              <a:gd name="connsiteX7" fmla="*/ 1240077 w 2480154"/>
              <a:gd name="connsiteY7" fmla="*/ 1168078 h 1168078"/>
              <a:gd name="connsiteX0" fmla="*/ 1240077 w 2480154"/>
              <a:gd name="connsiteY0" fmla="*/ 1168078 h 1168078"/>
              <a:gd name="connsiteX1" fmla="*/ 537299 w 2480154"/>
              <a:gd name="connsiteY1" fmla="*/ 992799 h 1168078"/>
              <a:gd name="connsiteX2" fmla="*/ 0 w 2480154"/>
              <a:gd name="connsiteY2" fmla="*/ 309286 h 1168078"/>
              <a:gd name="connsiteX3" fmla="*/ 1240077 w 2480154"/>
              <a:gd name="connsiteY3" fmla="*/ 0 h 1168078"/>
              <a:gd name="connsiteX4" fmla="*/ 2480154 w 2480154"/>
              <a:gd name="connsiteY4" fmla="*/ 309286 h 1168078"/>
              <a:gd name="connsiteX5" fmla="*/ 1948344 w 2480154"/>
              <a:gd name="connsiteY5" fmla="*/ 994168 h 1168078"/>
              <a:gd name="connsiteX6" fmla="*/ 1240077 w 2480154"/>
              <a:gd name="connsiteY6" fmla="*/ 1168078 h 1168078"/>
              <a:gd name="connsiteX0" fmla="*/ 1240077 w 1948344"/>
              <a:gd name="connsiteY0" fmla="*/ 1168078 h 1168078"/>
              <a:gd name="connsiteX1" fmla="*/ 537299 w 1948344"/>
              <a:gd name="connsiteY1" fmla="*/ 992799 h 1168078"/>
              <a:gd name="connsiteX2" fmla="*/ 0 w 1948344"/>
              <a:gd name="connsiteY2" fmla="*/ 309286 h 1168078"/>
              <a:gd name="connsiteX3" fmla="*/ 1240077 w 1948344"/>
              <a:gd name="connsiteY3" fmla="*/ 0 h 1168078"/>
              <a:gd name="connsiteX4" fmla="*/ 1948344 w 1948344"/>
              <a:gd name="connsiteY4" fmla="*/ 994168 h 1168078"/>
              <a:gd name="connsiteX5" fmla="*/ 1240077 w 1948344"/>
              <a:gd name="connsiteY5" fmla="*/ 1168078 h 1168078"/>
              <a:gd name="connsiteX0" fmla="*/ 702778 w 1411045"/>
              <a:gd name="connsiteY0" fmla="*/ 1168078 h 1168078"/>
              <a:gd name="connsiteX1" fmla="*/ 0 w 1411045"/>
              <a:gd name="connsiteY1" fmla="*/ 992799 h 1168078"/>
              <a:gd name="connsiteX2" fmla="*/ 702778 w 1411045"/>
              <a:gd name="connsiteY2" fmla="*/ 0 h 1168078"/>
              <a:gd name="connsiteX3" fmla="*/ 1411045 w 1411045"/>
              <a:gd name="connsiteY3" fmla="*/ 994168 h 1168078"/>
              <a:gd name="connsiteX4" fmla="*/ 702778 w 1411045"/>
              <a:gd name="connsiteY4" fmla="*/ 1168078 h 1168078"/>
              <a:gd name="connsiteX0" fmla="*/ 702778 w 1411045"/>
              <a:gd name="connsiteY0" fmla="*/ 996628 h 996628"/>
              <a:gd name="connsiteX1" fmla="*/ 0 w 1411045"/>
              <a:gd name="connsiteY1" fmla="*/ 821349 h 996628"/>
              <a:gd name="connsiteX2" fmla="*/ 696428 w 1411045"/>
              <a:gd name="connsiteY2" fmla="*/ 0 h 996628"/>
              <a:gd name="connsiteX3" fmla="*/ 1411045 w 1411045"/>
              <a:gd name="connsiteY3" fmla="*/ 822718 h 996628"/>
              <a:gd name="connsiteX4" fmla="*/ 702778 w 1411045"/>
              <a:gd name="connsiteY4" fmla="*/ 996628 h 9966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1045" h="996628">
                <a:moveTo>
                  <a:pt x="702778" y="996628"/>
                </a:moveTo>
                <a:lnTo>
                  <a:pt x="0" y="821349"/>
                </a:lnTo>
                <a:lnTo>
                  <a:pt x="696428" y="0"/>
                </a:lnTo>
                <a:lnTo>
                  <a:pt x="1411045" y="822718"/>
                </a:lnTo>
                <a:lnTo>
                  <a:pt x="702778" y="996628"/>
                </a:lnTo>
                <a:close/>
              </a:path>
            </a:pathLst>
          </a:cu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reeform: Shape 16">
            <a:extLst>
              <a:ext uri="{FF2B5EF4-FFF2-40B4-BE49-F238E27FC236}">
                <a16:creationId xmlns:a16="http://schemas.microsoft.com/office/drawing/2014/main" id="{510D75A8-3584-4E97-FA49-4D32DB99DBB8}"/>
              </a:ext>
            </a:extLst>
          </p:cNvPr>
          <p:cNvSpPr/>
          <p:nvPr/>
        </p:nvSpPr>
        <p:spPr>
          <a:xfrm>
            <a:off x="2725286" y="4837594"/>
            <a:ext cx="6741428" cy="1506057"/>
          </a:xfrm>
          <a:custGeom>
            <a:avLst/>
            <a:gdLst>
              <a:gd name="connsiteX0" fmla="*/ 516660 w 6741428"/>
              <a:gd name="connsiteY0" fmla="*/ 0 h 1506057"/>
              <a:gd name="connsiteX1" fmla="*/ 610039 w 6741428"/>
              <a:gd name="connsiteY1" fmla="*/ 0 h 1506057"/>
              <a:gd name="connsiteX2" fmla="*/ 3370714 w 6741428"/>
              <a:gd name="connsiteY2" fmla="*/ 688536 h 1506057"/>
              <a:gd name="connsiteX3" fmla="*/ 6131389 w 6741428"/>
              <a:gd name="connsiteY3" fmla="*/ 0 h 1506057"/>
              <a:gd name="connsiteX4" fmla="*/ 6224768 w 6741428"/>
              <a:gd name="connsiteY4" fmla="*/ 0 h 1506057"/>
              <a:gd name="connsiteX5" fmla="*/ 6482955 w 6741428"/>
              <a:gd name="connsiteY5" fmla="*/ 332502 h 1506057"/>
              <a:gd name="connsiteX6" fmla="*/ 6741428 w 6741428"/>
              <a:gd name="connsiteY6" fmla="*/ 665372 h 1506057"/>
              <a:gd name="connsiteX7" fmla="*/ 3370714 w 6741428"/>
              <a:gd name="connsiteY7" fmla="*/ 1506057 h 1506057"/>
              <a:gd name="connsiteX8" fmla="*/ 0 w 6741428"/>
              <a:gd name="connsiteY8" fmla="*/ 665372 h 1506057"/>
              <a:gd name="connsiteX9" fmla="*/ 258473 w 6741428"/>
              <a:gd name="connsiteY9" fmla="*/ 332502 h 1506057"/>
              <a:gd name="connsiteX0" fmla="*/ 516660 w 6741428"/>
              <a:gd name="connsiteY0" fmla="*/ 0 h 1506057"/>
              <a:gd name="connsiteX1" fmla="*/ 610039 w 6741428"/>
              <a:gd name="connsiteY1" fmla="*/ 0 h 1506057"/>
              <a:gd name="connsiteX2" fmla="*/ 3370714 w 6741428"/>
              <a:gd name="connsiteY2" fmla="*/ 688536 h 1506057"/>
              <a:gd name="connsiteX3" fmla="*/ 6224768 w 6741428"/>
              <a:gd name="connsiteY3" fmla="*/ 0 h 1506057"/>
              <a:gd name="connsiteX4" fmla="*/ 6482955 w 6741428"/>
              <a:gd name="connsiteY4" fmla="*/ 332502 h 1506057"/>
              <a:gd name="connsiteX5" fmla="*/ 6741428 w 6741428"/>
              <a:gd name="connsiteY5" fmla="*/ 665372 h 1506057"/>
              <a:gd name="connsiteX6" fmla="*/ 3370714 w 6741428"/>
              <a:gd name="connsiteY6" fmla="*/ 1506057 h 1506057"/>
              <a:gd name="connsiteX7" fmla="*/ 0 w 6741428"/>
              <a:gd name="connsiteY7" fmla="*/ 665372 h 1506057"/>
              <a:gd name="connsiteX8" fmla="*/ 258473 w 6741428"/>
              <a:gd name="connsiteY8" fmla="*/ 332502 h 1506057"/>
              <a:gd name="connsiteX9" fmla="*/ 516660 w 6741428"/>
              <a:gd name="connsiteY9" fmla="*/ 0 h 1506057"/>
              <a:gd name="connsiteX0" fmla="*/ 516660 w 6741428"/>
              <a:gd name="connsiteY0" fmla="*/ 0 h 1506057"/>
              <a:gd name="connsiteX1" fmla="*/ 3370714 w 6741428"/>
              <a:gd name="connsiteY1" fmla="*/ 688536 h 1506057"/>
              <a:gd name="connsiteX2" fmla="*/ 6224768 w 6741428"/>
              <a:gd name="connsiteY2" fmla="*/ 0 h 1506057"/>
              <a:gd name="connsiteX3" fmla="*/ 6482955 w 6741428"/>
              <a:gd name="connsiteY3" fmla="*/ 332502 h 1506057"/>
              <a:gd name="connsiteX4" fmla="*/ 6741428 w 6741428"/>
              <a:gd name="connsiteY4" fmla="*/ 665372 h 1506057"/>
              <a:gd name="connsiteX5" fmla="*/ 3370714 w 6741428"/>
              <a:gd name="connsiteY5" fmla="*/ 1506057 h 1506057"/>
              <a:gd name="connsiteX6" fmla="*/ 0 w 6741428"/>
              <a:gd name="connsiteY6" fmla="*/ 665372 h 1506057"/>
              <a:gd name="connsiteX7" fmla="*/ 258473 w 6741428"/>
              <a:gd name="connsiteY7" fmla="*/ 332502 h 1506057"/>
              <a:gd name="connsiteX8" fmla="*/ 516660 w 6741428"/>
              <a:gd name="connsiteY8" fmla="*/ 0 h 1506057"/>
              <a:gd name="connsiteX0" fmla="*/ 516660 w 6741428"/>
              <a:gd name="connsiteY0" fmla="*/ 0 h 1506057"/>
              <a:gd name="connsiteX1" fmla="*/ 3370714 w 6741428"/>
              <a:gd name="connsiteY1" fmla="*/ 688536 h 1506057"/>
              <a:gd name="connsiteX2" fmla="*/ 6224768 w 6741428"/>
              <a:gd name="connsiteY2" fmla="*/ 0 h 1506057"/>
              <a:gd name="connsiteX3" fmla="*/ 6482955 w 6741428"/>
              <a:gd name="connsiteY3" fmla="*/ 332502 h 1506057"/>
              <a:gd name="connsiteX4" fmla="*/ 6741428 w 6741428"/>
              <a:gd name="connsiteY4" fmla="*/ 665372 h 1506057"/>
              <a:gd name="connsiteX5" fmla="*/ 3370714 w 6741428"/>
              <a:gd name="connsiteY5" fmla="*/ 1506057 h 1506057"/>
              <a:gd name="connsiteX6" fmla="*/ 0 w 6741428"/>
              <a:gd name="connsiteY6" fmla="*/ 665372 h 1506057"/>
              <a:gd name="connsiteX7" fmla="*/ 516660 w 6741428"/>
              <a:gd name="connsiteY7" fmla="*/ 0 h 1506057"/>
              <a:gd name="connsiteX0" fmla="*/ 516660 w 6741428"/>
              <a:gd name="connsiteY0" fmla="*/ 0 h 1506057"/>
              <a:gd name="connsiteX1" fmla="*/ 3370714 w 6741428"/>
              <a:gd name="connsiteY1" fmla="*/ 688536 h 1506057"/>
              <a:gd name="connsiteX2" fmla="*/ 6224768 w 6741428"/>
              <a:gd name="connsiteY2" fmla="*/ 0 h 1506057"/>
              <a:gd name="connsiteX3" fmla="*/ 6741428 w 6741428"/>
              <a:gd name="connsiteY3" fmla="*/ 665372 h 1506057"/>
              <a:gd name="connsiteX4" fmla="*/ 3370714 w 6741428"/>
              <a:gd name="connsiteY4" fmla="*/ 1506057 h 1506057"/>
              <a:gd name="connsiteX5" fmla="*/ 0 w 6741428"/>
              <a:gd name="connsiteY5" fmla="*/ 665372 h 1506057"/>
              <a:gd name="connsiteX6" fmla="*/ 516660 w 6741428"/>
              <a:gd name="connsiteY6" fmla="*/ 0 h 1506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41428" h="1506057">
                <a:moveTo>
                  <a:pt x="516660" y="0"/>
                </a:moveTo>
                <a:lnTo>
                  <a:pt x="3370714" y="688536"/>
                </a:lnTo>
                <a:lnTo>
                  <a:pt x="6224768" y="0"/>
                </a:lnTo>
                <a:lnTo>
                  <a:pt x="6741428" y="665372"/>
                </a:lnTo>
                <a:lnTo>
                  <a:pt x="3370714" y="1506057"/>
                </a:lnTo>
                <a:lnTo>
                  <a:pt x="0" y="665372"/>
                </a:lnTo>
                <a:lnTo>
                  <a:pt x="51666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Freeform: Shape 17">
            <a:extLst>
              <a:ext uri="{FF2B5EF4-FFF2-40B4-BE49-F238E27FC236}">
                <a16:creationId xmlns:a16="http://schemas.microsoft.com/office/drawing/2014/main" id="{4B03AEB0-48F1-BD63-5A31-4E2E3ADAB637}"/>
              </a:ext>
            </a:extLst>
          </p:cNvPr>
          <p:cNvSpPr/>
          <p:nvPr/>
        </p:nvSpPr>
        <p:spPr>
          <a:xfrm>
            <a:off x="3418804" y="3918815"/>
            <a:ext cx="5354392" cy="1322200"/>
          </a:xfrm>
          <a:custGeom>
            <a:avLst/>
            <a:gdLst>
              <a:gd name="connsiteX0" fmla="*/ 4817819 w 5354392"/>
              <a:gd name="connsiteY0" fmla="*/ 0 h 1322200"/>
              <a:gd name="connsiteX1" fmla="*/ 5354392 w 5354392"/>
              <a:gd name="connsiteY1" fmla="*/ 691015 h 1322200"/>
              <a:gd name="connsiteX2" fmla="*/ 2677196 w 5354392"/>
              <a:gd name="connsiteY2" fmla="*/ 1322200 h 1322200"/>
              <a:gd name="connsiteX3" fmla="*/ 0 w 5354392"/>
              <a:gd name="connsiteY3" fmla="*/ 691015 h 1322200"/>
              <a:gd name="connsiteX4" fmla="*/ 536573 w 5354392"/>
              <a:gd name="connsiteY4" fmla="*/ 0 h 1322200"/>
              <a:gd name="connsiteX5" fmla="*/ 2677196 w 5354392"/>
              <a:gd name="connsiteY5" fmla="*/ 504680 h 1322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54392" h="1322200">
                <a:moveTo>
                  <a:pt x="4817819" y="0"/>
                </a:moveTo>
                <a:lnTo>
                  <a:pt x="5354392" y="691015"/>
                </a:lnTo>
                <a:lnTo>
                  <a:pt x="2677196" y="1322200"/>
                </a:lnTo>
                <a:lnTo>
                  <a:pt x="0" y="691015"/>
                </a:lnTo>
                <a:lnTo>
                  <a:pt x="536573" y="0"/>
                </a:lnTo>
                <a:lnTo>
                  <a:pt x="2677196" y="50468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Freeform: Shape 18">
            <a:extLst>
              <a:ext uri="{FF2B5EF4-FFF2-40B4-BE49-F238E27FC236}">
                <a16:creationId xmlns:a16="http://schemas.microsoft.com/office/drawing/2014/main" id="{7FFAF881-562D-A115-38E6-1DBDB298D711}"/>
              </a:ext>
            </a:extLst>
          </p:cNvPr>
          <p:cNvSpPr/>
          <p:nvPr/>
        </p:nvSpPr>
        <p:spPr>
          <a:xfrm>
            <a:off x="4144740" y="3004231"/>
            <a:ext cx="3902523" cy="1155882"/>
          </a:xfrm>
          <a:custGeom>
            <a:avLst/>
            <a:gdLst>
              <a:gd name="connsiteX0" fmla="*/ 3382873 w 3902523"/>
              <a:gd name="connsiteY0" fmla="*/ 0 h 1155882"/>
              <a:gd name="connsiteX1" fmla="*/ 3902523 w 3902523"/>
              <a:gd name="connsiteY1" fmla="*/ 669221 h 1155882"/>
              <a:gd name="connsiteX2" fmla="*/ 1951261 w 3902523"/>
              <a:gd name="connsiteY2" fmla="*/ 1155882 h 1155882"/>
              <a:gd name="connsiteX3" fmla="*/ 0 w 3902523"/>
              <a:gd name="connsiteY3" fmla="*/ 669221 h 1155882"/>
              <a:gd name="connsiteX4" fmla="*/ 519649 w 3902523"/>
              <a:gd name="connsiteY4" fmla="*/ 0 h 1155882"/>
              <a:gd name="connsiteX5" fmla="*/ 1951261 w 3902523"/>
              <a:gd name="connsiteY5" fmla="*/ 330981 h 1155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02523" h="1155882">
                <a:moveTo>
                  <a:pt x="3382873" y="0"/>
                </a:moveTo>
                <a:lnTo>
                  <a:pt x="3902523" y="669221"/>
                </a:lnTo>
                <a:lnTo>
                  <a:pt x="1951261" y="1155882"/>
                </a:lnTo>
                <a:lnTo>
                  <a:pt x="0" y="669221"/>
                </a:lnTo>
                <a:lnTo>
                  <a:pt x="519649" y="0"/>
                </a:lnTo>
                <a:lnTo>
                  <a:pt x="1951261" y="330981"/>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Freeform: Shape 19">
            <a:extLst>
              <a:ext uri="{FF2B5EF4-FFF2-40B4-BE49-F238E27FC236}">
                <a16:creationId xmlns:a16="http://schemas.microsoft.com/office/drawing/2014/main" id="{D4AF48D8-D13B-A465-BE21-03A6BDDE6B8E}"/>
              </a:ext>
            </a:extLst>
          </p:cNvPr>
          <p:cNvSpPr/>
          <p:nvPr/>
        </p:nvSpPr>
        <p:spPr>
          <a:xfrm>
            <a:off x="5562130" y="1158884"/>
            <a:ext cx="1067740" cy="820687"/>
          </a:xfrm>
          <a:custGeom>
            <a:avLst/>
            <a:gdLst>
              <a:gd name="connsiteX0" fmla="*/ 533870 w 1067740"/>
              <a:gd name="connsiteY0" fmla="*/ 0 h 820687"/>
              <a:gd name="connsiteX1" fmla="*/ 1067740 w 1067740"/>
              <a:gd name="connsiteY1" fmla="*/ 687535 h 820687"/>
              <a:gd name="connsiteX2" fmla="*/ 533870 w 1067740"/>
              <a:gd name="connsiteY2" fmla="*/ 820687 h 820687"/>
              <a:gd name="connsiteX3" fmla="*/ 0 w 1067740"/>
              <a:gd name="connsiteY3" fmla="*/ 687535 h 820687"/>
            </a:gdLst>
            <a:ahLst/>
            <a:cxnLst>
              <a:cxn ang="0">
                <a:pos x="connsiteX0" y="connsiteY0"/>
              </a:cxn>
              <a:cxn ang="0">
                <a:pos x="connsiteX1" y="connsiteY1"/>
              </a:cxn>
              <a:cxn ang="0">
                <a:pos x="connsiteX2" y="connsiteY2"/>
              </a:cxn>
              <a:cxn ang="0">
                <a:pos x="connsiteX3" y="connsiteY3"/>
              </a:cxn>
            </a:cxnLst>
            <a:rect l="l" t="t" r="r" b="b"/>
            <a:pathLst>
              <a:path w="1067740" h="820687">
                <a:moveTo>
                  <a:pt x="533870" y="0"/>
                </a:moveTo>
                <a:lnTo>
                  <a:pt x="1067740" y="687535"/>
                </a:lnTo>
                <a:lnTo>
                  <a:pt x="533870" y="820687"/>
                </a:lnTo>
                <a:lnTo>
                  <a:pt x="0" y="687535"/>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reeform: Shape 20">
            <a:extLst>
              <a:ext uri="{FF2B5EF4-FFF2-40B4-BE49-F238E27FC236}">
                <a16:creationId xmlns:a16="http://schemas.microsoft.com/office/drawing/2014/main" id="{29FECBE8-CDB0-1D41-9C49-9D982E1C7F46}"/>
              </a:ext>
            </a:extLst>
          </p:cNvPr>
          <p:cNvSpPr/>
          <p:nvPr/>
        </p:nvSpPr>
        <p:spPr>
          <a:xfrm>
            <a:off x="4855923" y="2074179"/>
            <a:ext cx="2480154" cy="994168"/>
          </a:xfrm>
          <a:custGeom>
            <a:avLst/>
            <a:gdLst>
              <a:gd name="connsiteX0" fmla="*/ 1948344 w 2480154"/>
              <a:gd name="connsiteY0" fmla="*/ 0 h 994168"/>
              <a:gd name="connsiteX1" fmla="*/ 2480154 w 2480154"/>
              <a:gd name="connsiteY1" fmla="*/ 684882 h 994168"/>
              <a:gd name="connsiteX2" fmla="*/ 1240077 w 2480154"/>
              <a:gd name="connsiteY2" fmla="*/ 994168 h 994168"/>
              <a:gd name="connsiteX3" fmla="*/ 0 w 2480154"/>
              <a:gd name="connsiteY3" fmla="*/ 684882 h 994168"/>
              <a:gd name="connsiteX4" fmla="*/ 531810 w 2480154"/>
              <a:gd name="connsiteY4" fmla="*/ 0 h 994168"/>
              <a:gd name="connsiteX5" fmla="*/ 1240077 w 2480154"/>
              <a:gd name="connsiteY5" fmla="*/ 176648 h 994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0154" h="994168">
                <a:moveTo>
                  <a:pt x="1948344" y="0"/>
                </a:moveTo>
                <a:lnTo>
                  <a:pt x="2480154" y="684882"/>
                </a:lnTo>
                <a:lnTo>
                  <a:pt x="1240077" y="994168"/>
                </a:lnTo>
                <a:lnTo>
                  <a:pt x="0" y="684882"/>
                </a:lnTo>
                <a:lnTo>
                  <a:pt x="531810" y="0"/>
                </a:lnTo>
                <a:lnTo>
                  <a:pt x="1240077" y="176648"/>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reeform: Shape 21">
            <a:extLst>
              <a:ext uri="{FF2B5EF4-FFF2-40B4-BE49-F238E27FC236}">
                <a16:creationId xmlns:a16="http://schemas.microsoft.com/office/drawing/2014/main" id="{8945833A-519B-61AB-5079-84AD7778260D}"/>
              </a:ext>
            </a:extLst>
          </p:cNvPr>
          <p:cNvSpPr/>
          <p:nvPr/>
        </p:nvSpPr>
        <p:spPr>
          <a:xfrm>
            <a:off x="6096000" y="1158884"/>
            <a:ext cx="533870" cy="820687"/>
          </a:xfrm>
          <a:custGeom>
            <a:avLst/>
            <a:gdLst>
              <a:gd name="connsiteX0" fmla="*/ 0 w 533870"/>
              <a:gd name="connsiteY0" fmla="*/ 0 h 820687"/>
              <a:gd name="connsiteX1" fmla="*/ 533870 w 533870"/>
              <a:gd name="connsiteY1" fmla="*/ 687535 h 820687"/>
              <a:gd name="connsiteX2" fmla="*/ 0 w 533870"/>
              <a:gd name="connsiteY2" fmla="*/ 820687 h 820687"/>
              <a:gd name="connsiteX3" fmla="*/ 0 w 533870"/>
              <a:gd name="connsiteY3" fmla="*/ 0 h 820687"/>
            </a:gdLst>
            <a:ahLst/>
            <a:cxnLst>
              <a:cxn ang="0">
                <a:pos x="connsiteX0" y="connsiteY0"/>
              </a:cxn>
              <a:cxn ang="0">
                <a:pos x="connsiteX1" y="connsiteY1"/>
              </a:cxn>
              <a:cxn ang="0">
                <a:pos x="connsiteX2" y="connsiteY2"/>
              </a:cxn>
              <a:cxn ang="0">
                <a:pos x="connsiteX3" y="connsiteY3"/>
              </a:cxn>
            </a:cxnLst>
            <a:rect l="l" t="t" r="r" b="b"/>
            <a:pathLst>
              <a:path w="533870" h="820687">
                <a:moveTo>
                  <a:pt x="0" y="0"/>
                </a:moveTo>
                <a:lnTo>
                  <a:pt x="533870" y="687535"/>
                </a:lnTo>
                <a:lnTo>
                  <a:pt x="0" y="820687"/>
                </a:lnTo>
                <a:lnTo>
                  <a:pt x="0" y="0"/>
                </a:lnTo>
                <a:close/>
              </a:path>
            </a:pathLst>
          </a:cu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Freeform: Shape 22">
            <a:extLst>
              <a:ext uri="{FF2B5EF4-FFF2-40B4-BE49-F238E27FC236}">
                <a16:creationId xmlns:a16="http://schemas.microsoft.com/office/drawing/2014/main" id="{BC281C98-09A2-F7E3-E18E-359CD09147F7}"/>
              </a:ext>
            </a:extLst>
          </p:cNvPr>
          <p:cNvSpPr/>
          <p:nvPr/>
        </p:nvSpPr>
        <p:spPr>
          <a:xfrm>
            <a:off x="6096001" y="2074179"/>
            <a:ext cx="1240077" cy="994168"/>
          </a:xfrm>
          <a:custGeom>
            <a:avLst/>
            <a:gdLst>
              <a:gd name="connsiteX0" fmla="*/ 708267 w 1240077"/>
              <a:gd name="connsiteY0" fmla="*/ 0 h 994168"/>
              <a:gd name="connsiteX1" fmla="*/ 1240077 w 1240077"/>
              <a:gd name="connsiteY1" fmla="*/ 684882 h 994168"/>
              <a:gd name="connsiteX2" fmla="*/ 0 w 1240077"/>
              <a:gd name="connsiteY2" fmla="*/ 994168 h 994168"/>
              <a:gd name="connsiteX3" fmla="*/ 0 w 1240077"/>
              <a:gd name="connsiteY3" fmla="*/ 176648 h 994168"/>
              <a:gd name="connsiteX4" fmla="*/ 708267 w 1240077"/>
              <a:gd name="connsiteY4" fmla="*/ 0 h 994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0077" h="994168">
                <a:moveTo>
                  <a:pt x="708267" y="0"/>
                </a:moveTo>
                <a:lnTo>
                  <a:pt x="1240077" y="684882"/>
                </a:lnTo>
                <a:lnTo>
                  <a:pt x="0" y="994168"/>
                </a:lnTo>
                <a:lnTo>
                  <a:pt x="0" y="176648"/>
                </a:lnTo>
                <a:lnTo>
                  <a:pt x="708267" y="0"/>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7" name="Freeform: Shape 23">
            <a:extLst>
              <a:ext uri="{FF2B5EF4-FFF2-40B4-BE49-F238E27FC236}">
                <a16:creationId xmlns:a16="http://schemas.microsoft.com/office/drawing/2014/main" id="{39908663-5CE1-E501-09B6-A93749AFA874}"/>
              </a:ext>
            </a:extLst>
          </p:cNvPr>
          <p:cNvSpPr/>
          <p:nvPr/>
        </p:nvSpPr>
        <p:spPr>
          <a:xfrm>
            <a:off x="6096001" y="3004231"/>
            <a:ext cx="1951263" cy="1155882"/>
          </a:xfrm>
          <a:custGeom>
            <a:avLst/>
            <a:gdLst>
              <a:gd name="connsiteX0" fmla="*/ 1431613 w 1951263"/>
              <a:gd name="connsiteY0" fmla="*/ 0 h 1155882"/>
              <a:gd name="connsiteX1" fmla="*/ 1951263 w 1951263"/>
              <a:gd name="connsiteY1" fmla="*/ 669221 h 1155882"/>
              <a:gd name="connsiteX2" fmla="*/ 1 w 1951263"/>
              <a:gd name="connsiteY2" fmla="*/ 1155882 h 1155882"/>
              <a:gd name="connsiteX3" fmla="*/ 0 w 1951263"/>
              <a:gd name="connsiteY3" fmla="*/ 1155882 h 1155882"/>
              <a:gd name="connsiteX4" fmla="*/ 0 w 1951263"/>
              <a:gd name="connsiteY4" fmla="*/ 330981 h 1155882"/>
              <a:gd name="connsiteX5" fmla="*/ 1 w 1951263"/>
              <a:gd name="connsiteY5" fmla="*/ 330981 h 1155882"/>
              <a:gd name="connsiteX6" fmla="*/ 1431613 w 1951263"/>
              <a:gd name="connsiteY6" fmla="*/ 0 h 1155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1263" h="1155882">
                <a:moveTo>
                  <a:pt x="1431613" y="0"/>
                </a:moveTo>
                <a:lnTo>
                  <a:pt x="1951263" y="669221"/>
                </a:lnTo>
                <a:lnTo>
                  <a:pt x="1" y="1155882"/>
                </a:lnTo>
                <a:lnTo>
                  <a:pt x="0" y="1155882"/>
                </a:lnTo>
                <a:lnTo>
                  <a:pt x="0" y="330981"/>
                </a:lnTo>
                <a:lnTo>
                  <a:pt x="1" y="330981"/>
                </a:lnTo>
                <a:lnTo>
                  <a:pt x="1431613" y="0"/>
                </a:lnTo>
                <a:close/>
              </a:path>
            </a:pathLst>
          </a:cu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8" name="Freeform: Shape 24">
            <a:extLst>
              <a:ext uri="{FF2B5EF4-FFF2-40B4-BE49-F238E27FC236}">
                <a16:creationId xmlns:a16="http://schemas.microsoft.com/office/drawing/2014/main" id="{9DCC7955-A2EB-4F56-234F-C1529E82C83B}"/>
              </a:ext>
            </a:extLst>
          </p:cNvPr>
          <p:cNvSpPr/>
          <p:nvPr/>
        </p:nvSpPr>
        <p:spPr>
          <a:xfrm>
            <a:off x="6096000" y="3918815"/>
            <a:ext cx="2677196" cy="1322200"/>
          </a:xfrm>
          <a:custGeom>
            <a:avLst/>
            <a:gdLst>
              <a:gd name="connsiteX0" fmla="*/ 2140623 w 2677196"/>
              <a:gd name="connsiteY0" fmla="*/ 0 h 1322200"/>
              <a:gd name="connsiteX1" fmla="*/ 2677196 w 2677196"/>
              <a:gd name="connsiteY1" fmla="*/ 691015 h 1322200"/>
              <a:gd name="connsiteX2" fmla="*/ 0 w 2677196"/>
              <a:gd name="connsiteY2" fmla="*/ 1322200 h 1322200"/>
              <a:gd name="connsiteX3" fmla="*/ 0 w 2677196"/>
              <a:gd name="connsiteY3" fmla="*/ 504680 h 1322200"/>
              <a:gd name="connsiteX4" fmla="*/ 2140623 w 2677196"/>
              <a:gd name="connsiteY4" fmla="*/ 0 h 1322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7196" h="1322200">
                <a:moveTo>
                  <a:pt x="2140623" y="0"/>
                </a:moveTo>
                <a:lnTo>
                  <a:pt x="2677196" y="691015"/>
                </a:lnTo>
                <a:lnTo>
                  <a:pt x="0" y="1322200"/>
                </a:lnTo>
                <a:lnTo>
                  <a:pt x="0" y="504680"/>
                </a:lnTo>
                <a:lnTo>
                  <a:pt x="2140623" y="0"/>
                </a:lnTo>
                <a:close/>
              </a:path>
            </a:pathLst>
          </a:cu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9" name="Freeform: Shape 25">
            <a:extLst>
              <a:ext uri="{FF2B5EF4-FFF2-40B4-BE49-F238E27FC236}">
                <a16:creationId xmlns:a16="http://schemas.microsoft.com/office/drawing/2014/main" id="{9231F93A-B0EF-56E8-EA60-2D8F3463C980}"/>
              </a:ext>
            </a:extLst>
          </p:cNvPr>
          <p:cNvSpPr/>
          <p:nvPr/>
        </p:nvSpPr>
        <p:spPr>
          <a:xfrm>
            <a:off x="6096000" y="4837594"/>
            <a:ext cx="3370714" cy="1506057"/>
          </a:xfrm>
          <a:custGeom>
            <a:avLst/>
            <a:gdLst>
              <a:gd name="connsiteX0" fmla="*/ 2854054 w 3370714"/>
              <a:gd name="connsiteY0" fmla="*/ 0 h 1506057"/>
              <a:gd name="connsiteX1" fmla="*/ 3370714 w 3370714"/>
              <a:gd name="connsiteY1" fmla="*/ 665372 h 1506057"/>
              <a:gd name="connsiteX2" fmla="*/ 0 w 3370714"/>
              <a:gd name="connsiteY2" fmla="*/ 1506057 h 1506057"/>
              <a:gd name="connsiteX3" fmla="*/ 0 w 3370714"/>
              <a:gd name="connsiteY3" fmla="*/ 688536 h 1506057"/>
              <a:gd name="connsiteX4" fmla="*/ 2854054 w 3370714"/>
              <a:gd name="connsiteY4" fmla="*/ 0 h 15060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70714" h="1506057">
                <a:moveTo>
                  <a:pt x="2854054" y="0"/>
                </a:moveTo>
                <a:lnTo>
                  <a:pt x="3370714" y="665372"/>
                </a:lnTo>
                <a:lnTo>
                  <a:pt x="0" y="1506057"/>
                </a:lnTo>
                <a:lnTo>
                  <a:pt x="0" y="688536"/>
                </a:lnTo>
                <a:lnTo>
                  <a:pt x="2854054"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nvGrpSpPr>
          <p:cNvPr id="20" name="Group 19">
            <a:extLst>
              <a:ext uri="{FF2B5EF4-FFF2-40B4-BE49-F238E27FC236}">
                <a16:creationId xmlns:a16="http://schemas.microsoft.com/office/drawing/2014/main" id="{A91C3D75-28D4-9E52-C2E0-E08C34E35B77}"/>
              </a:ext>
            </a:extLst>
          </p:cNvPr>
          <p:cNvGrpSpPr/>
          <p:nvPr/>
        </p:nvGrpSpPr>
        <p:grpSpPr>
          <a:xfrm>
            <a:off x="9085583" y="4082363"/>
            <a:ext cx="3041698" cy="1851528"/>
            <a:chOff x="8921977" y="1479002"/>
            <a:chExt cx="2898294" cy="470924"/>
          </a:xfrm>
        </p:grpSpPr>
        <p:sp>
          <p:nvSpPr>
            <p:cNvPr id="21" name="TextBox 20">
              <a:extLst>
                <a:ext uri="{FF2B5EF4-FFF2-40B4-BE49-F238E27FC236}">
                  <a16:creationId xmlns:a16="http://schemas.microsoft.com/office/drawing/2014/main" id="{D72E3240-BCF3-8267-09C1-3372F32F60BF}"/>
                </a:ext>
              </a:extLst>
            </p:cNvPr>
            <p:cNvSpPr txBox="1"/>
            <p:nvPr/>
          </p:nvSpPr>
          <p:spPr>
            <a:xfrm>
              <a:off x="8921977" y="1479002"/>
              <a:ext cx="2788127" cy="78281"/>
            </a:xfrm>
            <a:prstGeom prst="rect">
              <a:avLst/>
            </a:prstGeom>
            <a:solidFill>
              <a:schemeClr val="accent4">
                <a:lumMod val="60000"/>
                <a:lumOff val="40000"/>
                <a:alpha val="20000"/>
              </a:schemeClr>
            </a:solidFill>
          </p:spPr>
          <p:txBody>
            <a:bodyPr wrap="square" lIns="0" rIns="91440" rtlCol="0" anchor="b">
              <a:spAutoFit/>
            </a:bodyPr>
            <a:lstStyle/>
            <a:p>
              <a:pPr algn="r"/>
              <a:r>
                <a:rPr lang="en-US" sz="1400" b="1" noProof="1">
                  <a:solidFill>
                    <a:schemeClr val="accent4">
                      <a:lumMod val="75000"/>
                    </a:schemeClr>
                  </a:solidFill>
                </a:rPr>
                <a:t>Level 2 – Intelligent Automation</a:t>
              </a:r>
            </a:p>
          </p:txBody>
        </p:sp>
        <p:sp>
          <p:nvSpPr>
            <p:cNvPr id="22" name="TextBox 21">
              <a:extLst>
                <a:ext uri="{FF2B5EF4-FFF2-40B4-BE49-F238E27FC236}">
                  <a16:creationId xmlns:a16="http://schemas.microsoft.com/office/drawing/2014/main" id="{97C70D6E-6F78-2FA0-90D6-B005102F05B6}"/>
                </a:ext>
              </a:extLst>
            </p:cNvPr>
            <p:cNvSpPr txBox="1"/>
            <p:nvPr/>
          </p:nvSpPr>
          <p:spPr>
            <a:xfrm>
              <a:off x="9413485" y="1582006"/>
              <a:ext cx="2406786" cy="367920"/>
            </a:xfrm>
            <a:prstGeom prst="rect">
              <a:avLst/>
            </a:prstGeom>
            <a:noFill/>
          </p:spPr>
          <p:txBody>
            <a:bodyPr wrap="square" lIns="0" rIns="0" rtlCol="0" anchor="t">
              <a:spAutoFit/>
            </a:bodyPr>
            <a:lstStyle/>
            <a:p>
              <a:pPr>
                <a:spcAft>
                  <a:spcPts val="1200"/>
                </a:spcAft>
              </a:pPr>
              <a:r>
                <a:rPr lang="en-US" sz="1100" noProof="1"/>
                <a:t>These agents use machine learning, NLP, and computer vision to process unstructured data, make basic predictions, and automate end-to-end processes. While more capable than Level 1, they still rely on human supervision and function within rigid parameters.</a:t>
              </a:r>
            </a:p>
          </p:txBody>
        </p:sp>
      </p:grpSp>
      <p:grpSp>
        <p:nvGrpSpPr>
          <p:cNvPr id="23" name="Group 22">
            <a:extLst>
              <a:ext uri="{FF2B5EF4-FFF2-40B4-BE49-F238E27FC236}">
                <a16:creationId xmlns:a16="http://schemas.microsoft.com/office/drawing/2014/main" id="{4182D278-47F8-37A0-56A0-BE5369EA5F47}"/>
              </a:ext>
            </a:extLst>
          </p:cNvPr>
          <p:cNvGrpSpPr/>
          <p:nvPr/>
        </p:nvGrpSpPr>
        <p:grpSpPr>
          <a:xfrm>
            <a:off x="179410" y="1241457"/>
            <a:ext cx="4534566" cy="1342520"/>
            <a:chOff x="8921977" y="1440847"/>
            <a:chExt cx="4320779" cy="341463"/>
          </a:xfrm>
        </p:grpSpPr>
        <p:sp>
          <p:nvSpPr>
            <p:cNvPr id="24" name="TextBox 23">
              <a:extLst>
                <a:ext uri="{FF2B5EF4-FFF2-40B4-BE49-F238E27FC236}">
                  <a16:creationId xmlns:a16="http://schemas.microsoft.com/office/drawing/2014/main" id="{7B603914-D5D2-C292-5AF7-DC4B45CD3861}"/>
                </a:ext>
              </a:extLst>
            </p:cNvPr>
            <p:cNvSpPr txBox="1"/>
            <p:nvPr/>
          </p:nvSpPr>
          <p:spPr>
            <a:xfrm>
              <a:off x="8921977" y="1440847"/>
              <a:ext cx="2788127" cy="133078"/>
            </a:xfrm>
            <a:prstGeom prst="rect">
              <a:avLst/>
            </a:prstGeom>
            <a:solidFill>
              <a:schemeClr val="accent5">
                <a:alpha val="20000"/>
              </a:schemeClr>
            </a:solidFill>
          </p:spPr>
          <p:txBody>
            <a:bodyPr wrap="square" lIns="91440" rIns="0" rtlCol="0" anchor="b">
              <a:spAutoFit/>
            </a:bodyPr>
            <a:lstStyle/>
            <a:p>
              <a:r>
                <a:rPr lang="en-US" sz="1400" b="1" noProof="1">
                  <a:solidFill>
                    <a:schemeClr val="accent5">
                      <a:lumMod val="75000"/>
                    </a:schemeClr>
                  </a:solidFill>
                </a:rPr>
                <a:t>Level 5 – Fully Autonomous Systems</a:t>
              </a:r>
            </a:p>
          </p:txBody>
        </p:sp>
        <p:sp>
          <p:nvSpPr>
            <p:cNvPr id="25" name="TextBox 24">
              <a:extLst>
                <a:ext uri="{FF2B5EF4-FFF2-40B4-BE49-F238E27FC236}">
                  <a16:creationId xmlns:a16="http://schemas.microsoft.com/office/drawing/2014/main" id="{99C503F9-7792-6A7B-0D6C-367F10CD9098}"/>
                </a:ext>
              </a:extLst>
            </p:cNvPr>
            <p:cNvSpPr txBox="1"/>
            <p:nvPr/>
          </p:nvSpPr>
          <p:spPr>
            <a:xfrm>
              <a:off x="8921977" y="1586607"/>
              <a:ext cx="4320779" cy="195703"/>
            </a:xfrm>
            <a:prstGeom prst="rect">
              <a:avLst/>
            </a:prstGeom>
            <a:noFill/>
          </p:spPr>
          <p:txBody>
            <a:bodyPr wrap="square" lIns="0" rIns="0" rtlCol="0" anchor="t">
              <a:spAutoFit/>
            </a:bodyPr>
            <a:lstStyle/>
            <a:p>
              <a:pPr algn="just">
                <a:spcAft>
                  <a:spcPts val="1200"/>
                </a:spcAft>
              </a:pPr>
              <a:r>
                <a:rPr lang="en-US" sz="1100" noProof="1"/>
                <a:t>These hypothetical agents can understand any goal, develop strategies, learn from experience, and adapt across domains without human input. They represent general AI, capable of seamless integration with other systems and independently making complex, value-aligned decisions.</a:t>
              </a:r>
            </a:p>
          </p:txBody>
        </p:sp>
      </p:grpSp>
      <p:grpSp>
        <p:nvGrpSpPr>
          <p:cNvPr id="26" name="Group 25">
            <a:extLst>
              <a:ext uri="{FF2B5EF4-FFF2-40B4-BE49-F238E27FC236}">
                <a16:creationId xmlns:a16="http://schemas.microsoft.com/office/drawing/2014/main" id="{E5F2B393-8F29-539B-657A-ECD1DC6A9F69}"/>
              </a:ext>
            </a:extLst>
          </p:cNvPr>
          <p:cNvGrpSpPr/>
          <p:nvPr/>
        </p:nvGrpSpPr>
        <p:grpSpPr>
          <a:xfrm>
            <a:off x="179411" y="5068461"/>
            <a:ext cx="2926080" cy="1462948"/>
            <a:chOff x="8921977" y="1453272"/>
            <a:chExt cx="2788127" cy="372093"/>
          </a:xfrm>
        </p:grpSpPr>
        <p:sp>
          <p:nvSpPr>
            <p:cNvPr id="27" name="TextBox 26">
              <a:extLst>
                <a:ext uri="{FF2B5EF4-FFF2-40B4-BE49-F238E27FC236}">
                  <a16:creationId xmlns:a16="http://schemas.microsoft.com/office/drawing/2014/main" id="{D7D97152-DC04-6B7D-BD3A-E427D2E6AFB4}"/>
                </a:ext>
              </a:extLst>
            </p:cNvPr>
            <p:cNvSpPr txBox="1"/>
            <p:nvPr/>
          </p:nvSpPr>
          <p:spPr>
            <a:xfrm>
              <a:off x="8921977" y="1453272"/>
              <a:ext cx="2405989" cy="133078"/>
            </a:xfrm>
            <a:prstGeom prst="rect">
              <a:avLst/>
            </a:prstGeom>
            <a:solidFill>
              <a:srgbClr val="004B3C">
                <a:alpha val="20000"/>
              </a:srgbClr>
            </a:solidFill>
          </p:spPr>
          <p:txBody>
            <a:bodyPr wrap="square" lIns="91440" rIns="0" rtlCol="0" anchor="b">
              <a:spAutoFit/>
            </a:bodyPr>
            <a:lstStyle/>
            <a:p>
              <a:r>
                <a:rPr lang="en-US" sz="1400" b="1" noProof="1">
                  <a:solidFill>
                    <a:schemeClr val="accent1">
                      <a:lumMod val="75000"/>
                    </a:schemeClr>
                  </a:solidFill>
                </a:rPr>
                <a:t>Level 1 – Rule Based Automation</a:t>
              </a:r>
            </a:p>
          </p:txBody>
        </p:sp>
        <p:sp>
          <p:nvSpPr>
            <p:cNvPr id="28" name="TextBox 27">
              <a:extLst>
                <a:ext uri="{FF2B5EF4-FFF2-40B4-BE49-F238E27FC236}">
                  <a16:creationId xmlns:a16="http://schemas.microsoft.com/office/drawing/2014/main" id="{A1F3A32D-C41E-0620-BAE5-3E9C28248F04}"/>
                </a:ext>
              </a:extLst>
            </p:cNvPr>
            <p:cNvSpPr txBox="1"/>
            <p:nvPr/>
          </p:nvSpPr>
          <p:spPr>
            <a:xfrm>
              <a:off x="8921977" y="1586607"/>
              <a:ext cx="2788127" cy="238758"/>
            </a:xfrm>
            <a:prstGeom prst="rect">
              <a:avLst/>
            </a:prstGeom>
            <a:noFill/>
          </p:spPr>
          <p:txBody>
            <a:bodyPr wrap="square" lIns="0" rIns="0" rtlCol="0" anchor="t">
              <a:spAutoFit/>
            </a:bodyPr>
            <a:lstStyle/>
            <a:p>
              <a:pPr algn="just">
                <a:spcAft>
                  <a:spcPts val="1200"/>
                </a:spcAft>
              </a:pPr>
              <a:r>
                <a:rPr lang="en-US" sz="1100"/>
                <a:t>These agents follow fixed rules and workflows to handle repetitive tasks like data entry or form processing, similar to cruise control in a car. They lack adaptability or intelligence and require full human oversight.</a:t>
              </a:r>
              <a:endParaRPr lang="en-US" sz="900" noProof="1">
                <a:solidFill>
                  <a:schemeClr val="tx1">
                    <a:lumMod val="65000"/>
                    <a:lumOff val="35000"/>
                  </a:schemeClr>
                </a:solidFill>
              </a:endParaRPr>
            </a:p>
          </p:txBody>
        </p:sp>
      </p:grpSp>
      <p:grpSp>
        <p:nvGrpSpPr>
          <p:cNvPr id="29" name="Group 28">
            <a:extLst>
              <a:ext uri="{FF2B5EF4-FFF2-40B4-BE49-F238E27FC236}">
                <a16:creationId xmlns:a16="http://schemas.microsoft.com/office/drawing/2014/main" id="{8CBE5935-7E5F-1A26-76AF-4B5504CAC693}"/>
              </a:ext>
            </a:extLst>
          </p:cNvPr>
          <p:cNvGrpSpPr/>
          <p:nvPr/>
        </p:nvGrpSpPr>
        <p:grpSpPr>
          <a:xfrm>
            <a:off x="8038855" y="2043204"/>
            <a:ext cx="3940088" cy="1462934"/>
            <a:chOff x="7955775" y="1453275"/>
            <a:chExt cx="3754329" cy="372090"/>
          </a:xfrm>
        </p:grpSpPr>
        <p:sp>
          <p:nvSpPr>
            <p:cNvPr id="30" name="TextBox 29">
              <a:extLst>
                <a:ext uri="{FF2B5EF4-FFF2-40B4-BE49-F238E27FC236}">
                  <a16:creationId xmlns:a16="http://schemas.microsoft.com/office/drawing/2014/main" id="{BCACC573-50A8-BE43-4369-E42BAE62C191}"/>
                </a:ext>
              </a:extLst>
            </p:cNvPr>
            <p:cNvSpPr txBox="1"/>
            <p:nvPr/>
          </p:nvSpPr>
          <p:spPr>
            <a:xfrm>
              <a:off x="8921977" y="1453275"/>
              <a:ext cx="2788127" cy="133078"/>
            </a:xfrm>
            <a:prstGeom prst="rect">
              <a:avLst/>
            </a:prstGeom>
            <a:solidFill>
              <a:schemeClr val="accent3">
                <a:lumMod val="90000"/>
                <a:alpha val="20000"/>
              </a:schemeClr>
            </a:solidFill>
          </p:spPr>
          <p:txBody>
            <a:bodyPr wrap="square" lIns="91440" rIns="0" rtlCol="0" anchor="b">
              <a:spAutoFit/>
            </a:bodyPr>
            <a:lstStyle/>
            <a:p>
              <a:r>
                <a:rPr lang="en-US" sz="1400" b="1" noProof="1">
                  <a:solidFill>
                    <a:schemeClr val="accent3">
                      <a:lumMod val="50000"/>
                    </a:schemeClr>
                  </a:solidFill>
                </a:rPr>
                <a:t>Level 4 – Semi Autonomous Agentic Systems</a:t>
              </a:r>
            </a:p>
          </p:txBody>
        </p:sp>
        <p:sp>
          <p:nvSpPr>
            <p:cNvPr id="31" name="TextBox 30">
              <a:extLst>
                <a:ext uri="{FF2B5EF4-FFF2-40B4-BE49-F238E27FC236}">
                  <a16:creationId xmlns:a16="http://schemas.microsoft.com/office/drawing/2014/main" id="{CFDF7327-656D-4280-258A-CB20841E97F7}"/>
                </a:ext>
              </a:extLst>
            </p:cNvPr>
            <p:cNvSpPr txBox="1"/>
            <p:nvPr/>
          </p:nvSpPr>
          <p:spPr>
            <a:xfrm>
              <a:off x="7955775" y="1586607"/>
              <a:ext cx="3754329" cy="238758"/>
            </a:xfrm>
            <a:prstGeom prst="rect">
              <a:avLst/>
            </a:prstGeom>
            <a:noFill/>
          </p:spPr>
          <p:txBody>
            <a:bodyPr wrap="square" lIns="0" rIns="0" rtlCol="0" anchor="t">
              <a:spAutoFit/>
            </a:bodyPr>
            <a:lstStyle/>
            <a:p>
              <a:pPr>
                <a:spcAft>
                  <a:spcPts val="1200"/>
                </a:spcAft>
              </a:pPr>
              <a:r>
                <a:rPr lang="en-US" sz="1100" noProof="1"/>
                <a:t>Comparable to self-driving cars in mapped areas, these agents can independently pursue goals, adapt strategies, and operate autonomously—though only within limited and defined domains. They manage workflows and adjust based on feedback but still require domain constraints.</a:t>
              </a:r>
            </a:p>
          </p:txBody>
        </p:sp>
      </p:grpSp>
      <p:grpSp>
        <p:nvGrpSpPr>
          <p:cNvPr id="32" name="Group 31">
            <a:extLst>
              <a:ext uri="{FF2B5EF4-FFF2-40B4-BE49-F238E27FC236}">
                <a16:creationId xmlns:a16="http://schemas.microsoft.com/office/drawing/2014/main" id="{866612DE-D509-0676-6125-F6B020EB7887}"/>
              </a:ext>
            </a:extLst>
          </p:cNvPr>
          <p:cNvGrpSpPr/>
          <p:nvPr/>
        </p:nvGrpSpPr>
        <p:grpSpPr>
          <a:xfrm>
            <a:off x="179504" y="3219592"/>
            <a:ext cx="3345473" cy="1416769"/>
            <a:chOff x="8921976" y="1508072"/>
            <a:chExt cx="3187747" cy="360348"/>
          </a:xfrm>
        </p:grpSpPr>
        <p:sp>
          <p:nvSpPr>
            <p:cNvPr id="33" name="TextBox 32">
              <a:extLst>
                <a:ext uri="{FF2B5EF4-FFF2-40B4-BE49-F238E27FC236}">
                  <a16:creationId xmlns:a16="http://schemas.microsoft.com/office/drawing/2014/main" id="{9D6588E0-8244-1DAD-1000-09C6C5C5B72E}"/>
                </a:ext>
              </a:extLst>
            </p:cNvPr>
            <p:cNvSpPr txBox="1"/>
            <p:nvPr/>
          </p:nvSpPr>
          <p:spPr>
            <a:xfrm>
              <a:off x="8921977" y="1508072"/>
              <a:ext cx="2788127" cy="78282"/>
            </a:xfrm>
            <a:prstGeom prst="rect">
              <a:avLst/>
            </a:prstGeom>
            <a:solidFill>
              <a:schemeClr val="accent6">
                <a:lumMod val="60000"/>
                <a:lumOff val="40000"/>
                <a:alpha val="20000"/>
              </a:schemeClr>
            </a:solidFill>
          </p:spPr>
          <p:txBody>
            <a:bodyPr wrap="square" lIns="91440" rIns="0" rtlCol="0" anchor="b">
              <a:spAutoFit/>
            </a:bodyPr>
            <a:lstStyle/>
            <a:p>
              <a:r>
                <a:rPr lang="en-US" sz="1400" b="1" noProof="1">
                  <a:solidFill>
                    <a:schemeClr val="accent6">
                      <a:lumMod val="75000"/>
                    </a:schemeClr>
                  </a:solidFill>
                </a:rPr>
                <a:t>Level 3 – Agentic Systems</a:t>
              </a:r>
            </a:p>
          </p:txBody>
        </p:sp>
        <p:sp>
          <p:nvSpPr>
            <p:cNvPr id="34" name="TextBox 33">
              <a:extLst>
                <a:ext uri="{FF2B5EF4-FFF2-40B4-BE49-F238E27FC236}">
                  <a16:creationId xmlns:a16="http://schemas.microsoft.com/office/drawing/2014/main" id="{7D572F1A-E1A6-1AAF-EB4E-838A3DA5FB4E}"/>
                </a:ext>
              </a:extLst>
            </p:cNvPr>
            <p:cNvSpPr txBox="1"/>
            <p:nvPr/>
          </p:nvSpPr>
          <p:spPr>
            <a:xfrm>
              <a:off x="8921976" y="1586607"/>
              <a:ext cx="3187747" cy="281813"/>
            </a:xfrm>
            <a:prstGeom prst="rect">
              <a:avLst/>
            </a:prstGeom>
            <a:noFill/>
          </p:spPr>
          <p:txBody>
            <a:bodyPr wrap="square" lIns="0" rIns="0" rtlCol="0" anchor="t">
              <a:spAutoFit/>
            </a:bodyPr>
            <a:lstStyle/>
            <a:p>
              <a:pPr algn="just">
                <a:spcAft>
                  <a:spcPts val="1200"/>
                </a:spcAft>
              </a:pPr>
              <a:r>
                <a:rPr lang="en-US" sz="1100" noProof="1"/>
                <a:t>These agents can plan, reason, and generate content across modalities, operating well within predefined boundaries but struggling with novel or complex situations. They use LLMs, memory, and reinforcement learning to perform tasks like customer support or financial analysis in digital domains.</a:t>
              </a:r>
            </a:p>
          </p:txBody>
        </p:sp>
      </p:grpSp>
      <p:sp>
        <p:nvSpPr>
          <p:cNvPr id="38" name="TextBox 37">
            <a:extLst>
              <a:ext uri="{FF2B5EF4-FFF2-40B4-BE49-F238E27FC236}">
                <a16:creationId xmlns:a16="http://schemas.microsoft.com/office/drawing/2014/main" id="{020DCDE4-C950-4CFD-0FB1-94387605E278}"/>
              </a:ext>
            </a:extLst>
          </p:cNvPr>
          <p:cNvSpPr txBox="1"/>
          <p:nvPr/>
        </p:nvSpPr>
        <p:spPr>
          <a:xfrm>
            <a:off x="3626716" y="6283988"/>
            <a:ext cx="5472438" cy="461665"/>
          </a:xfrm>
          <a:prstGeom prst="rect">
            <a:avLst/>
          </a:prstGeom>
          <a:noFill/>
        </p:spPr>
        <p:txBody>
          <a:bodyPr wrap="square" rtlCol="0">
            <a:spAutoFit/>
          </a:bodyPr>
          <a:lstStyle/>
          <a:p>
            <a:r>
              <a:rPr lang="en-US" sz="1200" i="1">
                <a:solidFill>
                  <a:srgbClr val="C00000"/>
                </a:solidFill>
              </a:rPr>
              <a:t>Most agents on the market operate at Level 2 or Level 3 with some specialized systems reaching level 4 in narrow domains.</a:t>
            </a:r>
          </a:p>
        </p:txBody>
      </p:sp>
      <p:sp>
        <p:nvSpPr>
          <p:cNvPr id="39" name="TextBox 38">
            <a:extLst>
              <a:ext uri="{FF2B5EF4-FFF2-40B4-BE49-F238E27FC236}">
                <a16:creationId xmlns:a16="http://schemas.microsoft.com/office/drawing/2014/main" id="{63FD72CE-6888-30B6-36A9-BEBDC79EC06A}"/>
              </a:ext>
            </a:extLst>
          </p:cNvPr>
          <p:cNvSpPr txBox="1"/>
          <p:nvPr/>
        </p:nvSpPr>
        <p:spPr>
          <a:xfrm>
            <a:off x="6362935" y="942777"/>
            <a:ext cx="5472438" cy="646331"/>
          </a:xfrm>
          <a:prstGeom prst="rect">
            <a:avLst/>
          </a:prstGeom>
          <a:noFill/>
        </p:spPr>
        <p:txBody>
          <a:bodyPr wrap="square" rtlCol="0">
            <a:spAutoFit/>
          </a:bodyPr>
          <a:lstStyle/>
          <a:p>
            <a:r>
              <a:rPr lang="en-US" sz="1200" i="1">
                <a:solidFill>
                  <a:srgbClr val="C00000"/>
                </a:solidFill>
              </a:rPr>
              <a:t>The goal isn’t about increasing automation, but developing systems that can increasingly understand, learn from experience, and make independent decision with alignment to human values and intentions.</a:t>
            </a:r>
          </a:p>
        </p:txBody>
      </p:sp>
    </p:spTree>
    <p:extLst>
      <p:ext uri="{BB962C8B-B14F-4D97-AF65-F5344CB8AC3E}">
        <p14:creationId xmlns:p14="http://schemas.microsoft.com/office/powerpoint/2010/main" val="1437142157"/>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EC0D99-ACAE-BF4C-C7DD-BF1064455C97}"/>
              </a:ext>
            </a:extLst>
          </p:cNvPr>
          <p:cNvSpPr>
            <a:spLocks noGrp="1"/>
          </p:cNvSpPr>
          <p:nvPr>
            <p:ph type="title"/>
          </p:nvPr>
        </p:nvSpPr>
        <p:spPr/>
        <p:txBody>
          <a:bodyPr/>
          <a:lstStyle/>
          <a:p>
            <a:r>
              <a:rPr lang="en-US"/>
              <a:t>Find the tool internal monologue in your code</a:t>
            </a:r>
          </a:p>
        </p:txBody>
      </p:sp>
      <p:sp>
        <p:nvSpPr>
          <p:cNvPr id="3" name="Text Placeholder 2">
            <a:extLst>
              <a:ext uri="{FF2B5EF4-FFF2-40B4-BE49-F238E27FC236}">
                <a16:creationId xmlns:a16="http://schemas.microsoft.com/office/drawing/2014/main" id="{08ACE64F-800F-7BCE-630E-FF7AD488B743}"/>
              </a:ext>
            </a:extLst>
          </p:cNvPr>
          <p:cNvSpPr>
            <a:spLocks noGrp="1"/>
          </p:cNvSpPr>
          <p:nvPr>
            <p:ph type="body" sz="quarter" idx="10"/>
          </p:nvPr>
        </p:nvSpPr>
        <p:spPr/>
        <p:txBody>
          <a:bodyPr/>
          <a:lstStyle/>
          <a:p>
            <a:r>
              <a:rPr lang="en-US"/>
              <a:t>Go to </a:t>
            </a:r>
            <a:r>
              <a:rPr lang="en-US" err="1"/>
              <a:t>getting_started.py</a:t>
            </a:r>
            <a:endParaRPr lang="en-US"/>
          </a:p>
          <a:p>
            <a:r>
              <a:rPr lang="en-US"/>
              <a:t>Run and examine the log.</a:t>
            </a:r>
          </a:p>
          <a:p>
            <a:r>
              <a:rPr lang="en-US"/>
              <a:t>Can you find the internal monologue?</a:t>
            </a:r>
            <a:br>
              <a:rPr lang="en-US"/>
            </a:br>
            <a:endParaRPr lang="en-US"/>
          </a:p>
          <a:p>
            <a:pPr marL="0" indent="0">
              <a:buNone/>
            </a:pPr>
            <a:r>
              <a:rPr lang="en-US"/>
              <a:t>Key Takeaway: This language foundation is what enables AI agents to be flexible and adaptable with tools that </a:t>
            </a:r>
          </a:p>
        </p:txBody>
      </p:sp>
    </p:spTree>
    <p:extLst>
      <p:ext uri="{BB962C8B-B14F-4D97-AF65-F5344CB8AC3E}">
        <p14:creationId xmlns:p14="http://schemas.microsoft.com/office/powerpoint/2010/main" val="158939405"/>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2A32A6-0436-8962-2FB6-C0FBDE2159D3}"/>
              </a:ext>
            </a:extLst>
          </p:cNvPr>
          <p:cNvSpPr>
            <a:spLocks noGrp="1"/>
          </p:cNvSpPr>
          <p:nvPr>
            <p:ph type="title"/>
          </p:nvPr>
        </p:nvSpPr>
        <p:spPr/>
        <p:txBody>
          <a:bodyPr/>
          <a:lstStyle/>
          <a:p>
            <a:r>
              <a:rPr lang="en-US"/>
              <a:t>Bridge Tooling</a:t>
            </a:r>
          </a:p>
        </p:txBody>
      </p:sp>
      <p:sp>
        <p:nvSpPr>
          <p:cNvPr id="3" name="Text Placeholder 2">
            <a:extLst>
              <a:ext uri="{FF2B5EF4-FFF2-40B4-BE49-F238E27FC236}">
                <a16:creationId xmlns:a16="http://schemas.microsoft.com/office/drawing/2014/main" id="{79513B0D-D86F-D796-7ACE-7E4928B77938}"/>
              </a:ext>
            </a:extLst>
          </p:cNvPr>
          <p:cNvSpPr>
            <a:spLocks noGrp="1"/>
          </p:cNvSpPr>
          <p:nvPr>
            <p:ph type="body" sz="quarter" idx="10"/>
          </p:nvPr>
        </p:nvSpPr>
        <p:spPr/>
        <p:txBody>
          <a:bodyPr/>
          <a:lstStyle/>
          <a:p>
            <a:r>
              <a:rPr lang="en-US"/>
              <a:t>How can a system trained primarily on text, a figurative pattern matter for language, control tools and execute real world action?</a:t>
            </a:r>
          </a:p>
          <a:p>
            <a:r>
              <a:rPr lang="en-US"/>
              <a:t>There is an implicit understanding of the action space that is around a particular act.</a:t>
            </a:r>
          </a:p>
          <a:p>
            <a:pPr lvl="1"/>
            <a:r>
              <a:rPr lang="en-US"/>
              <a:t>Example: Write a hello world function and run it.</a:t>
            </a:r>
          </a:p>
          <a:p>
            <a:pPr lvl="2"/>
            <a:r>
              <a:rPr lang="en-US"/>
              <a:t>First I need to open an editor.</a:t>
            </a:r>
          </a:p>
          <a:p>
            <a:pPr lvl="2"/>
            <a:r>
              <a:rPr lang="en-US"/>
              <a:t>Then I need to write my hello world function</a:t>
            </a:r>
          </a:p>
          <a:p>
            <a:pPr lvl="2"/>
            <a:r>
              <a:rPr lang="en-US"/>
              <a:t>Save the file.</a:t>
            </a:r>
          </a:p>
          <a:p>
            <a:pPr lvl="2"/>
            <a:r>
              <a:rPr lang="en-US"/>
              <a:t>Use python command line to run the file. (this is the magical step)</a:t>
            </a:r>
          </a:p>
          <a:p>
            <a:pPr lvl="2"/>
            <a:r>
              <a:rPr lang="en-US"/>
              <a:t>Success</a:t>
            </a:r>
          </a:p>
          <a:p>
            <a:r>
              <a:rPr lang="en-US"/>
              <a:t>The breakthrough occurred when researchers found models could actually manage real tool operation.</a:t>
            </a:r>
          </a:p>
          <a:p>
            <a:r>
              <a:rPr lang="en-US" b="1" i="1" u="sng"/>
              <a:t>The coolest part? The model was never explicitly trained to use tools!</a:t>
            </a:r>
          </a:p>
        </p:txBody>
      </p:sp>
      <p:sp>
        <p:nvSpPr>
          <p:cNvPr id="4" name="TextBox 3">
            <a:extLst>
              <a:ext uri="{FF2B5EF4-FFF2-40B4-BE49-F238E27FC236}">
                <a16:creationId xmlns:a16="http://schemas.microsoft.com/office/drawing/2014/main" id="{AFB6E7A0-2DDF-FE94-AE62-A71152BF3360}"/>
              </a:ext>
            </a:extLst>
          </p:cNvPr>
          <p:cNvSpPr txBox="1"/>
          <p:nvPr/>
        </p:nvSpPr>
        <p:spPr>
          <a:xfrm>
            <a:off x="384048" y="6289286"/>
            <a:ext cx="3412024" cy="369332"/>
          </a:xfrm>
          <a:prstGeom prst="rect">
            <a:avLst/>
          </a:prstGeom>
          <a:noFill/>
        </p:spPr>
        <p:txBody>
          <a:bodyPr wrap="none" rtlCol="0">
            <a:spAutoFit/>
          </a:bodyPr>
          <a:lstStyle/>
          <a:p>
            <a:r>
              <a:rPr lang="en-US"/>
              <a:t>https://</a:t>
            </a:r>
            <a:r>
              <a:rPr lang="en-US" err="1"/>
              <a:t>arxiv.org</a:t>
            </a:r>
            <a:r>
              <a:rPr lang="en-US"/>
              <a:t>/pdf/2302.04761</a:t>
            </a:r>
          </a:p>
        </p:txBody>
      </p:sp>
    </p:spTree>
    <p:extLst>
      <p:ext uri="{BB962C8B-B14F-4D97-AF65-F5344CB8AC3E}">
        <p14:creationId xmlns:p14="http://schemas.microsoft.com/office/powerpoint/2010/main" val="2145421352"/>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29765065-A88A-186B-3EE2-9BD4D4D8B92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F098E7F-44E4-5FD8-298F-C8492C564B1C}"/>
              </a:ext>
            </a:extLst>
          </p:cNvPr>
          <p:cNvSpPr>
            <a:spLocks noGrp="1"/>
          </p:cNvSpPr>
          <p:nvPr>
            <p:ph type="title"/>
          </p:nvPr>
        </p:nvSpPr>
        <p:spPr/>
        <p:txBody>
          <a:bodyPr/>
          <a:lstStyle/>
          <a:p>
            <a:r>
              <a:rPr lang="en-US"/>
              <a:t>Bridge Tooling</a:t>
            </a:r>
          </a:p>
        </p:txBody>
      </p:sp>
      <p:sp>
        <p:nvSpPr>
          <p:cNvPr id="3" name="Text Placeholder 2">
            <a:extLst>
              <a:ext uri="{FF2B5EF4-FFF2-40B4-BE49-F238E27FC236}">
                <a16:creationId xmlns:a16="http://schemas.microsoft.com/office/drawing/2014/main" id="{C1A1A2B6-83BF-8141-F7E0-30249F7958C0}"/>
              </a:ext>
            </a:extLst>
          </p:cNvPr>
          <p:cNvSpPr>
            <a:spLocks noGrp="1"/>
          </p:cNvSpPr>
          <p:nvPr>
            <p:ph type="body" sz="quarter" idx="10"/>
          </p:nvPr>
        </p:nvSpPr>
        <p:spPr>
          <a:xfrm>
            <a:off x="384048" y="1022717"/>
            <a:ext cx="7215940" cy="4957763"/>
          </a:xfrm>
        </p:spPr>
        <p:txBody>
          <a:bodyPr/>
          <a:lstStyle/>
          <a:p>
            <a:r>
              <a:rPr lang="en-US"/>
              <a:t>Combined with chain of thought, a way of pseudo planning, and a fundamental understanding of tool usage, made them ideal controllers for tools.</a:t>
            </a:r>
            <a:br>
              <a:rPr lang="en-US"/>
            </a:br>
            <a:endParaRPr lang="en-US"/>
          </a:p>
          <a:p>
            <a:r>
              <a:rPr lang="en-US"/>
              <a:t>The quality of the tool continues to be the largest way to improve performance.</a:t>
            </a:r>
          </a:p>
          <a:p>
            <a:endParaRPr lang="en-US"/>
          </a:p>
        </p:txBody>
      </p:sp>
      <p:sp>
        <p:nvSpPr>
          <p:cNvPr id="4" name="TextBox 3">
            <a:extLst>
              <a:ext uri="{FF2B5EF4-FFF2-40B4-BE49-F238E27FC236}">
                <a16:creationId xmlns:a16="http://schemas.microsoft.com/office/drawing/2014/main" id="{1D70E345-B9B9-5E9C-CECC-F1AE6FF0AA97}"/>
              </a:ext>
            </a:extLst>
          </p:cNvPr>
          <p:cNvSpPr txBox="1"/>
          <p:nvPr/>
        </p:nvSpPr>
        <p:spPr>
          <a:xfrm>
            <a:off x="7802974" y="5749763"/>
            <a:ext cx="2449390" cy="1015663"/>
          </a:xfrm>
          <a:prstGeom prst="rect">
            <a:avLst/>
          </a:prstGeom>
          <a:noFill/>
        </p:spPr>
        <p:txBody>
          <a:bodyPr wrap="square" rtlCol="0">
            <a:spAutoFit/>
          </a:bodyPr>
          <a:lstStyle/>
          <a:p>
            <a:r>
              <a:rPr lang="en-US" sz="1200"/>
              <a:t>Optional Reading</a:t>
            </a:r>
          </a:p>
          <a:p>
            <a:r>
              <a:rPr lang="en-US" sz="1200">
                <a:hlinkClick r:id="rId2"/>
              </a:rPr>
              <a:t>https://arxiv.org/pdf/2302.04761</a:t>
            </a:r>
            <a:endParaRPr lang="en-US" sz="1200"/>
          </a:p>
          <a:p>
            <a:r>
              <a:rPr lang="en-US" sz="1200">
                <a:hlinkClick r:id="rId3"/>
              </a:rPr>
              <a:t>https://</a:t>
            </a:r>
            <a:r>
              <a:rPr lang="en-US" sz="1200" err="1">
                <a:hlinkClick r:id="rId3"/>
              </a:rPr>
              <a:t>arxiv.org</a:t>
            </a:r>
            <a:r>
              <a:rPr lang="en-US" sz="1200">
                <a:hlinkClick r:id="rId3"/>
              </a:rPr>
              <a:t>/pdf/2206.07682</a:t>
            </a:r>
            <a:endParaRPr lang="en-US" sz="1200"/>
          </a:p>
          <a:p>
            <a:endParaRPr lang="en-US" sz="1200"/>
          </a:p>
          <a:p>
            <a:endParaRPr lang="en-US" sz="1200"/>
          </a:p>
        </p:txBody>
      </p:sp>
      <p:pic>
        <p:nvPicPr>
          <p:cNvPr id="6" name="Picture 5" descr="A screenshot of a phone&#10;&#10;AI-generated content may be incorrect.">
            <a:extLst>
              <a:ext uri="{FF2B5EF4-FFF2-40B4-BE49-F238E27FC236}">
                <a16:creationId xmlns:a16="http://schemas.microsoft.com/office/drawing/2014/main" id="{25D8F706-8E06-D722-3555-4BBD0CEC3BF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02974" y="1022717"/>
            <a:ext cx="4178300" cy="4343400"/>
          </a:xfrm>
          <a:prstGeom prst="rect">
            <a:avLst/>
          </a:prstGeom>
        </p:spPr>
      </p:pic>
      <p:pic>
        <p:nvPicPr>
          <p:cNvPr id="8" name="Picture 7" descr="A graph of a graph&#10;&#10;AI-generated content may be incorrect.">
            <a:extLst>
              <a:ext uri="{FF2B5EF4-FFF2-40B4-BE49-F238E27FC236}">
                <a16:creationId xmlns:a16="http://schemas.microsoft.com/office/drawing/2014/main" id="{56C5CA37-6827-1D08-9C50-4FE97B25498C}"/>
              </a:ext>
            </a:extLst>
          </p:cNvPr>
          <p:cNvPicPr>
            <a:picLocks noChangeAspect="1"/>
          </p:cNvPicPr>
          <p:nvPr/>
        </p:nvPicPr>
        <p:blipFill>
          <a:blip r:embed="rId5">
            <a:extLst>
              <a:ext uri="{28A0092B-C50C-407E-A947-70E740481C1C}">
                <a14:useLocalDpi xmlns:a14="http://schemas.microsoft.com/office/drawing/2010/main" val="0"/>
              </a:ext>
            </a:extLst>
          </a:blip>
          <a:srcRect t="11438" b="4545"/>
          <a:stretch>
            <a:fillRect/>
          </a:stretch>
        </p:blipFill>
        <p:spPr>
          <a:xfrm>
            <a:off x="30574" y="3966808"/>
            <a:ext cx="7772400" cy="2798618"/>
          </a:xfrm>
          <a:prstGeom prst="rect">
            <a:avLst/>
          </a:prstGeom>
        </p:spPr>
      </p:pic>
    </p:spTree>
    <p:extLst>
      <p:ext uri="{BB962C8B-B14F-4D97-AF65-F5344CB8AC3E}">
        <p14:creationId xmlns:p14="http://schemas.microsoft.com/office/powerpoint/2010/main" val="1899318373"/>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2158EDA-6B78-2D37-86F1-A788ABDB241E}"/>
              </a:ext>
            </a:extLst>
          </p:cNvPr>
          <p:cNvSpPr>
            <a:spLocks noGrp="1"/>
          </p:cNvSpPr>
          <p:nvPr>
            <p:ph type="title"/>
          </p:nvPr>
        </p:nvSpPr>
        <p:spPr/>
        <p:txBody>
          <a:bodyPr/>
          <a:lstStyle/>
          <a:p>
            <a:endParaRPr lang="en-US"/>
          </a:p>
        </p:txBody>
      </p:sp>
      <p:sp>
        <p:nvSpPr>
          <p:cNvPr id="5" name="Text Placeholder 4">
            <a:extLst>
              <a:ext uri="{FF2B5EF4-FFF2-40B4-BE49-F238E27FC236}">
                <a16:creationId xmlns:a16="http://schemas.microsoft.com/office/drawing/2014/main" id="{A5D3873D-7C36-FBF9-1421-79056AB653FB}"/>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2855697922"/>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465AC2-DD45-7C2D-6BA0-AA732E27D9A3}"/>
              </a:ext>
            </a:extLst>
          </p:cNvPr>
          <p:cNvSpPr>
            <a:spLocks noGrp="1"/>
          </p:cNvSpPr>
          <p:nvPr>
            <p:ph type="title"/>
          </p:nvPr>
        </p:nvSpPr>
        <p:spPr/>
        <p:txBody>
          <a:bodyPr/>
          <a:lstStyle/>
          <a:p>
            <a:r>
              <a:rPr lang="en-US"/>
              <a:t>Thought Exercise</a:t>
            </a:r>
          </a:p>
        </p:txBody>
      </p:sp>
      <p:sp>
        <p:nvSpPr>
          <p:cNvPr id="3" name="Text Placeholder 2">
            <a:extLst>
              <a:ext uri="{FF2B5EF4-FFF2-40B4-BE49-F238E27FC236}">
                <a16:creationId xmlns:a16="http://schemas.microsoft.com/office/drawing/2014/main" id="{213A9E02-362E-9493-7491-6FFF8FB79FCE}"/>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1852302539"/>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80B937A5-C468-0D95-4344-63FC4E72D6E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D97FB80-3FAB-C8A0-6735-04584261BFF8}"/>
              </a:ext>
            </a:extLst>
          </p:cNvPr>
          <p:cNvSpPr>
            <a:spLocks noGrp="1"/>
          </p:cNvSpPr>
          <p:nvPr>
            <p:ph type="title"/>
          </p:nvPr>
        </p:nvSpPr>
        <p:spPr/>
        <p:txBody>
          <a:bodyPr/>
          <a:lstStyle/>
          <a:p>
            <a:r>
              <a:rPr lang="en-US"/>
              <a:t>Avoid Tool Overload: The Art of Minimalism in AI Design</a:t>
            </a:r>
          </a:p>
        </p:txBody>
      </p:sp>
    </p:spTree>
    <p:extLst>
      <p:ext uri="{BB962C8B-B14F-4D97-AF65-F5344CB8AC3E}">
        <p14:creationId xmlns:p14="http://schemas.microsoft.com/office/powerpoint/2010/main" val="975256365"/>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D9DD85B8-19CB-1804-277F-5A73B4E8B25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444ECF2-0773-9850-48A4-D0B1418A23DE}"/>
              </a:ext>
            </a:extLst>
          </p:cNvPr>
          <p:cNvSpPr>
            <a:spLocks noGrp="1"/>
          </p:cNvSpPr>
          <p:nvPr>
            <p:ph type="title"/>
          </p:nvPr>
        </p:nvSpPr>
        <p:spPr/>
        <p:txBody>
          <a:bodyPr/>
          <a:lstStyle/>
          <a:p>
            <a:r>
              <a:rPr lang="en-US"/>
              <a:t>How Agents See Their Tools</a:t>
            </a:r>
          </a:p>
        </p:txBody>
      </p:sp>
    </p:spTree>
    <p:extLst>
      <p:ext uri="{BB962C8B-B14F-4D97-AF65-F5344CB8AC3E}">
        <p14:creationId xmlns:p14="http://schemas.microsoft.com/office/powerpoint/2010/main" val="1720529291"/>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7CB2B490-49C1-FF26-2DD1-88A1A1DE599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E07496B-DFBC-D150-D3BA-3221B407AB11}"/>
              </a:ext>
            </a:extLst>
          </p:cNvPr>
          <p:cNvSpPr>
            <a:spLocks noGrp="1"/>
          </p:cNvSpPr>
          <p:nvPr>
            <p:ph type="title"/>
          </p:nvPr>
        </p:nvSpPr>
        <p:spPr/>
        <p:txBody>
          <a:bodyPr/>
          <a:lstStyle/>
          <a:p>
            <a:r>
              <a:rPr lang="en-US"/>
              <a:t>Inside the AI Agent’s Toolkit: From Words to Actions</a:t>
            </a:r>
          </a:p>
        </p:txBody>
      </p:sp>
    </p:spTree>
    <p:extLst>
      <p:ext uri="{BB962C8B-B14F-4D97-AF65-F5344CB8AC3E}">
        <p14:creationId xmlns:p14="http://schemas.microsoft.com/office/powerpoint/2010/main" val="1943251029"/>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127DE323-0AF6-81C2-E156-85165A10A8E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2FB3168-6670-85B8-72FB-2CC2C7B4E2E8}"/>
              </a:ext>
            </a:extLst>
          </p:cNvPr>
          <p:cNvSpPr>
            <a:spLocks noGrp="1"/>
          </p:cNvSpPr>
          <p:nvPr>
            <p:ph type="title"/>
          </p:nvPr>
        </p:nvSpPr>
        <p:spPr/>
        <p:txBody>
          <a:bodyPr/>
          <a:lstStyle/>
          <a:p>
            <a:r>
              <a:rPr lang="en-US"/>
              <a:t>Bridge Tool Use</a:t>
            </a:r>
          </a:p>
        </p:txBody>
      </p:sp>
    </p:spTree>
    <p:extLst>
      <p:ext uri="{BB962C8B-B14F-4D97-AF65-F5344CB8AC3E}">
        <p14:creationId xmlns:p14="http://schemas.microsoft.com/office/powerpoint/2010/main" val="3482819534"/>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D0CA86BD-6FBB-4F7C-9D2A-D6418BB1666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DF87553-D45A-3468-E0E3-E986F5EC513D}"/>
              </a:ext>
            </a:extLst>
          </p:cNvPr>
          <p:cNvSpPr>
            <a:spLocks noGrp="1"/>
          </p:cNvSpPr>
          <p:nvPr>
            <p:ph type="title"/>
          </p:nvPr>
        </p:nvSpPr>
        <p:spPr/>
        <p:txBody>
          <a:bodyPr/>
          <a:lstStyle/>
          <a:p>
            <a:r>
              <a:rPr lang="en-US"/>
              <a:t>How AI Agents Plan, Organize, and Adapt</a:t>
            </a:r>
          </a:p>
        </p:txBody>
      </p:sp>
    </p:spTree>
    <p:extLst>
      <p:ext uri="{BB962C8B-B14F-4D97-AF65-F5344CB8AC3E}">
        <p14:creationId xmlns:p14="http://schemas.microsoft.com/office/powerpoint/2010/main" val="178858460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4E5AE02-7746-BB16-11A5-AE136FC09972}"/>
              </a:ext>
            </a:extLst>
          </p:cNvPr>
          <p:cNvSpPr>
            <a:spLocks noGrp="1"/>
          </p:cNvSpPr>
          <p:nvPr>
            <p:ph type="title"/>
          </p:nvPr>
        </p:nvSpPr>
        <p:spPr/>
        <p:txBody>
          <a:bodyPr/>
          <a:lstStyle/>
          <a:p>
            <a:r>
              <a:rPr lang="en-US"/>
              <a:t>SPAR Framework</a:t>
            </a:r>
          </a:p>
        </p:txBody>
      </p:sp>
      <p:grpSp>
        <p:nvGrpSpPr>
          <p:cNvPr id="6" name="Group 5">
            <a:extLst>
              <a:ext uri="{FF2B5EF4-FFF2-40B4-BE49-F238E27FC236}">
                <a16:creationId xmlns:a16="http://schemas.microsoft.com/office/drawing/2014/main" id="{2F4EF0CC-E329-34E6-79B7-88F9A0488452}"/>
              </a:ext>
            </a:extLst>
          </p:cNvPr>
          <p:cNvGrpSpPr/>
          <p:nvPr/>
        </p:nvGrpSpPr>
        <p:grpSpPr>
          <a:xfrm>
            <a:off x="644830" y="1267963"/>
            <a:ext cx="2747049" cy="4687441"/>
            <a:chOff x="644830" y="1267963"/>
            <a:chExt cx="2747049" cy="4687441"/>
          </a:xfrm>
        </p:grpSpPr>
        <p:sp>
          <p:nvSpPr>
            <p:cNvPr id="7" name="Cylinder 2">
              <a:extLst>
                <a:ext uri="{FF2B5EF4-FFF2-40B4-BE49-F238E27FC236}">
                  <a16:creationId xmlns:a16="http://schemas.microsoft.com/office/drawing/2014/main" id="{123E2747-FFB9-2DB4-A6FA-7062881767FC}"/>
                </a:ext>
              </a:extLst>
            </p:cNvPr>
            <p:cNvSpPr/>
            <p:nvPr/>
          </p:nvSpPr>
          <p:spPr>
            <a:xfrm>
              <a:off x="644830" y="5602632"/>
              <a:ext cx="1608083" cy="352772"/>
            </a:xfrm>
            <a:prstGeom prst="can">
              <a:avLst>
                <a:gd name="adj" fmla="val 50000"/>
              </a:avLst>
            </a:prstGeom>
            <a:solidFill>
              <a:schemeClr val="bg2">
                <a:lumMod val="25000"/>
              </a:schemeClr>
            </a:solidFill>
            <a:ln>
              <a:solidFill>
                <a:schemeClr val="bg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Shape 3">
              <a:extLst>
                <a:ext uri="{FF2B5EF4-FFF2-40B4-BE49-F238E27FC236}">
                  <a16:creationId xmlns:a16="http://schemas.microsoft.com/office/drawing/2014/main" id="{983C34D1-0FC9-0304-05F1-E51E404C468E}"/>
                </a:ext>
              </a:extLst>
            </p:cNvPr>
            <p:cNvSpPr/>
            <p:nvPr/>
          </p:nvSpPr>
          <p:spPr>
            <a:xfrm rot="5400000">
              <a:off x="1416563" y="1273071"/>
              <a:ext cx="1105715" cy="1163157"/>
            </a:xfrm>
            <a:custGeom>
              <a:avLst/>
              <a:gdLst>
                <a:gd name="connsiteX0" fmla="*/ 0 w 1105715"/>
                <a:gd name="connsiteY0" fmla="*/ 1039979 h 1163157"/>
                <a:gd name="connsiteX1" fmla="*/ 0 w 1105715"/>
                <a:gd name="connsiteY1" fmla="*/ 739055 h 1163157"/>
                <a:gd name="connsiteX2" fmla="*/ 0 w 1105715"/>
                <a:gd name="connsiteY2" fmla="*/ 492705 h 1163157"/>
                <a:gd name="connsiteX3" fmla="*/ 0 w 1105715"/>
                <a:gd name="connsiteY3" fmla="*/ 0 h 1163157"/>
                <a:gd name="connsiteX4" fmla="*/ 76289 w 1105715"/>
                <a:gd name="connsiteY4" fmla="*/ 0 h 1163157"/>
                <a:gd name="connsiteX5" fmla="*/ 76289 w 1105715"/>
                <a:gd name="connsiteY5" fmla="*/ 378994 h 1163157"/>
                <a:gd name="connsiteX6" fmla="*/ 76293 w 1105715"/>
                <a:gd name="connsiteY6" fmla="*/ 378993 h 1163157"/>
                <a:gd name="connsiteX7" fmla="*/ 76293 w 1105715"/>
                <a:gd name="connsiteY7" fmla="*/ 1045412 h 1163157"/>
                <a:gd name="connsiteX8" fmla="*/ 117748 w 1105715"/>
                <a:gd name="connsiteY8" fmla="*/ 1086866 h 1163157"/>
                <a:gd name="connsiteX9" fmla="*/ 729590 w 1105715"/>
                <a:gd name="connsiteY9" fmla="*/ 1086866 h 1163157"/>
                <a:gd name="connsiteX10" fmla="*/ 729590 w 1105715"/>
                <a:gd name="connsiteY10" fmla="*/ 1086868 h 1163157"/>
                <a:gd name="connsiteX11" fmla="*/ 1105715 w 1105715"/>
                <a:gd name="connsiteY11" fmla="*/ 1086868 h 1163157"/>
                <a:gd name="connsiteX12" fmla="*/ 1105715 w 1105715"/>
                <a:gd name="connsiteY12" fmla="*/ 1163157 h 1163157"/>
                <a:gd name="connsiteX13" fmla="*/ 615878 w 1105715"/>
                <a:gd name="connsiteY13" fmla="*/ 1163157 h 1163157"/>
                <a:gd name="connsiteX14" fmla="*/ 366660 w 1105715"/>
                <a:gd name="connsiteY14" fmla="*/ 1163157 h 1163157"/>
                <a:gd name="connsiteX15" fmla="*/ 123178 w 1105715"/>
                <a:gd name="connsiteY15" fmla="*/ 1163157 h 1163157"/>
                <a:gd name="connsiteX16" fmla="*/ 0 w 1105715"/>
                <a:gd name="connsiteY16" fmla="*/ 1039979 h 1163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05715" h="1163157">
                  <a:moveTo>
                    <a:pt x="0" y="1039979"/>
                  </a:moveTo>
                  <a:lnTo>
                    <a:pt x="0" y="739055"/>
                  </a:lnTo>
                  <a:lnTo>
                    <a:pt x="0" y="492705"/>
                  </a:lnTo>
                  <a:lnTo>
                    <a:pt x="0" y="0"/>
                  </a:lnTo>
                  <a:lnTo>
                    <a:pt x="76289" y="0"/>
                  </a:lnTo>
                  <a:lnTo>
                    <a:pt x="76289" y="378994"/>
                  </a:lnTo>
                  <a:lnTo>
                    <a:pt x="76293" y="378993"/>
                  </a:lnTo>
                  <a:lnTo>
                    <a:pt x="76293" y="1045412"/>
                  </a:lnTo>
                  <a:cubicBezTo>
                    <a:pt x="76293" y="1068306"/>
                    <a:pt x="94853" y="1086866"/>
                    <a:pt x="117748" y="1086866"/>
                  </a:cubicBezTo>
                  <a:lnTo>
                    <a:pt x="729590" y="1086866"/>
                  </a:lnTo>
                  <a:lnTo>
                    <a:pt x="729590" y="1086868"/>
                  </a:lnTo>
                  <a:lnTo>
                    <a:pt x="1105715" y="1086868"/>
                  </a:lnTo>
                  <a:lnTo>
                    <a:pt x="1105715" y="1163157"/>
                  </a:lnTo>
                  <a:lnTo>
                    <a:pt x="615878" y="1163157"/>
                  </a:lnTo>
                  <a:lnTo>
                    <a:pt x="366660" y="1163157"/>
                  </a:lnTo>
                  <a:lnTo>
                    <a:pt x="123178" y="1163157"/>
                  </a:lnTo>
                  <a:cubicBezTo>
                    <a:pt x="55149" y="1163157"/>
                    <a:pt x="0" y="1108008"/>
                    <a:pt x="0" y="1039979"/>
                  </a:cubicBezTo>
                  <a:close/>
                </a:path>
              </a:pathLst>
            </a:cu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9" name="Rectangle 8">
              <a:extLst>
                <a:ext uri="{FF2B5EF4-FFF2-40B4-BE49-F238E27FC236}">
                  <a16:creationId xmlns:a16="http://schemas.microsoft.com/office/drawing/2014/main" id="{8A7B6261-1812-2188-FAEB-3500DFE667E4}"/>
                </a:ext>
              </a:extLst>
            </p:cNvPr>
            <p:cNvSpPr/>
            <p:nvPr/>
          </p:nvSpPr>
          <p:spPr>
            <a:xfrm rot="5400000">
              <a:off x="1056459" y="5260939"/>
              <a:ext cx="739055" cy="76289"/>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reeform: Shape 5">
              <a:extLst>
                <a:ext uri="{FF2B5EF4-FFF2-40B4-BE49-F238E27FC236}">
                  <a16:creationId xmlns:a16="http://schemas.microsoft.com/office/drawing/2014/main" id="{CBFEA629-8D08-A73D-40B0-C32D94E0EC29}"/>
                </a:ext>
              </a:extLst>
            </p:cNvPr>
            <p:cNvSpPr/>
            <p:nvPr/>
          </p:nvSpPr>
          <p:spPr>
            <a:xfrm>
              <a:off x="1498637" y="1411911"/>
              <a:ext cx="1847472" cy="3632438"/>
            </a:xfrm>
            <a:custGeom>
              <a:avLst/>
              <a:gdLst>
                <a:gd name="connsiteX0" fmla="*/ 266927 w 1847472"/>
                <a:gd name="connsiteY0" fmla="*/ 0 h 3632438"/>
                <a:gd name="connsiteX1" fmla="*/ 1847472 w 1847472"/>
                <a:gd name="connsiteY1" fmla="*/ 0 h 3632438"/>
                <a:gd name="connsiteX2" fmla="*/ 1847472 w 1847472"/>
                <a:gd name="connsiteY2" fmla="*/ 3632438 h 3632438"/>
                <a:gd name="connsiteX3" fmla="*/ 0 w 1847472"/>
                <a:gd name="connsiteY3" fmla="*/ 3632438 h 3632438"/>
                <a:gd name="connsiteX4" fmla="*/ 0 w 1847472"/>
                <a:gd name="connsiteY4" fmla="*/ 225231 h 3632438"/>
                <a:gd name="connsiteX5" fmla="*/ 59505 w 1847472"/>
                <a:gd name="connsiteY5" fmla="*/ 205325 h 3632438"/>
                <a:gd name="connsiteX6" fmla="*/ 161196 w 1847472"/>
                <a:gd name="connsiteY6" fmla="*/ 138948 h 3632438"/>
                <a:gd name="connsiteX7" fmla="*/ 242112 w 1847472"/>
                <a:gd name="connsiteY7" fmla="*/ 48395 h 3632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47472" h="3632438">
                  <a:moveTo>
                    <a:pt x="266927" y="0"/>
                  </a:moveTo>
                  <a:lnTo>
                    <a:pt x="1847472" y="0"/>
                  </a:lnTo>
                  <a:lnTo>
                    <a:pt x="1847472" y="3632438"/>
                  </a:lnTo>
                  <a:lnTo>
                    <a:pt x="0" y="3632438"/>
                  </a:lnTo>
                  <a:lnTo>
                    <a:pt x="0" y="225231"/>
                  </a:lnTo>
                  <a:lnTo>
                    <a:pt x="59505" y="205325"/>
                  </a:lnTo>
                  <a:cubicBezTo>
                    <a:pt x="95807" y="187906"/>
                    <a:pt x="129920" y="165826"/>
                    <a:pt x="161196" y="138948"/>
                  </a:cubicBezTo>
                  <a:cubicBezTo>
                    <a:pt x="192472" y="112069"/>
                    <a:pt x="219431" y="81665"/>
                    <a:pt x="242112" y="48395"/>
                  </a:cubicBez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1" name="Rectangle 10">
              <a:extLst>
                <a:ext uri="{FF2B5EF4-FFF2-40B4-BE49-F238E27FC236}">
                  <a16:creationId xmlns:a16="http://schemas.microsoft.com/office/drawing/2014/main" id="{E006C7AB-3EB4-889C-A788-0D3177870559}"/>
                </a:ext>
              </a:extLst>
            </p:cNvPr>
            <p:cNvSpPr/>
            <p:nvPr/>
          </p:nvSpPr>
          <p:spPr>
            <a:xfrm rot="5400000">
              <a:off x="-360241" y="3256127"/>
              <a:ext cx="3572455" cy="145300"/>
            </a:xfrm>
            <a:prstGeom prst="rect">
              <a:avLst/>
            </a:prstGeom>
            <a:gradFill flip="none" rotWithShape="1">
              <a:gsLst>
                <a:gs pos="0">
                  <a:schemeClr val="tx1">
                    <a:lumMod val="95000"/>
                    <a:lumOff val="5000"/>
                  </a:schemeClr>
                </a:gs>
                <a:gs pos="23000">
                  <a:schemeClr val="tx1">
                    <a:lumMod val="75000"/>
                    <a:lumOff val="25000"/>
                  </a:schemeClr>
                </a:gs>
                <a:gs pos="69000">
                  <a:schemeClr val="bg2">
                    <a:lumMod val="50000"/>
                  </a:schemeClr>
                </a:gs>
                <a:gs pos="97000">
                  <a:schemeClr val="tx1">
                    <a:lumMod val="95000"/>
                    <a:lumOff val="5000"/>
                  </a:schemeClr>
                </a:gs>
              </a:gsLst>
              <a:lin ang="540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73B47E53-9A75-6285-1DBD-DD483E23FFDE}"/>
                </a:ext>
              </a:extLst>
            </p:cNvPr>
            <p:cNvSpPr/>
            <p:nvPr/>
          </p:nvSpPr>
          <p:spPr>
            <a:xfrm>
              <a:off x="1653912" y="1267963"/>
              <a:ext cx="1737967" cy="143947"/>
            </a:xfrm>
            <a:prstGeom prst="rect">
              <a:avLst/>
            </a:prstGeom>
            <a:gradFill flip="none" rotWithShape="1">
              <a:gsLst>
                <a:gs pos="0">
                  <a:schemeClr val="tx1">
                    <a:lumMod val="95000"/>
                    <a:lumOff val="5000"/>
                  </a:schemeClr>
                </a:gs>
                <a:gs pos="23000">
                  <a:schemeClr val="tx1">
                    <a:lumMod val="75000"/>
                    <a:lumOff val="25000"/>
                  </a:schemeClr>
                </a:gs>
                <a:gs pos="69000">
                  <a:schemeClr val="bg2">
                    <a:lumMod val="50000"/>
                  </a:schemeClr>
                </a:gs>
                <a:gs pos="97000">
                  <a:schemeClr val="tx1">
                    <a:lumMod val="95000"/>
                    <a:lumOff val="5000"/>
                  </a:schemeClr>
                </a:gs>
              </a:gsLst>
              <a:lin ang="540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3" name="Group 12">
            <a:extLst>
              <a:ext uri="{FF2B5EF4-FFF2-40B4-BE49-F238E27FC236}">
                <a16:creationId xmlns:a16="http://schemas.microsoft.com/office/drawing/2014/main" id="{51DCD68A-1717-A74A-B587-4DAF08E7D563}"/>
              </a:ext>
            </a:extLst>
          </p:cNvPr>
          <p:cNvGrpSpPr/>
          <p:nvPr/>
        </p:nvGrpSpPr>
        <p:grpSpPr>
          <a:xfrm>
            <a:off x="3363260" y="1267963"/>
            <a:ext cx="2747049" cy="4687441"/>
            <a:chOff x="3363260" y="1267963"/>
            <a:chExt cx="2747049" cy="4687441"/>
          </a:xfrm>
        </p:grpSpPr>
        <p:sp>
          <p:nvSpPr>
            <p:cNvPr id="14" name="Cylinder 8">
              <a:extLst>
                <a:ext uri="{FF2B5EF4-FFF2-40B4-BE49-F238E27FC236}">
                  <a16:creationId xmlns:a16="http://schemas.microsoft.com/office/drawing/2014/main" id="{E811C4A4-72D0-C778-CB65-BB3544AAE129}"/>
                </a:ext>
              </a:extLst>
            </p:cNvPr>
            <p:cNvSpPr/>
            <p:nvPr/>
          </p:nvSpPr>
          <p:spPr>
            <a:xfrm>
              <a:off x="3363260" y="5602632"/>
              <a:ext cx="1608083" cy="352772"/>
            </a:xfrm>
            <a:prstGeom prst="can">
              <a:avLst>
                <a:gd name="adj" fmla="val 50000"/>
              </a:avLst>
            </a:prstGeom>
            <a:solidFill>
              <a:schemeClr val="bg2">
                <a:lumMod val="25000"/>
              </a:schemeClr>
            </a:solidFill>
            <a:ln>
              <a:solidFill>
                <a:schemeClr val="bg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reeform: Shape 9">
              <a:extLst>
                <a:ext uri="{FF2B5EF4-FFF2-40B4-BE49-F238E27FC236}">
                  <a16:creationId xmlns:a16="http://schemas.microsoft.com/office/drawing/2014/main" id="{5AEBBFC6-ECF3-6BE4-EA9E-6218072765DF}"/>
                </a:ext>
              </a:extLst>
            </p:cNvPr>
            <p:cNvSpPr/>
            <p:nvPr/>
          </p:nvSpPr>
          <p:spPr>
            <a:xfrm rot="5400000">
              <a:off x="4134993" y="1273071"/>
              <a:ext cx="1105715" cy="1163157"/>
            </a:xfrm>
            <a:custGeom>
              <a:avLst/>
              <a:gdLst>
                <a:gd name="connsiteX0" fmla="*/ 0 w 1105715"/>
                <a:gd name="connsiteY0" fmla="*/ 1039979 h 1163157"/>
                <a:gd name="connsiteX1" fmla="*/ 0 w 1105715"/>
                <a:gd name="connsiteY1" fmla="*/ 739055 h 1163157"/>
                <a:gd name="connsiteX2" fmla="*/ 0 w 1105715"/>
                <a:gd name="connsiteY2" fmla="*/ 492705 h 1163157"/>
                <a:gd name="connsiteX3" fmla="*/ 0 w 1105715"/>
                <a:gd name="connsiteY3" fmla="*/ 0 h 1163157"/>
                <a:gd name="connsiteX4" fmla="*/ 76289 w 1105715"/>
                <a:gd name="connsiteY4" fmla="*/ 0 h 1163157"/>
                <a:gd name="connsiteX5" fmla="*/ 76289 w 1105715"/>
                <a:gd name="connsiteY5" fmla="*/ 378994 h 1163157"/>
                <a:gd name="connsiteX6" fmla="*/ 76293 w 1105715"/>
                <a:gd name="connsiteY6" fmla="*/ 378993 h 1163157"/>
                <a:gd name="connsiteX7" fmla="*/ 76293 w 1105715"/>
                <a:gd name="connsiteY7" fmla="*/ 1045412 h 1163157"/>
                <a:gd name="connsiteX8" fmla="*/ 117748 w 1105715"/>
                <a:gd name="connsiteY8" fmla="*/ 1086866 h 1163157"/>
                <a:gd name="connsiteX9" fmla="*/ 729590 w 1105715"/>
                <a:gd name="connsiteY9" fmla="*/ 1086866 h 1163157"/>
                <a:gd name="connsiteX10" fmla="*/ 729590 w 1105715"/>
                <a:gd name="connsiteY10" fmla="*/ 1086868 h 1163157"/>
                <a:gd name="connsiteX11" fmla="*/ 1105715 w 1105715"/>
                <a:gd name="connsiteY11" fmla="*/ 1086868 h 1163157"/>
                <a:gd name="connsiteX12" fmla="*/ 1105715 w 1105715"/>
                <a:gd name="connsiteY12" fmla="*/ 1163157 h 1163157"/>
                <a:gd name="connsiteX13" fmla="*/ 615878 w 1105715"/>
                <a:gd name="connsiteY13" fmla="*/ 1163157 h 1163157"/>
                <a:gd name="connsiteX14" fmla="*/ 366660 w 1105715"/>
                <a:gd name="connsiteY14" fmla="*/ 1163157 h 1163157"/>
                <a:gd name="connsiteX15" fmla="*/ 123178 w 1105715"/>
                <a:gd name="connsiteY15" fmla="*/ 1163157 h 1163157"/>
                <a:gd name="connsiteX16" fmla="*/ 0 w 1105715"/>
                <a:gd name="connsiteY16" fmla="*/ 1039979 h 1163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05715" h="1163157">
                  <a:moveTo>
                    <a:pt x="0" y="1039979"/>
                  </a:moveTo>
                  <a:lnTo>
                    <a:pt x="0" y="739055"/>
                  </a:lnTo>
                  <a:lnTo>
                    <a:pt x="0" y="492705"/>
                  </a:lnTo>
                  <a:lnTo>
                    <a:pt x="0" y="0"/>
                  </a:lnTo>
                  <a:lnTo>
                    <a:pt x="76289" y="0"/>
                  </a:lnTo>
                  <a:lnTo>
                    <a:pt x="76289" y="378994"/>
                  </a:lnTo>
                  <a:lnTo>
                    <a:pt x="76293" y="378993"/>
                  </a:lnTo>
                  <a:lnTo>
                    <a:pt x="76293" y="1045412"/>
                  </a:lnTo>
                  <a:cubicBezTo>
                    <a:pt x="76293" y="1068306"/>
                    <a:pt x="94853" y="1086866"/>
                    <a:pt x="117748" y="1086866"/>
                  </a:cubicBezTo>
                  <a:lnTo>
                    <a:pt x="729590" y="1086866"/>
                  </a:lnTo>
                  <a:lnTo>
                    <a:pt x="729590" y="1086868"/>
                  </a:lnTo>
                  <a:lnTo>
                    <a:pt x="1105715" y="1086868"/>
                  </a:lnTo>
                  <a:lnTo>
                    <a:pt x="1105715" y="1163157"/>
                  </a:lnTo>
                  <a:lnTo>
                    <a:pt x="615878" y="1163157"/>
                  </a:lnTo>
                  <a:lnTo>
                    <a:pt x="366660" y="1163157"/>
                  </a:lnTo>
                  <a:lnTo>
                    <a:pt x="123178" y="1163157"/>
                  </a:lnTo>
                  <a:cubicBezTo>
                    <a:pt x="55149" y="1163157"/>
                    <a:pt x="0" y="1108008"/>
                    <a:pt x="0" y="1039979"/>
                  </a:cubicBezTo>
                  <a:close/>
                </a:path>
              </a:pathLst>
            </a:cu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6" name="Rectangle 15">
              <a:extLst>
                <a:ext uri="{FF2B5EF4-FFF2-40B4-BE49-F238E27FC236}">
                  <a16:creationId xmlns:a16="http://schemas.microsoft.com/office/drawing/2014/main" id="{6D19EE8F-F64B-ADD9-D1F4-A5D57779BD36}"/>
                </a:ext>
              </a:extLst>
            </p:cNvPr>
            <p:cNvSpPr/>
            <p:nvPr/>
          </p:nvSpPr>
          <p:spPr>
            <a:xfrm rot="5400000">
              <a:off x="3774889" y="5260939"/>
              <a:ext cx="739055" cy="76289"/>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reeform: Shape 11">
              <a:extLst>
                <a:ext uri="{FF2B5EF4-FFF2-40B4-BE49-F238E27FC236}">
                  <a16:creationId xmlns:a16="http://schemas.microsoft.com/office/drawing/2014/main" id="{DDDCE693-5410-2872-C90B-6C3DA34018A8}"/>
                </a:ext>
              </a:extLst>
            </p:cNvPr>
            <p:cNvSpPr/>
            <p:nvPr/>
          </p:nvSpPr>
          <p:spPr>
            <a:xfrm>
              <a:off x="4217067" y="1411911"/>
              <a:ext cx="1847472" cy="3632438"/>
            </a:xfrm>
            <a:custGeom>
              <a:avLst/>
              <a:gdLst>
                <a:gd name="connsiteX0" fmla="*/ 266927 w 1847472"/>
                <a:gd name="connsiteY0" fmla="*/ 0 h 3632438"/>
                <a:gd name="connsiteX1" fmla="*/ 1847472 w 1847472"/>
                <a:gd name="connsiteY1" fmla="*/ 0 h 3632438"/>
                <a:gd name="connsiteX2" fmla="*/ 1847472 w 1847472"/>
                <a:gd name="connsiteY2" fmla="*/ 3632438 h 3632438"/>
                <a:gd name="connsiteX3" fmla="*/ 0 w 1847472"/>
                <a:gd name="connsiteY3" fmla="*/ 3632438 h 3632438"/>
                <a:gd name="connsiteX4" fmla="*/ 0 w 1847472"/>
                <a:gd name="connsiteY4" fmla="*/ 225231 h 3632438"/>
                <a:gd name="connsiteX5" fmla="*/ 59505 w 1847472"/>
                <a:gd name="connsiteY5" fmla="*/ 205325 h 3632438"/>
                <a:gd name="connsiteX6" fmla="*/ 161196 w 1847472"/>
                <a:gd name="connsiteY6" fmla="*/ 138948 h 3632438"/>
                <a:gd name="connsiteX7" fmla="*/ 242112 w 1847472"/>
                <a:gd name="connsiteY7" fmla="*/ 48395 h 3632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47472" h="3632438">
                  <a:moveTo>
                    <a:pt x="266927" y="0"/>
                  </a:moveTo>
                  <a:lnTo>
                    <a:pt x="1847472" y="0"/>
                  </a:lnTo>
                  <a:lnTo>
                    <a:pt x="1847472" y="3632438"/>
                  </a:lnTo>
                  <a:lnTo>
                    <a:pt x="0" y="3632438"/>
                  </a:lnTo>
                  <a:lnTo>
                    <a:pt x="0" y="225231"/>
                  </a:lnTo>
                  <a:lnTo>
                    <a:pt x="59505" y="205325"/>
                  </a:lnTo>
                  <a:cubicBezTo>
                    <a:pt x="95807" y="187906"/>
                    <a:pt x="129920" y="165826"/>
                    <a:pt x="161196" y="138948"/>
                  </a:cubicBezTo>
                  <a:cubicBezTo>
                    <a:pt x="192472" y="112069"/>
                    <a:pt x="219431" y="81665"/>
                    <a:pt x="242112" y="48395"/>
                  </a:cubicBez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Rectangle 17">
              <a:extLst>
                <a:ext uri="{FF2B5EF4-FFF2-40B4-BE49-F238E27FC236}">
                  <a16:creationId xmlns:a16="http://schemas.microsoft.com/office/drawing/2014/main" id="{0020F8E8-5498-9E3A-5D93-C38489379CA1}"/>
                </a:ext>
              </a:extLst>
            </p:cNvPr>
            <p:cNvSpPr/>
            <p:nvPr/>
          </p:nvSpPr>
          <p:spPr>
            <a:xfrm rot="5400000">
              <a:off x="2358189" y="3256127"/>
              <a:ext cx="3572455" cy="145300"/>
            </a:xfrm>
            <a:prstGeom prst="rect">
              <a:avLst/>
            </a:prstGeom>
            <a:gradFill flip="none" rotWithShape="1">
              <a:gsLst>
                <a:gs pos="0">
                  <a:schemeClr val="tx1">
                    <a:lumMod val="95000"/>
                    <a:lumOff val="5000"/>
                  </a:schemeClr>
                </a:gs>
                <a:gs pos="23000">
                  <a:schemeClr val="tx1">
                    <a:lumMod val="75000"/>
                    <a:lumOff val="25000"/>
                  </a:schemeClr>
                </a:gs>
                <a:gs pos="69000">
                  <a:schemeClr val="bg2">
                    <a:lumMod val="50000"/>
                  </a:schemeClr>
                </a:gs>
                <a:gs pos="97000">
                  <a:schemeClr val="tx1">
                    <a:lumMod val="95000"/>
                    <a:lumOff val="5000"/>
                  </a:schemeClr>
                </a:gs>
              </a:gsLst>
              <a:lin ang="540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0C0EB87B-C2DF-990E-9018-A6574498C73C}"/>
                </a:ext>
              </a:extLst>
            </p:cNvPr>
            <p:cNvSpPr/>
            <p:nvPr/>
          </p:nvSpPr>
          <p:spPr>
            <a:xfrm>
              <a:off x="4372342" y="1267963"/>
              <a:ext cx="1737967" cy="143947"/>
            </a:xfrm>
            <a:prstGeom prst="rect">
              <a:avLst/>
            </a:prstGeom>
            <a:gradFill flip="none" rotWithShape="1">
              <a:gsLst>
                <a:gs pos="0">
                  <a:schemeClr val="tx1">
                    <a:lumMod val="95000"/>
                    <a:lumOff val="5000"/>
                  </a:schemeClr>
                </a:gs>
                <a:gs pos="23000">
                  <a:schemeClr val="tx1">
                    <a:lumMod val="75000"/>
                    <a:lumOff val="25000"/>
                  </a:schemeClr>
                </a:gs>
                <a:gs pos="69000">
                  <a:schemeClr val="bg2">
                    <a:lumMod val="50000"/>
                  </a:schemeClr>
                </a:gs>
                <a:gs pos="97000">
                  <a:schemeClr val="tx1">
                    <a:lumMod val="95000"/>
                    <a:lumOff val="5000"/>
                  </a:schemeClr>
                </a:gs>
              </a:gsLst>
              <a:lin ang="540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0" name="Group 19">
            <a:extLst>
              <a:ext uri="{FF2B5EF4-FFF2-40B4-BE49-F238E27FC236}">
                <a16:creationId xmlns:a16="http://schemas.microsoft.com/office/drawing/2014/main" id="{8ED2D5FE-2568-0C81-3D6E-EB095DA0C21E}"/>
              </a:ext>
            </a:extLst>
          </p:cNvPr>
          <p:cNvGrpSpPr/>
          <p:nvPr/>
        </p:nvGrpSpPr>
        <p:grpSpPr>
          <a:xfrm>
            <a:off x="6081690" y="1267963"/>
            <a:ext cx="2747049" cy="4687441"/>
            <a:chOff x="6081690" y="1267963"/>
            <a:chExt cx="2747049" cy="4687441"/>
          </a:xfrm>
        </p:grpSpPr>
        <p:sp>
          <p:nvSpPr>
            <p:cNvPr id="21" name="Cylinder 14">
              <a:extLst>
                <a:ext uri="{FF2B5EF4-FFF2-40B4-BE49-F238E27FC236}">
                  <a16:creationId xmlns:a16="http://schemas.microsoft.com/office/drawing/2014/main" id="{53DA3E17-765E-6C7C-C0FE-106A148CAF69}"/>
                </a:ext>
              </a:extLst>
            </p:cNvPr>
            <p:cNvSpPr/>
            <p:nvPr/>
          </p:nvSpPr>
          <p:spPr>
            <a:xfrm>
              <a:off x="6081690" y="5602632"/>
              <a:ext cx="1608083" cy="352772"/>
            </a:xfrm>
            <a:prstGeom prst="can">
              <a:avLst>
                <a:gd name="adj" fmla="val 50000"/>
              </a:avLst>
            </a:prstGeom>
            <a:solidFill>
              <a:schemeClr val="bg2">
                <a:lumMod val="25000"/>
              </a:schemeClr>
            </a:solidFill>
            <a:ln>
              <a:solidFill>
                <a:schemeClr val="bg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reeform: Shape 15">
              <a:extLst>
                <a:ext uri="{FF2B5EF4-FFF2-40B4-BE49-F238E27FC236}">
                  <a16:creationId xmlns:a16="http://schemas.microsoft.com/office/drawing/2014/main" id="{323B1777-B35E-363E-8638-0EF22AD2448F}"/>
                </a:ext>
              </a:extLst>
            </p:cNvPr>
            <p:cNvSpPr/>
            <p:nvPr/>
          </p:nvSpPr>
          <p:spPr>
            <a:xfrm rot="5400000">
              <a:off x="6853423" y="1273071"/>
              <a:ext cx="1105715" cy="1163157"/>
            </a:xfrm>
            <a:custGeom>
              <a:avLst/>
              <a:gdLst>
                <a:gd name="connsiteX0" fmla="*/ 0 w 1105715"/>
                <a:gd name="connsiteY0" fmla="*/ 1039979 h 1163157"/>
                <a:gd name="connsiteX1" fmla="*/ 0 w 1105715"/>
                <a:gd name="connsiteY1" fmla="*/ 739055 h 1163157"/>
                <a:gd name="connsiteX2" fmla="*/ 0 w 1105715"/>
                <a:gd name="connsiteY2" fmla="*/ 492705 h 1163157"/>
                <a:gd name="connsiteX3" fmla="*/ 0 w 1105715"/>
                <a:gd name="connsiteY3" fmla="*/ 0 h 1163157"/>
                <a:gd name="connsiteX4" fmla="*/ 76289 w 1105715"/>
                <a:gd name="connsiteY4" fmla="*/ 0 h 1163157"/>
                <a:gd name="connsiteX5" fmla="*/ 76289 w 1105715"/>
                <a:gd name="connsiteY5" fmla="*/ 378994 h 1163157"/>
                <a:gd name="connsiteX6" fmla="*/ 76293 w 1105715"/>
                <a:gd name="connsiteY6" fmla="*/ 378993 h 1163157"/>
                <a:gd name="connsiteX7" fmla="*/ 76293 w 1105715"/>
                <a:gd name="connsiteY7" fmla="*/ 1045412 h 1163157"/>
                <a:gd name="connsiteX8" fmla="*/ 117748 w 1105715"/>
                <a:gd name="connsiteY8" fmla="*/ 1086866 h 1163157"/>
                <a:gd name="connsiteX9" fmla="*/ 729590 w 1105715"/>
                <a:gd name="connsiteY9" fmla="*/ 1086866 h 1163157"/>
                <a:gd name="connsiteX10" fmla="*/ 729590 w 1105715"/>
                <a:gd name="connsiteY10" fmla="*/ 1086868 h 1163157"/>
                <a:gd name="connsiteX11" fmla="*/ 1105715 w 1105715"/>
                <a:gd name="connsiteY11" fmla="*/ 1086868 h 1163157"/>
                <a:gd name="connsiteX12" fmla="*/ 1105715 w 1105715"/>
                <a:gd name="connsiteY12" fmla="*/ 1163157 h 1163157"/>
                <a:gd name="connsiteX13" fmla="*/ 615878 w 1105715"/>
                <a:gd name="connsiteY13" fmla="*/ 1163157 h 1163157"/>
                <a:gd name="connsiteX14" fmla="*/ 366660 w 1105715"/>
                <a:gd name="connsiteY14" fmla="*/ 1163157 h 1163157"/>
                <a:gd name="connsiteX15" fmla="*/ 123178 w 1105715"/>
                <a:gd name="connsiteY15" fmla="*/ 1163157 h 1163157"/>
                <a:gd name="connsiteX16" fmla="*/ 0 w 1105715"/>
                <a:gd name="connsiteY16" fmla="*/ 1039979 h 1163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05715" h="1163157">
                  <a:moveTo>
                    <a:pt x="0" y="1039979"/>
                  </a:moveTo>
                  <a:lnTo>
                    <a:pt x="0" y="739055"/>
                  </a:lnTo>
                  <a:lnTo>
                    <a:pt x="0" y="492705"/>
                  </a:lnTo>
                  <a:lnTo>
                    <a:pt x="0" y="0"/>
                  </a:lnTo>
                  <a:lnTo>
                    <a:pt x="76289" y="0"/>
                  </a:lnTo>
                  <a:lnTo>
                    <a:pt x="76289" y="378994"/>
                  </a:lnTo>
                  <a:lnTo>
                    <a:pt x="76293" y="378993"/>
                  </a:lnTo>
                  <a:lnTo>
                    <a:pt x="76293" y="1045412"/>
                  </a:lnTo>
                  <a:cubicBezTo>
                    <a:pt x="76293" y="1068306"/>
                    <a:pt x="94853" y="1086866"/>
                    <a:pt x="117748" y="1086866"/>
                  </a:cubicBezTo>
                  <a:lnTo>
                    <a:pt x="729590" y="1086866"/>
                  </a:lnTo>
                  <a:lnTo>
                    <a:pt x="729590" y="1086868"/>
                  </a:lnTo>
                  <a:lnTo>
                    <a:pt x="1105715" y="1086868"/>
                  </a:lnTo>
                  <a:lnTo>
                    <a:pt x="1105715" y="1163157"/>
                  </a:lnTo>
                  <a:lnTo>
                    <a:pt x="615878" y="1163157"/>
                  </a:lnTo>
                  <a:lnTo>
                    <a:pt x="366660" y="1163157"/>
                  </a:lnTo>
                  <a:lnTo>
                    <a:pt x="123178" y="1163157"/>
                  </a:lnTo>
                  <a:cubicBezTo>
                    <a:pt x="55149" y="1163157"/>
                    <a:pt x="0" y="1108008"/>
                    <a:pt x="0" y="1039979"/>
                  </a:cubicBezTo>
                  <a:close/>
                </a:path>
              </a:pathLst>
            </a:cu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3" name="Rectangle 22">
              <a:extLst>
                <a:ext uri="{FF2B5EF4-FFF2-40B4-BE49-F238E27FC236}">
                  <a16:creationId xmlns:a16="http://schemas.microsoft.com/office/drawing/2014/main" id="{19809F65-4E4A-1A6C-1CCE-683119ACB571}"/>
                </a:ext>
              </a:extLst>
            </p:cNvPr>
            <p:cNvSpPr/>
            <p:nvPr/>
          </p:nvSpPr>
          <p:spPr>
            <a:xfrm rot="5400000">
              <a:off x="6493319" y="5260939"/>
              <a:ext cx="739055" cy="76289"/>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reeform: Shape 17">
              <a:extLst>
                <a:ext uri="{FF2B5EF4-FFF2-40B4-BE49-F238E27FC236}">
                  <a16:creationId xmlns:a16="http://schemas.microsoft.com/office/drawing/2014/main" id="{AE2DA6AF-656C-3146-6A93-3BBEB38462B9}"/>
                </a:ext>
              </a:extLst>
            </p:cNvPr>
            <p:cNvSpPr/>
            <p:nvPr/>
          </p:nvSpPr>
          <p:spPr>
            <a:xfrm>
              <a:off x="6935497" y="1411911"/>
              <a:ext cx="1847472" cy="3632438"/>
            </a:xfrm>
            <a:custGeom>
              <a:avLst/>
              <a:gdLst>
                <a:gd name="connsiteX0" fmla="*/ 266927 w 1847472"/>
                <a:gd name="connsiteY0" fmla="*/ 0 h 3632438"/>
                <a:gd name="connsiteX1" fmla="*/ 1847472 w 1847472"/>
                <a:gd name="connsiteY1" fmla="*/ 0 h 3632438"/>
                <a:gd name="connsiteX2" fmla="*/ 1847472 w 1847472"/>
                <a:gd name="connsiteY2" fmla="*/ 3632438 h 3632438"/>
                <a:gd name="connsiteX3" fmla="*/ 0 w 1847472"/>
                <a:gd name="connsiteY3" fmla="*/ 3632438 h 3632438"/>
                <a:gd name="connsiteX4" fmla="*/ 0 w 1847472"/>
                <a:gd name="connsiteY4" fmla="*/ 225231 h 3632438"/>
                <a:gd name="connsiteX5" fmla="*/ 59505 w 1847472"/>
                <a:gd name="connsiteY5" fmla="*/ 205325 h 3632438"/>
                <a:gd name="connsiteX6" fmla="*/ 161196 w 1847472"/>
                <a:gd name="connsiteY6" fmla="*/ 138948 h 3632438"/>
                <a:gd name="connsiteX7" fmla="*/ 242112 w 1847472"/>
                <a:gd name="connsiteY7" fmla="*/ 48395 h 3632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47472" h="3632438">
                  <a:moveTo>
                    <a:pt x="266927" y="0"/>
                  </a:moveTo>
                  <a:lnTo>
                    <a:pt x="1847472" y="0"/>
                  </a:lnTo>
                  <a:lnTo>
                    <a:pt x="1847472" y="3632438"/>
                  </a:lnTo>
                  <a:lnTo>
                    <a:pt x="0" y="3632438"/>
                  </a:lnTo>
                  <a:lnTo>
                    <a:pt x="0" y="225231"/>
                  </a:lnTo>
                  <a:lnTo>
                    <a:pt x="59505" y="205325"/>
                  </a:lnTo>
                  <a:cubicBezTo>
                    <a:pt x="95807" y="187906"/>
                    <a:pt x="129920" y="165826"/>
                    <a:pt x="161196" y="138948"/>
                  </a:cubicBezTo>
                  <a:cubicBezTo>
                    <a:pt x="192472" y="112069"/>
                    <a:pt x="219431" y="81665"/>
                    <a:pt x="242112" y="48395"/>
                  </a:cubicBezTo>
                  <a:close/>
                </a:path>
              </a:pathLst>
            </a:cu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5" name="Rectangle 24">
              <a:extLst>
                <a:ext uri="{FF2B5EF4-FFF2-40B4-BE49-F238E27FC236}">
                  <a16:creationId xmlns:a16="http://schemas.microsoft.com/office/drawing/2014/main" id="{507A2943-EBA1-782D-DF9D-5BDBF9BA8D82}"/>
                </a:ext>
              </a:extLst>
            </p:cNvPr>
            <p:cNvSpPr/>
            <p:nvPr/>
          </p:nvSpPr>
          <p:spPr>
            <a:xfrm rot="5400000">
              <a:off x="5076619" y="3256127"/>
              <a:ext cx="3572455" cy="145300"/>
            </a:xfrm>
            <a:prstGeom prst="rect">
              <a:avLst/>
            </a:prstGeom>
            <a:gradFill flip="none" rotWithShape="1">
              <a:gsLst>
                <a:gs pos="0">
                  <a:schemeClr val="tx1">
                    <a:lumMod val="95000"/>
                    <a:lumOff val="5000"/>
                  </a:schemeClr>
                </a:gs>
                <a:gs pos="23000">
                  <a:schemeClr val="tx1">
                    <a:lumMod val="75000"/>
                    <a:lumOff val="25000"/>
                  </a:schemeClr>
                </a:gs>
                <a:gs pos="69000">
                  <a:schemeClr val="bg2">
                    <a:lumMod val="50000"/>
                  </a:schemeClr>
                </a:gs>
                <a:gs pos="97000">
                  <a:schemeClr val="tx1">
                    <a:lumMod val="95000"/>
                    <a:lumOff val="5000"/>
                  </a:schemeClr>
                </a:gs>
              </a:gsLst>
              <a:lin ang="540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5888D0FB-11AC-C693-850E-C99EA3F6AB25}"/>
                </a:ext>
              </a:extLst>
            </p:cNvPr>
            <p:cNvSpPr/>
            <p:nvPr/>
          </p:nvSpPr>
          <p:spPr>
            <a:xfrm>
              <a:off x="7090772" y="1267963"/>
              <a:ext cx="1737967" cy="143947"/>
            </a:xfrm>
            <a:prstGeom prst="rect">
              <a:avLst/>
            </a:prstGeom>
            <a:gradFill flip="none" rotWithShape="1">
              <a:gsLst>
                <a:gs pos="0">
                  <a:schemeClr val="tx1">
                    <a:lumMod val="95000"/>
                    <a:lumOff val="5000"/>
                  </a:schemeClr>
                </a:gs>
                <a:gs pos="23000">
                  <a:schemeClr val="tx1">
                    <a:lumMod val="75000"/>
                    <a:lumOff val="25000"/>
                  </a:schemeClr>
                </a:gs>
                <a:gs pos="69000">
                  <a:schemeClr val="bg2">
                    <a:lumMod val="50000"/>
                  </a:schemeClr>
                </a:gs>
                <a:gs pos="97000">
                  <a:schemeClr val="tx1">
                    <a:lumMod val="95000"/>
                    <a:lumOff val="5000"/>
                  </a:schemeClr>
                </a:gs>
              </a:gsLst>
              <a:lin ang="540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7" name="Group 26">
            <a:extLst>
              <a:ext uri="{FF2B5EF4-FFF2-40B4-BE49-F238E27FC236}">
                <a16:creationId xmlns:a16="http://schemas.microsoft.com/office/drawing/2014/main" id="{60CF7679-EE69-15E6-C0C7-80755F72301D}"/>
              </a:ext>
            </a:extLst>
          </p:cNvPr>
          <p:cNvGrpSpPr/>
          <p:nvPr/>
        </p:nvGrpSpPr>
        <p:grpSpPr>
          <a:xfrm>
            <a:off x="8800121" y="1267963"/>
            <a:ext cx="2747049" cy="4687441"/>
            <a:chOff x="8800121" y="1267963"/>
            <a:chExt cx="2747049" cy="4687441"/>
          </a:xfrm>
        </p:grpSpPr>
        <p:sp>
          <p:nvSpPr>
            <p:cNvPr id="28" name="Cylinder 20">
              <a:extLst>
                <a:ext uri="{FF2B5EF4-FFF2-40B4-BE49-F238E27FC236}">
                  <a16:creationId xmlns:a16="http://schemas.microsoft.com/office/drawing/2014/main" id="{C926A3C5-7195-9CC0-8B08-CB39C09768FE}"/>
                </a:ext>
              </a:extLst>
            </p:cNvPr>
            <p:cNvSpPr/>
            <p:nvPr/>
          </p:nvSpPr>
          <p:spPr>
            <a:xfrm>
              <a:off x="8800121" y="5602632"/>
              <a:ext cx="1608083" cy="352772"/>
            </a:xfrm>
            <a:prstGeom prst="can">
              <a:avLst>
                <a:gd name="adj" fmla="val 50000"/>
              </a:avLst>
            </a:prstGeom>
            <a:solidFill>
              <a:schemeClr val="bg2">
                <a:lumMod val="25000"/>
              </a:schemeClr>
            </a:solidFill>
            <a:ln>
              <a:solidFill>
                <a:schemeClr val="bg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Freeform: Shape 21">
              <a:extLst>
                <a:ext uri="{FF2B5EF4-FFF2-40B4-BE49-F238E27FC236}">
                  <a16:creationId xmlns:a16="http://schemas.microsoft.com/office/drawing/2014/main" id="{F057B263-10BF-D5A5-C997-277FE8B4DCBA}"/>
                </a:ext>
              </a:extLst>
            </p:cNvPr>
            <p:cNvSpPr/>
            <p:nvPr/>
          </p:nvSpPr>
          <p:spPr>
            <a:xfrm rot="5400000">
              <a:off x="9571854" y="1273071"/>
              <a:ext cx="1105715" cy="1163157"/>
            </a:xfrm>
            <a:custGeom>
              <a:avLst/>
              <a:gdLst>
                <a:gd name="connsiteX0" fmla="*/ 0 w 1105715"/>
                <a:gd name="connsiteY0" fmla="*/ 1039979 h 1163157"/>
                <a:gd name="connsiteX1" fmla="*/ 0 w 1105715"/>
                <a:gd name="connsiteY1" fmla="*/ 739055 h 1163157"/>
                <a:gd name="connsiteX2" fmla="*/ 0 w 1105715"/>
                <a:gd name="connsiteY2" fmla="*/ 492705 h 1163157"/>
                <a:gd name="connsiteX3" fmla="*/ 0 w 1105715"/>
                <a:gd name="connsiteY3" fmla="*/ 0 h 1163157"/>
                <a:gd name="connsiteX4" fmla="*/ 76289 w 1105715"/>
                <a:gd name="connsiteY4" fmla="*/ 0 h 1163157"/>
                <a:gd name="connsiteX5" fmla="*/ 76289 w 1105715"/>
                <a:gd name="connsiteY5" fmla="*/ 378994 h 1163157"/>
                <a:gd name="connsiteX6" fmla="*/ 76293 w 1105715"/>
                <a:gd name="connsiteY6" fmla="*/ 378993 h 1163157"/>
                <a:gd name="connsiteX7" fmla="*/ 76293 w 1105715"/>
                <a:gd name="connsiteY7" fmla="*/ 1045412 h 1163157"/>
                <a:gd name="connsiteX8" fmla="*/ 117748 w 1105715"/>
                <a:gd name="connsiteY8" fmla="*/ 1086866 h 1163157"/>
                <a:gd name="connsiteX9" fmla="*/ 729590 w 1105715"/>
                <a:gd name="connsiteY9" fmla="*/ 1086866 h 1163157"/>
                <a:gd name="connsiteX10" fmla="*/ 729590 w 1105715"/>
                <a:gd name="connsiteY10" fmla="*/ 1086868 h 1163157"/>
                <a:gd name="connsiteX11" fmla="*/ 1105715 w 1105715"/>
                <a:gd name="connsiteY11" fmla="*/ 1086868 h 1163157"/>
                <a:gd name="connsiteX12" fmla="*/ 1105715 w 1105715"/>
                <a:gd name="connsiteY12" fmla="*/ 1163157 h 1163157"/>
                <a:gd name="connsiteX13" fmla="*/ 615878 w 1105715"/>
                <a:gd name="connsiteY13" fmla="*/ 1163157 h 1163157"/>
                <a:gd name="connsiteX14" fmla="*/ 366660 w 1105715"/>
                <a:gd name="connsiteY14" fmla="*/ 1163157 h 1163157"/>
                <a:gd name="connsiteX15" fmla="*/ 123178 w 1105715"/>
                <a:gd name="connsiteY15" fmla="*/ 1163157 h 1163157"/>
                <a:gd name="connsiteX16" fmla="*/ 0 w 1105715"/>
                <a:gd name="connsiteY16" fmla="*/ 1039979 h 1163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05715" h="1163157">
                  <a:moveTo>
                    <a:pt x="0" y="1039979"/>
                  </a:moveTo>
                  <a:lnTo>
                    <a:pt x="0" y="739055"/>
                  </a:lnTo>
                  <a:lnTo>
                    <a:pt x="0" y="492705"/>
                  </a:lnTo>
                  <a:lnTo>
                    <a:pt x="0" y="0"/>
                  </a:lnTo>
                  <a:lnTo>
                    <a:pt x="76289" y="0"/>
                  </a:lnTo>
                  <a:lnTo>
                    <a:pt x="76289" y="378994"/>
                  </a:lnTo>
                  <a:lnTo>
                    <a:pt x="76293" y="378993"/>
                  </a:lnTo>
                  <a:lnTo>
                    <a:pt x="76293" y="1045412"/>
                  </a:lnTo>
                  <a:cubicBezTo>
                    <a:pt x="76293" y="1068306"/>
                    <a:pt x="94853" y="1086866"/>
                    <a:pt x="117748" y="1086866"/>
                  </a:cubicBezTo>
                  <a:lnTo>
                    <a:pt x="729590" y="1086866"/>
                  </a:lnTo>
                  <a:lnTo>
                    <a:pt x="729590" y="1086868"/>
                  </a:lnTo>
                  <a:lnTo>
                    <a:pt x="1105715" y="1086868"/>
                  </a:lnTo>
                  <a:lnTo>
                    <a:pt x="1105715" y="1163157"/>
                  </a:lnTo>
                  <a:lnTo>
                    <a:pt x="615878" y="1163157"/>
                  </a:lnTo>
                  <a:lnTo>
                    <a:pt x="366660" y="1163157"/>
                  </a:lnTo>
                  <a:lnTo>
                    <a:pt x="123178" y="1163157"/>
                  </a:lnTo>
                  <a:cubicBezTo>
                    <a:pt x="55149" y="1163157"/>
                    <a:pt x="0" y="1108008"/>
                    <a:pt x="0" y="1039979"/>
                  </a:cubicBezTo>
                  <a:close/>
                </a:path>
              </a:pathLst>
            </a:cu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0" name="Rectangle 29">
              <a:extLst>
                <a:ext uri="{FF2B5EF4-FFF2-40B4-BE49-F238E27FC236}">
                  <a16:creationId xmlns:a16="http://schemas.microsoft.com/office/drawing/2014/main" id="{8AA9F6AB-0E2A-6343-4843-FBAA402BD622}"/>
                </a:ext>
              </a:extLst>
            </p:cNvPr>
            <p:cNvSpPr/>
            <p:nvPr/>
          </p:nvSpPr>
          <p:spPr>
            <a:xfrm rot="5400000">
              <a:off x="9211750" y="5260939"/>
              <a:ext cx="739055" cy="76289"/>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Freeform: Shape 23">
              <a:extLst>
                <a:ext uri="{FF2B5EF4-FFF2-40B4-BE49-F238E27FC236}">
                  <a16:creationId xmlns:a16="http://schemas.microsoft.com/office/drawing/2014/main" id="{055E6A86-B407-9A1C-C602-C8DFB0EE18E3}"/>
                </a:ext>
              </a:extLst>
            </p:cNvPr>
            <p:cNvSpPr/>
            <p:nvPr/>
          </p:nvSpPr>
          <p:spPr>
            <a:xfrm>
              <a:off x="9653928" y="1411911"/>
              <a:ext cx="1847472" cy="3632438"/>
            </a:xfrm>
            <a:custGeom>
              <a:avLst/>
              <a:gdLst>
                <a:gd name="connsiteX0" fmla="*/ 266927 w 1847472"/>
                <a:gd name="connsiteY0" fmla="*/ 0 h 3632438"/>
                <a:gd name="connsiteX1" fmla="*/ 1847472 w 1847472"/>
                <a:gd name="connsiteY1" fmla="*/ 0 h 3632438"/>
                <a:gd name="connsiteX2" fmla="*/ 1847472 w 1847472"/>
                <a:gd name="connsiteY2" fmla="*/ 3632438 h 3632438"/>
                <a:gd name="connsiteX3" fmla="*/ 0 w 1847472"/>
                <a:gd name="connsiteY3" fmla="*/ 3632438 h 3632438"/>
                <a:gd name="connsiteX4" fmla="*/ 0 w 1847472"/>
                <a:gd name="connsiteY4" fmla="*/ 225231 h 3632438"/>
                <a:gd name="connsiteX5" fmla="*/ 59505 w 1847472"/>
                <a:gd name="connsiteY5" fmla="*/ 205325 h 3632438"/>
                <a:gd name="connsiteX6" fmla="*/ 161196 w 1847472"/>
                <a:gd name="connsiteY6" fmla="*/ 138948 h 3632438"/>
                <a:gd name="connsiteX7" fmla="*/ 242112 w 1847472"/>
                <a:gd name="connsiteY7" fmla="*/ 48395 h 3632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47472" h="3632438">
                  <a:moveTo>
                    <a:pt x="266927" y="0"/>
                  </a:moveTo>
                  <a:lnTo>
                    <a:pt x="1847472" y="0"/>
                  </a:lnTo>
                  <a:lnTo>
                    <a:pt x="1847472" y="3632438"/>
                  </a:lnTo>
                  <a:lnTo>
                    <a:pt x="0" y="3632438"/>
                  </a:lnTo>
                  <a:lnTo>
                    <a:pt x="0" y="225231"/>
                  </a:lnTo>
                  <a:lnTo>
                    <a:pt x="59505" y="205325"/>
                  </a:lnTo>
                  <a:cubicBezTo>
                    <a:pt x="95807" y="187906"/>
                    <a:pt x="129920" y="165826"/>
                    <a:pt x="161196" y="138948"/>
                  </a:cubicBezTo>
                  <a:cubicBezTo>
                    <a:pt x="192472" y="112069"/>
                    <a:pt x="219431" y="81665"/>
                    <a:pt x="242112" y="48395"/>
                  </a:cubicBezTo>
                  <a:close/>
                </a:path>
              </a:pathLst>
            </a:cu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2" name="Rectangle 31">
              <a:extLst>
                <a:ext uri="{FF2B5EF4-FFF2-40B4-BE49-F238E27FC236}">
                  <a16:creationId xmlns:a16="http://schemas.microsoft.com/office/drawing/2014/main" id="{F3E5A6E7-DFB3-D7B6-5424-19CA5F71F237}"/>
                </a:ext>
              </a:extLst>
            </p:cNvPr>
            <p:cNvSpPr/>
            <p:nvPr/>
          </p:nvSpPr>
          <p:spPr>
            <a:xfrm rot="5400000">
              <a:off x="7795050" y="3256127"/>
              <a:ext cx="3572455" cy="145300"/>
            </a:xfrm>
            <a:prstGeom prst="rect">
              <a:avLst/>
            </a:prstGeom>
            <a:gradFill flip="none" rotWithShape="1">
              <a:gsLst>
                <a:gs pos="0">
                  <a:schemeClr val="tx1">
                    <a:lumMod val="95000"/>
                    <a:lumOff val="5000"/>
                  </a:schemeClr>
                </a:gs>
                <a:gs pos="23000">
                  <a:schemeClr val="tx1">
                    <a:lumMod val="75000"/>
                    <a:lumOff val="25000"/>
                  </a:schemeClr>
                </a:gs>
                <a:gs pos="69000">
                  <a:schemeClr val="bg2">
                    <a:lumMod val="50000"/>
                  </a:schemeClr>
                </a:gs>
                <a:gs pos="97000">
                  <a:schemeClr val="tx1">
                    <a:lumMod val="95000"/>
                    <a:lumOff val="5000"/>
                  </a:schemeClr>
                </a:gs>
              </a:gsLst>
              <a:lin ang="540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08E0BCE7-8626-001D-5660-F7A46BAEB4C4}"/>
                </a:ext>
              </a:extLst>
            </p:cNvPr>
            <p:cNvSpPr/>
            <p:nvPr/>
          </p:nvSpPr>
          <p:spPr>
            <a:xfrm>
              <a:off x="9809203" y="1267963"/>
              <a:ext cx="1737967" cy="143947"/>
            </a:xfrm>
            <a:prstGeom prst="rect">
              <a:avLst/>
            </a:prstGeom>
            <a:gradFill flip="none" rotWithShape="1">
              <a:gsLst>
                <a:gs pos="0">
                  <a:schemeClr val="tx1">
                    <a:lumMod val="95000"/>
                    <a:lumOff val="5000"/>
                  </a:schemeClr>
                </a:gs>
                <a:gs pos="23000">
                  <a:schemeClr val="tx1">
                    <a:lumMod val="75000"/>
                    <a:lumOff val="25000"/>
                  </a:schemeClr>
                </a:gs>
                <a:gs pos="69000">
                  <a:schemeClr val="bg2">
                    <a:lumMod val="50000"/>
                  </a:schemeClr>
                </a:gs>
                <a:gs pos="97000">
                  <a:schemeClr val="tx1">
                    <a:lumMod val="95000"/>
                    <a:lumOff val="5000"/>
                  </a:schemeClr>
                </a:gs>
              </a:gsLst>
              <a:lin ang="540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4" name="TextBox 33">
            <a:extLst>
              <a:ext uri="{FF2B5EF4-FFF2-40B4-BE49-F238E27FC236}">
                <a16:creationId xmlns:a16="http://schemas.microsoft.com/office/drawing/2014/main" id="{A032C170-B221-6933-79C6-28799D1F9044}"/>
              </a:ext>
            </a:extLst>
          </p:cNvPr>
          <p:cNvSpPr txBox="1"/>
          <p:nvPr/>
        </p:nvSpPr>
        <p:spPr>
          <a:xfrm>
            <a:off x="1637979" y="2517626"/>
            <a:ext cx="1568789" cy="400110"/>
          </a:xfrm>
          <a:prstGeom prst="rect">
            <a:avLst/>
          </a:prstGeom>
          <a:noFill/>
        </p:spPr>
        <p:txBody>
          <a:bodyPr wrap="square" lIns="0" rIns="0" rtlCol="0" anchor="b">
            <a:spAutoFit/>
          </a:bodyPr>
          <a:lstStyle/>
          <a:p>
            <a:r>
              <a:rPr lang="en-US" sz="2000" b="1" noProof="1">
                <a:solidFill>
                  <a:schemeClr val="bg1"/>
                </a:solidFill>
              </a:rPr>
              <a:t>Sense</a:t>
            </a:r>
          </a:p>
        </p:txBody>
      </p:sp>
      <p:sp>
        <p:nvSpPr>
          <p:cNvPr id="35" name="TextBox 34">
            <a:extLst>
              <a:ext uri="{FF2B5EF4-FFF2-40B4-BE49-F238E27FC236}">
                <a16:creationId xmlns:a16="http://schemas.microsoft.com/office/drawing/2014/main" id="{2C8E1241-626B-0A07-4582-E81EE6388607}"/>
              </a:ext>
            </a:extLst>
          </p:cNvPr>
          <p:cNvSpPr txBox="1"/>
          <p:nvPr/>
        </p:nvSpPr>
        <p:spPr>
          <a:xfrm>
            <a:off x="1637979" y="3149129"/>
            <a:ext cx="1568789" cy="830997"/>
          </a:xfrm>
          <a:prstGeom prst="rect">
            <a:avLst/>
          </a:prstGeom>
          <a:noFill/>
        </p:spPr>
        <p:txBody>
          <a:bodyPr wrap="square" lIns="0" rIns="0" rtlCol="0" anchor="t">
            <a:spAutoFit/>
          </a:bodyPr>
          <a:lstStyle/>
          <a:p>
            <a:r>
              <a:rPr lang="en-US" sz="1200" noProof="1">
                <a:solidFill>
                  <a:schemeClr val="bg1"/>
                </a:solidFill>
              </a:rPr>
              <a:t>Gather information, input, and check what is needed to complete the task.</a:t>
            </a:r>
          </a:p>
        </p:txBody>
      </p:sp>
      <p:sp>
        <p:nvSpPr>
          <p:cNvPr id="36" name="TextBox 35">
            <a:extLst>
              <a:ext uri="{FF2B5EF4-FFF2-40B4-BE49-F238E27FC236}">
                <a16:creationId xmlns:a16="http://schemas.microsoft.com/office/drawing/2014/main" id="{7A1EACEE-C5F7-3675-C8E6-EA7F96CA456D}"/>
              </a:ext>
            </a:extLst>
          </p:cNvPr>
          <p:cNvSpPr txBox="1"/>
          <p:nvPr/>
        </p:nvSpPr>
        <p:spPr>
          <a:xfrm>
            <a:off x="4356409" y="2517626"/>
            <a:ext cx="1568789" cy="400110"/>
          </a:xfrm>
          <a:prstGeom prst="rect">
            <a:avLst/>
          </a:prstGeom>
          <a:noFill/>
        </p:spPr>
        <p:txBody>
          <a:bodyPr wrap="square" lIns="0" rIns="0" rtlCol="0" anchor="b">
            <a:spAutoFit/>
          </a:bodyPr>
          <a:lstStyle/>
          <a:p>
            <a:r>
              <a:rPr lang="en-US" sz="2000" b="1" noProof="1">
                <a:solidFill>
                  <a:schemeClr val="bg1"/>
                </a:solidFill>
              </a:rPr>
              <a:t>Plan</a:t>
            </a:r>
          </a:p>
        </p:txBody>
      </p:sp>
      <p:sp>
        <p:nvSpPr>
          <p:cNvPr id="37" name="TextBox 36">
            <a:extLst>
              <a:ext uri="{FF2B5EF4-FFF2-40B4-BE49-F238E27FC236}">
                <a16:creationId xmlns:a16="http://schemas.microsoft.com/office/drawing/2014/main" id="{B791AFAA-75BE-7DD9-4CA7-4D9CCADCAF23}"/>
              </a:ext>
            </a:extLst>
          </p:cNvPr>
          <p:cNvSpPr txBox="1"/>
          <p:nvPr/>
        </p:nvSpPr>
        <p:spPr>
          <a:xfrm>
            <a:off x="4356409" y="3149129"/>
            <a:ext cx="1568789" cy="1384995"/>
          </a:xfrm>
          <a:prstGeom prst="rect">
            <a:avLst/>
          </a:prstGeom>
          <a:noFill/>
        </p:spPr>
        <p:txBody>
          <a:bodyPr wrap="square" lIns="0" rIns="0" rtlCol="0" anchor="t">
            <a:spAutoFit/>
          </a:bodyPr>
          <a:lstStyle/>
          <a:p>
            <a:r>
              <a:rPr lang="en-US" sz="1200" noProof="1">
                <a:solidFill>
                  <a:schemeClr val="bg1"/>
                </a:solidFill>
              </a:rPr>
              <a:t>Think, analyze and map what approach fits the criteria and satisfies the goal. Outline the specific steps to accomplish this goal.</a:t>
            </a:r>
          </a:p>
        </p:txBody>
      </p:sp>
      <p:sp>
        <p:nvSpPr>
          <p:cNvPr id="38" name="TextBox 37">
            <a:extLst>
              <a:ext uri="{FF2B5EF4-FFF2-40B4-BE49-F238E27FC236}">
                <a16:creationId xmlns:a16="http://schemas.microsoft.com/office/drawing/2014/main" id="{3F5421F2-89DA-C4DA-48CE-6F99D6C77343}"/>
              </a:ext>
            </a:extLst>
          </p:cNvPr>
          <p:cNvSpPr txBox="1"/>
          <p:nvPr/>
        </p:nvSpPr>
        <p:spPr>
          <a:xfrm>
            <a:off x="7074839" y="2517626"/>
            <a:ext cx="1568789" cy="400110"/>
          </a:xfrm>
          <a:prstGeom prst="rect">
            <a:avLst/>
          </a:prstGeom>
          <a:noFill/>
        </p:spPr>
        <p:txBody>
          <a:bodyPr wrap="square" lIns="0" rIns="0" rtlCol="0" anchor="b">
            <a:spAutoFit/>
          </a:bodyPr>
          <a:lstStyle/>
          <a:p>
            <a:r>
              <a:rPr lang="en-US" sz="2000" b="1" noProof="1">
                <a:solidFill>
                  <a:schemeClr val="bg1"/>
                </a:solidFill>
              </a:rPr>
              <a:t>Act</a:t>
            </a:r>
          </a:p>
        </p:txBody>
      </p:sp>
      <p:sp>
        <p:nvSpPr>
          <p:cNvPr id="39" name="TextBox 38">
            <a:extLst>
              <a:ext uri="{FF2B5EF4-FFF2-40B4-BE49-F238E27FC236}">
                <a16:creationId xmlns:a16="http://schemas.microsoft.com/office/drawing/2014/main" id="{1F1F39CE-A334-AEE3-C9C8-612EDC2B7EAC}"/>
              </a:ext>
            </a:extLst>
          </p:cNvPr>
          <p:cNvSpPr txBox="1"/>
          <p:nvPr/>
        </p:nvSpPr>
        <p:spPr>
          <a:xfrm>
            <a:off x="7074839" y="3149129"/>
            <a:ext cx="1568789" cy="1384995"/>
          </a:xfrm>
          <a:prstGeom prst="rect">
            <a:avLst/>
          </a:prstGeom>
          <a:noFill/>
        </p:spPr>
        <p:txBody>
          <a:bodyPr wrap="square" lIns="0" rIns="0" rtlCol="0" anchor="t">
            <a:spAutoFit/>
          </a:bodyPr>
          <a:lstStyle/>
          <a:p>
            <a:r>
              <a:rPr lang="en-US" sz="1200" noProof="1">
                <a:solidFill>
                  <a:schemeClr val="bg1"/>
                </a:solidFill>
              </a:rPr>
              <a:t>Execute on the plan which might require the coordination across several assets, tools, and action sequences within a defined environment.</a:t>
            </a:r>
          </a:p>
        </p:txBody>
      </p:sp>
      <p:sp>
        <p:nvSpPr>
          <p:cNvPr id="40" name="TextBox 39">
            <a:extLst>
              <a:ext uri="{FF2B5EF4-FFF2-40B4-BE49-F238E27FC236}">
                <a16:creationId xmlns:a16="http://schemas.microsoft.com/office/drawing/2014/main" id="{D9422195-482D-ABC8-D05D-0CE5BBE2A3FE}"/>
              </a:ext>
            </a:extLst>
          </p:cNvPr>
          <p:cNvSpPr txBox="1"/>
          <p:nvPr/>
        </p:nvSpPr>
        <p:spPr>
          <a:xfrm>
            <a:off x="9793270" y="2517626"/>
            <a:ext cx="1568789" cy="400110"/>
          </a:xfrm>
          <a:prstGeom prst="rect">
            <a:avLst/>
          </a:prstGeom>
          <a:noFill/>
        </p:spPr>
        <p:txBody>
          <a:bodyPr wrap="square" lIns="0" rIns="0" rtlCol="0" anchor="b">
            <a:spAutoFit/>
          </a:bodyPr>
          <a:lstStyle/>
          <a:p>
            <a:r>
              <a:rPr lang="en-US" sz="2000" b="1" noProof="1">
                <a:solidFill>
                  <a:schemeClr val="bg1"/>
                </a:solidFill>
              </a:rPr>
              <a:t>React</a:t>
            </a:r>
          </a:p>
        </p:txBody>
      </p:sp>
      <p:sp>
        <p:nvSpPr>
          <p:cNvPr id="41" name="TextBox 40">
            <a:extLst>
              <a:ext uri="{FF2B5EF4-FFF2-40B4-BE49-F238E27FC236}">
                <a16:creationId xmlns:a16="http://schemas.microsoft.com/office/drawing/2014/main" id="{5E8D55FE-2BF0-A0B8-2F65-0D528114DECD}"/>
              </a:ext>
            </a:extLst>
          </p:cNvPr>
          <p:cNvSpPr txBox="1"/>
          <p:nvPr/>
        </p:nvSpPr>
        <p:spPr>
          <a:xfrm>
            <a:off x="9793270" y="3149129"/>
            <a:ext cx="1568789" cy="1384995"/>
          </a:xfrm>
          <a:prstGeom prst="rect">
            <a:avLst/>
          </a:prstGeom>
          <a:noFill/>
        </p:spPr>
        <p:txBody>
          <a:bodyPr wrap="square" lIns="0" rIns="0" rtlCol="0" anchor="t">
            <a:spAutoFit/>
          </a:bodyPr>
          <a:lstStyle/>
          <a:p>
            <a:r>
              <a:rPr lang="en-US" sz="1200" noProof="1">
                <a:solidFill>
                  <a:schemeClr val="bg1"/>
                </a:solidFill>
              </a:rPr>
              <a:t>Learn from experience. Reacting to the plan and action and reflect on the results. Did the outcome meet the criteria and satisfy the goal?</a:t>
            </a:r>
          </a:p>
        </p:txBody>
      </p:sp>
      <p:pic>
        <p:nvPicPr>
          <p:cNvPr id="42" name="Graphic 41" descr="Badge 1 with solid fill">
            <a:extLst>
              <a:ext uri="{FF2B5EF4-FFF2-40B4-BE49-F238E27FC236}">
                <a16:creationId xmlns:a16="http://schemas.microsoft.com/office/drawing/2014/main" id="{49AEF433-4B86-574F-ED1D-1B1D78953AB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052845" y="1730018"/>
            <a:ext cx="739056" cy="739056"/>
          </a:xfrm>
          <a:prstGeom prst="rect">
            <a:avLst/>
          </a:prstGeom>
        </p:spPr>
      </p:pic>
      <p:pic>
        <p:nvPicPr>
          <p:cNvPr id="43" name="Graphic 42" descr="Badge with solid fill">
            <a:extLst>
              <a:ext uri="{FF2B5EF4-FFF2-40B4-BE49-F238E27FC236}">
                <a16:creationId xmlns:a16="http://schemas.microsoft.com/office/drawing/2014/main" id="{4EA801D9-2C1D-4F12-E02A-5822F31C487E}"/>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4771275" y="1730018"/>
            <a:ext cx="739056" cy="739056"/>
          </a:xfrm>
          <a:prstGeom prst="rect">
            <a:avLst/>
          </a:prstGeom>
        </p:spPr>
      </p:pic>
      <p:pic>
        <p:nvPicPr>
          <p:cNvPr id="44" name="Graphic 43" descr="Badge 3 with solid fill">
            <a:extLst>
              <a:ext uri="{FF2B5EF4-FFF2-40B4-BE49-F238E27FC236}">
                <a16:creationId xmlns:a16="http://schemas.microsoft.com/office/drawing/2014/main" id="{9CEDAC38-A3D7-6423-B59C-8ABA90DB401E}"/>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7489705" y="1730018"/>
            <a:ext cx="739056" cy="739056"/>
          </a:xfrm>
          <a:prstGeom prst="rect">
            <a:avLst/>
          </a:prstGeom>
        </p:spPr>
      </p:pic>
      <p:pic>
        <p:nvPicPr>
          <p:cNvPr id="45" name="Graphic 44" descr="Badge 4 with solid fill">
            <a:extLst>
              <a:ext uri="{FF2B5EF4-FFF2-40B4-BE49-F238E27FC236}">
                <a16:creationId xmlns:a16="http://schemas.microsoft.com/office/drawing/2014/main" id="{76C967EF-1C50-C5E6-6848-7AB874FA9632}"/>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10208136" y="1730018"/>
            <a:ext cx="739056" cy="739056"/>
          </a:xfrm>
          <a:prstGeom prst="rect">
            <a:avLst/>
          </a:prstGeom>
        </p:spPr>
      </p:pic>
      <p:cxnSp>
        <p:nvCxnSpPr>
          <p:cNvPr id="46" name="Straight Connector 45">
            <a:extLst>
              <a:ext uri="{FF2B5EF4-FFF2-40B4-BE49-F238E27FC236}">
                <a16:creationId xmlns:a16="http://schemas.microsoft.com/office/drawing/2014/main" id="{D065D16B-5E65-453F-B261-DBB1D88065B1}"/>
              </a:ext>
            </a:extLst>
          </p:cNvPr>
          <p:cNvCxnSpPr>
            <a:cxnSpLocks/>
          </p:cNvCxnSpPr>
          <p:nvPr/>
        </p:nvCxnSpPr>
        <p:spPr>
          <a:xfrm>
            <a:off x="1637979" y="3033432"/>
            <a:ext cx="1568789" cy="0"/>
          </a:xfrm>
          <a:prstGeom prst="line">
            <a:avLst/>
          </a:prstGeom>
          <a:ln w="38100" cap="rnd">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E9F6B5FE-C57D-A55C-E1B2-B5DBF994E1A8}"/>
              </a:ext>
            </a:extLst>
          </p:cNvPr>
          <p:cNvCxnSpPr>
            <a:cxnSpLocks/>
          </p:cNvCxnSpPr>
          <p:nvPr/>
        </p:nvCxnSpPr>
        <p:spPr>
          <a:xfrm>
            <a:off x="4356409" y="3033432"/>
            <a:ext cx="1568789" cy="0"/>
          </a:xfrm>
          <a:prstGeom prst="line">
            <a:avLst/>
          </a:prstGeom>
          <a:ln w="38100" cap="rnd">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0F1AB79A-AFBD-7AB1-D549-1F7D21F313B7}"/>
              </a:ext>
            </a:extLst>
          </p:cNvPr>
          <p:cNvCxnSpPr>
            <a:cxnSpLocks/>
          </p:cNvCxnSpPr>
          <p:nvPr/>
        </p:nvCxnSpPr>
        <p:spPr>
          <a:xfrm>
            <a:off x="7074839" y="3033432"/>
            <a:ext cx="1568789" cy="0"/>
          </a:xfrm>
          <a:prstGeom prst="line">
            <a:avLst/>
          </a:prstGeom>
          <a:ln w="38100" cap="rnd">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2361F303-FCCD-2506-45AA-0928869B9D13}"/>
              </a:ext>
            </a:extLst>
          </p:cNvPr>
          <p:cNvCxnSpPr>
            <a:cxnSpLocks/>
          </p:cNvCxnSpPr>
          <p:nvPr/>
        </p:nvCxnSpPr>
        <p:spPr>
          <a:xfrm>
            <a:off x="9793270" y="3033432"/>
            <a:ext cx="1568789" cy="0"/>
          </a:xfrm>
          <a:prstGeom prst="line">
            <a:avLst/>
          </a:prstGeom>
          <a:ln w="38100" cap="rnd">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AAF85FF9-3ACD-4090-742E-2DADC2CC50D2}"/>
              </a:ext>
            </a:extLst>
          </p:cNvPr>
          <p:cNvSpPr txBox="1"/>
          <p:nvPr/>
        </p:nvSpPr>
        <p:spPr>
          <a:xfrm>
            <a:off x="290678" y="901686"/>
            <a:ext cx="7115602" cy="276999"/>
          </a:xfrm>
          <a:prstGeom prst="rect">
            <a:avLst/>
          </a:prstGeom>
          <a:noFill/>
        </p:spPr>
        <p:txBody>
          <a:bodyPr wrap="none" rtlCol="0">
            <a:spAutoFit/>
          </a:bodyPr>
          <a:lstStyle/>
          <a:p>
            <a:r>
              <a:rPr lang="en-US" sz="1200"/>
              <a:t>The integration across Sense, Plan, Act, React is a fundamental shift away from traditional automation.</a:t>
            </a:r>
          </a:p>
        </p:txBody>
      </p:sp>
    </p:spTree>
    <p:extLst>
      <p:ext uri="{BB962C8B-B14F-4D97-AF65-F5344CB8AC3E}">
        <p14:creationId xmlns:p14="http://schemas.microsoft.com/office/powerpoint/2010/main" val="190665261"/>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8745148A-33ED-0B07-115A-398DB440DF2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9ADA310-E625-C9BC-72A3-4C0D592036B0}"/>
              </a:ext>
            </a:extLst>
          </p:cNvPr>
          <p:cNvSpPr>
            <a:spLocks noGrp="1"/>
          </p:cNvSpPr>
          <p:nvPr>
            <p:ph type="title"/>
          </p:nvPr>
        </p:nvSpPr>
        <p:spPr/>
        <p:txBody>
          <a:bodyPr/>
          <a:lstStyle/>
          <a:p>
            <a:r>
              <a:rPr lang="en-US"/>
              <a:t>Tool Resilience: Planning for the Inevitable</a:t>
            </a:r>
          </a:p>
        </p:txBody>
      </p:sp>
    </p:spTree>
    <p:extLst>
      <p:ext uri="{BB962C8B-B14F-4D97-AF65-F5344CB8AC3E}">
        <p14:creationId xmlns:p14="http://schemas.microsoft.com/office/powerpoint/2010/main" val="1848716897"/>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61B598C9-5611-3D6B-F6C0-B95179375BD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166EC49-B810-E6DE-5BD9-C2C1A2BDA55E}"/>
              </a:ext>
            </a:extLst>
          </p:cNvPr>
          <p:cNvSpPr>
            <a:spLocks noGrp="1"/>
          </p:cNvSpPr>
          <p:nvPr>
            <p:ph type="title"/>
          </p:nvPr>
        </p:nvSpPr>
        <p:spPr/>
        <p:txBody>
          <a:bodyPr/>
          <a:lstStyle/>
          <a:p>
            <a:r>
              <a:rPr lang="en-US"/>
              <a:t>The Science Behind AI Agent Behavior</a:t>
            </a:r>
          </a:p>
        </p:txBody>
      </p:sp>
    </p:spTree>
    <p:extLst>
      <p:ext uri="{BB962C8B-B14F-4D97-AF65-F5344CB8AC3E}">
        <p14:creationId xmlns:p14="http://schemas.microsoft.com/office/powerpoint/2010/main" val="1176460455"/>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1A42748F-95B3-6403-C811-5DEC43B0D95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82B1787-2A12-4A95-0DA7-C6138AD41B60}"/>
              </a:ext>
            </a:extLst>
          </p:cNvPr>
          <p:cNvSpPr>
            <a:spLocks noGrp="1"/>
          </p:cNvSpPr>
          <p:nvPr>
            <p:ph type="title"/>
          </p:nvPr>
        </p:nvSpPr>
        <p:spPr/>
        <p:txBody>
          <a:bodyPr/>
          <a:lstStyle/>
          <a:p>
            <a:r>
              <a:rPr lang="en-US"/>
              <a:t>When Tools Meet Trust</a:t>
            </a:r>
          </a:p>
        </p:txBody>
      </p:sp>
    </p:spTree>
    <p:extLst>
      <p:ext uri="{BB962C8B-B14F-4D97-AF65-F5344CB8AC3E}">
        <p14:creationId xmlns:p14="http://schemas.microsoft.com/office/powerpoint/2010/main" val="2038880499"/>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1ADD8C1E-856E-1DAF-525F-18B731E0541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2E2F16D-D472-6BB0-0061-681512E6DAB2}"/>
              </a:ext>
            </a:extLst>
          </p:cNvPr>
          <p:cNvSpPr>
            <a:spLocks noGrp="1"/>
          </p:cNvSpPr>
          <p:nvPr>
            <p:ph type="title"/>
          </p:nvPr>
        </p:nvSpPr>
        <p:spPr/>
        <p:txBody>
          <a:bodyPr/>
          <a:lstStyle/>
          <a:p>
            <a:r>
              <a:rPr lang="en-US"/>
              <a:t>Monitoring, Auditing, and Keeping Agents in Check</a:t>
            </a:r>
          </a:p>
        </p:txBody>
      </p:sp>
    </p:spTree>
    <p:extLst>
      <p:ext uri="{BB962C8B-B14F-4D97-AF65-F5344CB8AC3E}">
        <p14:creationId xmlns:p14="http://schemas.microsoft.com/office/powerpoint/2010/main" val="285656247"/>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20D2AC0E-306F-6401-36B3-FF70BE7375E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94ADEC9-F88C-314F-CA7D-7E6CAA1EA1CC}"/>
              </a:ext>
            </a:extLst>
          </p:cNvPr>
          <p:cNvSpPr>
            <a:spLocks noGrp="1"/>
          </p:cNvSpPr>
          <p:nvPr>
            <p:ph type="title"/>
          </p:nvPr>
        </p:nvSpPr>
        <p:spPr/>
        <p:txBody>
          <a:bodyPr/>
          <a:lstStyle/>
          <a:p>
            <a:r>
              <a:rPr lang="en-US"/>
              <a:t>When Things Go Wrong: Lessons from the Field</a:t>
            </a:r>
          </a:p>
        </p:txBody>
      </p:sp>
    </p:spTree>
    <p:extLst>
      <p:ext uri="{BB962C8B-B14F-4D97-AF65-F5344CB8AC3E}">
        <p14:creationId xmlns:p14="http://schemas.microsoft.com/office/powerpoint/2010/main" val="3766559337"/>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71B5D44E-EA82-25B6-840D-CF12EC87BD0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2AF20D5-57AB-CB02-13B4-5650FDE8437A}"/>
              </a:ext>
            </a:extLst>
          </p:cNvPr>
          <p:cNvSpPr>
            <a:spLocks noGrp="1"/>
          </p:cNvSpPr>
          <p:nvPr>
            <p:ph type="title"/>
          </p:nvPr>
        </p:nvSpPr>
        <p:spPr/>
        <p:txBody>
          <a:bodyPr/>
          <a:lstStyle/>
          <a:p>
            <a:r>
              <a:rPr lang="en-US"/>
              <a:t>The Future of Agent Adoption</a:t>
            </a:r>
          </a:p>
        </p:txBody>
      </p:sp>
    </p:spTree>
    <p:extLst>
      <p:ext uri="{BB962C8B-B14F-4D97-AF65-F5344CB8AC3E}">
        <p14:creationId xmlns:p14="http://schemas.microsoft.com/office/powerpoint/2010/main" val="3532994236"/>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D68CBE07-BB88-56EF-42B7-54E5367072D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1B91076-F676-0692-7706-C03548FC8C03}"/>
              </a:ext>
            </a:extLst>
          </p:cNvPr>
          <p:cNvSpPr>
            <a:spLocks noGrp="1"/>
          </p:cNvSpPr>
          <p:nvPr>
            <p:ph type="title"/>
          </p:nvPr>
        </p:nvSpPr>
        <p:spPr/>
        <p:txBody>
          <a:bodyPr/>
          <a:lstStyle/>
          <a:p>
            <a:r>
              <a:rPr lang="en-US"/>
              <a:t>Paradox of Plenty: Why More Tools Can Mean More Constraints</a:t>
            </a:r>
          </a:p>
        </p:txBody>
      </p:sp>
    </p:spTree>
    <p:extLst>
      <p:ext uri="{BB962C8B-B14F-4D97-AF65-F5344CB8AC3E}">
        <p14:creationId xmlns:p14="http://schemas.microsoft.com/office/powerpoint/2010/main" val="3147735231"/>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9586BF-745C-9568-7611-B89FA797EA4E}"/>
              </a:ext>
            </a:extLst>
          </p:cNvPr>
          <p:cNvSpPr>
            <a:spLocks noGrp="1"/>
          </p:cNvSpPr>
          <p:nvPr>
            <p:ph type="title"/>
          </p:nvPr>
        </p:nvSpPr>
        <p:spPr/>
        <p:txBody>
          <a:bodyPr/>
          <a:lstStyle/>
          <a:p>
            <a:endParaRPr lang="en-US"/>
          </a:p>
        </p:txBody>
      </p:sp>
      <p:sp>
        <p:nvSpPr>
          <p:cNvPr id="3" name="Teardrop 2">
            <a:extLst>
              <a:ext uri="{FF2B5EF4-FFF2-40B4-BE49-F238E27FC236}">
                <a16:creationId xmlns:a16="http://schemas.microsoft.com/office/drawing/2014/main" id="{E1C4CBDC-B932-0C6A-D41A-36BE2AD29DA8}"/>
              </a:ext>
            </a:extLst>
          </p:cNvPr>
          <p:cNvSpPr/>
          <p:nvPr/>
        </p:nvSpPr>
        <p:spPr>
          <a:xfrm>
            <a:off x="3689768" y="3428999"/>
            <a:ext cx="2406232" cy="2406232"/>
          </a:xfrm>
          <a:prstGeom prst="teardrop">
            <a:avLst/>
          </a:prstGeom>
          <a:solidFill>
            <a:schemeClr val="accent5">
              <a:lumMod val="20000"/>
              <a:lumOff val="80000"/>
            </a:schemeClr>
          </a:solidFill>
          <a:ln>
            <a:noFill/>
          </a:ln>
          <a:effectLst>
            <a:outerShdw blurRad="127000" sx="102000" sy="102000" algn="ctr" rotWithShape="0">
              <a:prstClr val="black">
                <a:alpha val="23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ardrop 3">
            <a:extLst>
              <a:ext uri="{FF2B5EF4-FFF2-40B4-BE49-F238E27FC236}">
                <a16:creationId xmlns:a16="http://schemas.microsoft.com/office/drawing/2014/main" id="{D9D2F3CF-FB3B-C8E6-A5E6-2BCEE71FEE09}"/>
              </a:ext>
            </a:extLst>
          </p:cNvPr>
          <p:cNvSpPr/>
          <p:nvPr/>
        </p:nvSpPr>
        <p:spPr>
          <a:xfrm rot="5400000">
            <a:off x="3689768" y="1022768"/>
            <a:ext cx="2406232" cy="2406232"/>
          </a:xfrm>
          <a:prstGeom prst="teardrop">
            <a:avLst/>
          </a:prstGeom>
          <a:solidFill>
            <a:schemeClr val="accent1">
              <a:lumMod val="20000"/>
              <a:lumOff val="80000"/>
            </a:schemeClr>
          </a:solidFill>
          <a:ln>
            <a:noFill/>
          </a:ln>
          <a:effectLst>
            <a:outerShdw blurRad="127000" sx="102000" sy="102000" algn="ctr" rotWithShape="0">
              <a:prstClr val="black">
                <a:alpha val="23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ardrop 4">
            <a:extLst>
              <a:ext uri="{FF2B5EF4-FFF2-40B4-BE49-F238E27FC236}">
                <a16:creationId xmlns:a16="http://schemas.microsoft.com/office/drawing/2014/main" id="{CDF9D02C-92CB-3B9D-788F-6FDE54AC7EC2}"/>
              </a:ext>
            </a:extLst>
          </p:cNvPr>
          <p:cNvSpPr/>
          <p:nvPr/>
        </p:nvSpPr>
        <p:spPr>
          <a:xfrm flipH="1">
            <a:off x="6096000" y="3428999"/>
            <a:ext cx="2406232" cy="2406232"/>
          </a:xfrm>
          <a:prstGeom prst="teardrop">
            <a:avLst/>
          </a:prstGeom>
          <a:solidFill>
            <a:schemeClr val="accent4">
              <a:lumMod val="20000"/>
              <a:lumOff val="80000"/>
            </a:schemeClr>
          </a:solidFill>
          <a:ln>
            <a:noFill/>
          </a:ln>
          <a:effectLst>
            <a:outerShdw blurRad="127000" sx="102000" sy="102000" algn="ctr" rotWithShape="0">
              <a:prstClr val="black">
                <a:alpha val="23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ardrop 5">
            <a:extLst>
              <a:ext uri="{FF2B5EF4-FFF2-40B4-BE49-F238E27FC236}">
                <a16:creationId xmlns:a16="http://schemas.microsoft.com/office/drawing/2014/main" id="{35E64918-A372-85FF-9EC0-FCBB0FF6DEF2}"/>
              </a:ext>
            </a:extLst>
          </p:cNvPr>
          <p:cNvSpPr/>
          <p:nvPr/>
        </p:nvSpPr>
        <p:spPr>
          <a:xfrm rot="16200000" flipH="1">
            <a:off x="6096000" y="1022768"/>
            <a:ext cx="2406232" cy="2406232"/>
          </a:xfrm>
          <a:prstGeom prst="teardrop">
            <a:avLst/>
          </a:prstGeom>
          <a:solidFill>
            <a:schemeClr val="accent3">
              <a:lumMod val="20000"/>
              <a:lumOff val="80000"/>
            </a:schemeClr>
          </a:solidFill>
          <a:ln>
            <a:noFill/>
          </a:ln>
          <a:effectLst>
            <a:outerShdw blurRad="127000" sx="102000" sy="102000" algn="ctr" rotWithShape="0">
              <a:prstClr val="black">
                <a:alpha val="23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val 6">
            <a:extLst>
              <a:ext uri="{FF2B5EF4-FFF2-40B4-BE49-F238E27FC236}">
                <a16:creationId xmlns:a16="http://schemas.microsoft.com/office/drawing/2014/main" id="{3D947DB6-ACA5-E4DC-FD34-B72FBFA40200}"/>
              </a:ext>
            </a:extLst>
          </p:cNvPr>
          <p:cNvSpPr/>
          <p:nvPr/>
        </p:nvSpPr>
        <p:spPr>
          <a:xfrm>
            <a:off x="4009053" y="3748284"/>
            <a:ext cx="1767662" cy="1767662"/>
          </a:xfrm>
          <a:prstGeom prst="ellipse">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a:extLst>
              <a:ext uri="{FF2B5EF4-FFF2-40B4-BE49-F238E27FC236}">
                <a16:creationId xmlns:a16="http://schemas.microsoft.com/office/drawing/2014/main" id="{756D620A-D59F-C5B0-1B2B-2BB1C4D30CBD}"/>
              </a:ext>
            </a:extLst>
          </p:cNvPr>
          <p:cNvSpPr/>
          <p:nvPr/>
        </p:nvSpPr>
        <p:spPr>
          <a:xfrm>
            <a:off x="6415285" y="3748284"/>
            <a:ext cx="1767662" cy="1767662"/>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a:extLst>
              <a:ext uri="{FF2B5EF4-FFF2-40B4-BE49-F238E27FC236}">
                <a16:creationId xmlns:a16="http://schemas.microsoft.com/office/drawing/2014/main" id="{1C99625D-BACC-4395-0AC5-04130CFDEAFE}"/>
              </a:ext>
            </a:extLst>
          </p:cNvPr>
          <p:cNvSpPr/>
          <p:nvPr/>
        </p:nvSpPr>
        <p:spPr>
          <a:xfrm>
            <a:off x="4009053" y="1342052"/>
            <a:ext cx="1767662" cy="1767662"/>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892E7708-C39B-5AAE-B64B-690EC986717F}"/>
              </a:ext>
            </a:extLst>
          </p:cNvPr>
          <p:cNvSpPr/>
          <p:nvPr/>
        </p:nvSpPr>
        <p:spPr>
          <a:xfrm>
            <a:off x="6415284" y="1346599"/>
            <a:ext cx="1767662" cy="1767662"/>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 name="Group 10">
            <a:extLst>
              <a:ext uri="{FF2B5EF4-FFF2-40B4-BE49-F238E27FC236}">
                <a16:creationId xmlns:a16="http://schemas.microsoft.com/office/drawing/2014/main" id="{F6465258-79CF-0513-2EE1-4732E020C7D7}"/>
              </a:ext>
            </a:extLst>
          </p:cNvPr>
          <p:cNvGrpSpPr/>
          <p:nvPr/>
        </p:nvGrpSpPr>
        <p:grpSpPr>
          <a:xfrm>
            <a:off x="8927481" y="3984371"/>
            <a:ext cx="2926080" cy="1290153"/>
            <a:chOff x="8921977" y="4652338"/>
            <a:chExt cx="2926080" cy="1290153"/>
          </a:xfrm>
        </p:grpSpPr>
        <p:sp>
          <p:nvSpPr>
            <p:cNvPr id="12" name="TextBox 11">
              <a:extLst>
                <a:ext uri="{FF2B5EF4-FFF2-40B4-BE49-F238E27FC236}">
                  <a16:creationId xmlns:a16="http://schemas.microsoft.com/office/drawing/2014/main" id="{FF184FC0-7DD3-3A8A-D905-9B29CB156B63}"/>
                </a:ext>
              </a:extLst>
            </p:cNvPr>
            <p:cNvSpPr txBox="1"/>
            <p:nvPr/>
          </p:nvSpPr>
          <p:spPr>
            <a:xfrm>
              <a:off x="8921977" y="4652338"/>
              <a:ext cx="2926080" cy="461665"/>
            </a:xfrm>
            <a:prstGeom prst="rect">
              <a:avLst/>
            </a:prstGeom>
            <a:noFill/>
          </p:spPr>
          <p:txBody>
            <a:bodyPr wrap="square" lIns="0" rIns="0" rtlCol="0" anchor="b">
              <a:spAutoFit/>
            </a:bodyPr>
            <a:lstStyle/>
            <a:p>
              <a:r>
                <a:rPr lang="en-US" sz="2400" b="1" noProof="1">
                  <a:solidFill>
                    <a:schemeClr val="accent4">
                      <a:lumMod val="75000"/>
                    </a:schemeClr>
                  </a:solidFill>
                </a:rPr>
                <a:t>Lorem Ipsum</a:t>
              </a:r>
            </a:p>
          </p:txBody>
        </p:sp>
        <p:sp>
          <p:nvSpPr>
            <p:cNvPr id="13" name="TextBox 12">
              <a:extLst>
                <a:ext uri="{FF2B5EF4-FFF2-40B4-BE49-F238E27FC236}">
                  <a16:creationId xmlns:a16="http://schemas.microsoft.com/office/drawing/2014/main" id="{2D932782-97D1-FC1A-5BC5-8A41AE258246}"/>
                </a:ext>
              </a:extLst>
            </p:cNvPr>
            <p:cNvSpPr txBox="1"/>
            <p:nvPr/>
          </p:nvSpPr>
          <p:spPr>
            <a:xfrm>
              <a:off x="8921977" y="5111494"/>
              <a:ext cx="2926080" cy="830997"/>
            </a:xfrm>
            <a:prstGeom prst="rect">
              <a:avLst/>
            </a:prstGeom>
            <a:noFill/>
          </p:spPr>
          <p:txBody>
            <a:bodyPr wrap="square" lIns="0" rIns="0" rtlCol="0" anchor="t">
              <a:spAutoFit/>
            </a:bodyPr>
            <a:lstStyle/>
            <a:p>
              <a:pPr algn="just"/>
              <a:r>
                <a:rPr lang="en-US" sz="1200" noProof="1">
                  <a:solidFill>
                    <a:schemeClr val="tx1">
                      <a:lumMod val="65000"/>
                      <a:lumOff val="35000"/>
                    </a:schemeClr>
                  </a:solidFill>
                </a:rPr>
                <a:t>Lorem ipsum dolor sit amet, nibh est. A magna maecenas, quam magna nec quis, lorem nunc. Suspendisse viverra sodales mauris, cras pharetra proin egestas arcu erat dolor, at amet. </a:t>
              </a:r>
            </a:p>
          </p:txBody>
        </p:sp>
      </p:grpSp>
      <p:grpSp>
        <p:nvGrpSpPr>
          <p:cNvPr id="14" name="Group 13">
            <a:extLst>
              <a:ext uri="{FF2B5EF4-FFF2-40B4-BE49-F238E27FC236}">
                <a16:creationId xmlns:a16="http://schemas.microsoft.com/office/drawing/2014/main" id="{C48C7D93-E4DD-1563-D3FA-FA4C8968261B}"/>
              </a:ext>
            </a:extLst>
          </p:cNvPr>
          <p:cNvGrpSpPr/>
          <p:nvPr/>
        </p:nvGrpSpPr>
        <p:grpSpPr>
          <a:xfrm>
            <a:off x="338440" y="3984371"/>
            <a:ext cx="2926080" cy="1290153"/>
            <a:chOff x="332936" y="4652338"/>
            <a:chExt cx="2926080" cy="1290153"/>
          </a:xfrm>
        </p:grpSpPr>
        <p:sp>
          <p:nvSpPr>
            <p:cNvPr id="15" name="TextBox 14">
              <a:extLst>
                <a:ext uri="{FF2B5EF4-FFF2-40B4-BE49-F238E27FC236}">
                  <a16:creationId xmlns:a16="http://schemas.microsoft.com/office/drawing/2014/main" id="{639446B5-5421-4BB0-CC0D-76FE8C19CB49}"/>
                </a:ext>
              </a:extLst>
            </p:cNvPr>
            <p:cNvSpPr txBox="1"/>
            <p:nvPr/>
          </p:nvSpPr>
          <p:spPr>
            <a:xfrm>
              <a:off x="332936" y="4652338"/>
              <a:ext cx="2926080" cy="461665"/>
            </a:xfrm>
            <a:prstGeom prst="rect">
              <a:avLst/>
            </a:prstGeom>
            <a:noFill/>
          </p:spPr>
          <p:txBody>
            <a:bodyPr wrap="square" lIns="0" rIns="0" rtlCol="0" anchor="b">
              <a:spAutoFit/>
            </a:bodyPr>
            <a:lstStyle/>
            <a:p>
              <a:pPr algn="r"/>
              <a:r>
                <a:rPr lang="en-US" sz="2400" b="1">
                  <a:solidFill>
                    <a:schemeClr val="accent5">
                      <a:lumMod val="75000"/>
                    </a:schemeClr>
                  </a:solidFill>
                </a:rPr>
                <a:t>Lorem Ipsum</a:t>
              </a:r>
            </a:p>
          </p:txBody>
        </p:sp>
        <p:sp>
          <p:nvSpPr>
            <p:cNvPr id="16" name="TextBox 15">
              <a:extLst>
                <a:ext uri="{FF2B5EF4-FFF2-40B4-BE49-F238E27FC236}">
                  <a16:creationId xmlns:a16="http://schemas.microsoft.com/office/drawing/2014/main" id="{A3A4F161-7D9F-0D40-A07F-9EA3AD4CCC68}"/>
                </a:ext>
              </a:extLst>
            </p:cNvPr>
            <p:cNvSpPr txBox="1"/>
            <p:nvPr/>
          </p:nvSpPr>
          <p:spPr>
            <a:xfrm>
              <a:off x="332936" y="5111494"/>
              <a:ext cx="2926080" cy="830997"/>
            </a:xfrm>
            <a:prstGeom prst="rect">
              <a:avLst/>
            </a:prstGeom>
            <a:noFill/>
          </p:spPr>
          <p:txBody>
            <a:bodyPr wrap="square" lIns="0" rIns="0" rtlCol="0" anchor="t">
              <a:spAutoFit/>
            </a:bodyPr>
            <a:lstStyle/>
            <a:p>
              <a:pPr algn="just"/>
              <a:r>
                <a:rPr lang="en-US" sz="1200">
                  <a:solidFill>
                    <a:schemeClr val="tx1">
                      <a:lumMod val="65000"/>
                      <a:lumOff val="35000"/>
                    </a:schemeClr>
                  </a:solidFill>
                </a:rPr>
                <a:t>Lorem ipsum dolor sit amet, nibh est. A magna maecenas, quam magna nec quis, lorem nunc. Suspendisse viverra sodales mauris, cras pharetra proin egestas arcu erat dolor, at amet. </a:t>
              </a:r>
            </a:p>
          </p:txBody>
        </p:sp>
      </p:grpSp>
      <p:grpSp>
        <p:nvGrpSpPr>
          <p:cNvPr id="17" name="Group 16">
            <a:extLst>
              <a:ext uri="{FF2B5EF4-FFF2-40B4-BE49-F238E27FC236}">
                <a16:creationId xmlns:a16="http://schemas.microsoft.com/office/drawing/2014/main" id="{D27D3404-D55C-97D7-0B58-0AEA087EAB75}"/>
              </a:ext>
            </a:extLst>
          </p:cNvPr>
          <p:cNvGrpSpPr/>
          <p:nvPr/>
        </p:nvGrpSpPr>
        <p:grpSpPr>
          <a:xfrm>
            <a:off x="8927481" y="1583477"/>
            <a:ext cx="2926080" cy="1290153"/>
            <a:chOff x="8921977" y="1242150"/>
            <a:chExt cx="2926080" cy="1290153"/>
          </a:xfrm>
        </p:grpSpPr>
        <p:sp>
          <p:nvSpPr>
            <p:cNvPr id="18" name="TextBox 17">
              <a:extLst>
                <a:ext uri="{FF2B5EF4-FFF2-40B4-BE49-F238E27FC236}">
                  <a16:creationId xmlns:a16="http://schemas.microsoft.com/office/drawing/2014/main" id="{05CE65E0-543B-4495-E1E3-EA8A09050F03}"/>
                </a:ext>
              </a:extLst>
            </p:cNvPr>
            <p:cNvSpPr txBox="1"/>
            <p:nvPr/>
          </p:nvSpPr>
          <p:spPr>
            <a:xfrm>
              <a:off x="8921977" y="1242150"/>
              <a:ext cx="2926080" cy="461665"/>
            </a:xfrm>
            <a:prstGeom prst="rect">
              <a:avLst/>
            </a:prstGeom>
            <a:noFill/>
          </p:spPr>
          <p:txBody>
            <a:bodyPr wrap="square" lIns="0" rIns="0" rtlCol="0" anchor="b">
              <a:spAutoFit/>
            </a:bodyPr>
            <a:lstStyle/>
            <a:p>
              <a:r>
                <a:rPr lang="en-US" sz="2400" b="1" noProof="1">
                  <a:solidFill>
                    <a:schemeClr val="accent2">
                      <a:lumMod val="75000"/>
                    </a:schemeClr>
                  </a:solidFill>
                </a:rPr>
                <a:t>LLM</a:t>
              </a:r>
            </a:p>
          </p:txBody>
        </p:sp>
        <p:sp>
          <p:nvSpPr>
            <p:cNvPr id="19" name="TextBox 18">
              <a:extLst>
                <a:ext uri="{FF2B5EF4-FFF2-40B4-BE49-F238E27FC236}">
                  <a16:creationId xmlns:a16="http://schemas.microsoft.com/office/drawing/2014/main" id="{57CD231B-68EA-A5EB-865D-9C6E74C2E7DA}"/>
                </a:ext>
              </a:extLst>
            </p:cNvPr>
            <p:cNvSpPr txBox="1"/>
            <p:nvPr/>
          </p:nvSpPr>
          <p:spPr>
            <a:xfrm>
              <a:off x="8921977" y="1701306"/>
              <a:ext cx="2926080" cy="830997"/>
            </a:xfrm>
            <a:prstGeom prst="rect">
              <a:avLst/>
            </a:prstGeom>
            <a:noFill/>
          </p:spPr>
          <p:txBody>
            <a:bodyPr wrap="square" lIns="0" rIns="0" rtlCol="0" anchor="t">
              <a:spAutoFit/>
            </a:bodyPr>
            <a:lstStyle/>
            <a:p>
              <a:pPr algn="just"/>
              <a:r>
                <a:rPr lang="en-US" sz="1200" noProof="1">
                  <a:solidFill>
                    <a:schemeClr val="tx1">
                      <a:lumMod val="65000"/>
                      <a:lumOff val="35000"/>
                    </a:schemeClr>
                  </a:solidFill>
                </a:rPr>
                <a:t>Lorem ipsum dolor sit amet, nibh est. A magna maecenas, quam magna nec quis, lorem nunc. Suspendisse viverra sodales mauris, cras pharetra proin egestas arcu erat dolor, at amet. </a:t>
              </a:r>
            </a:p>
          </p:txBody>
        </p:sp>
      </p:grpSp>
      <p:grpSp>
        <p:nvGrpSpPr>
          <p:cNvPr id="20" name="Group 19">
            <a:extLst>
              <a:ext uri="{FF2B5EF4-FFF2-40B4-BE49-F238E27FC236}">
                <a16:creationId xmlns:a16="http://schemas.microsoft.com/office/drawing/2014/main" id="{E097AB7C-C4BA-999E-9113-2DF0B84F2B9D}"/>
              </a:ext>
            </a:extLst>
          </p:cNvPr>
          <p:cNvGrpSpPr/>
          <p:nvPr/>
        </p:nvGrpSpPr>
        <p:grpSpPr>
          <a:xfrm>
            <a:off x="338440" y="1583477"/>
            <a:ext cx="2926080" cy="1290153"/>
            <a:chOff x="332936" y="2627766"/>
            <a:chExt cx="2926080" cy="1290153"/>
          </a:xfrm>
        </p:grpSpPr>
        <p:sp>
          <p:nvSpPr>
            <p:cNvPr id="21" name="TextBox 20">
              <a:extLst>
                <a:ext uri="{FF2B5EF4-FFF2-40B4-BE49-F238E27FC236}">
                  <a16:creationId xmlns:a16="http://schemas.microsoft.com/office/drawing/2014/main" id="{848F3747-699B-9C2C-072B-7CDBC164DA70}"/>
                </a:ext>
              </a:extLst>
            </p:cNvPr>
            <p:cNvSpPr txBox="1"/>
            <p:nvPr/>
          </p:nvSpPr>
          <p:spPr>
            <a:xfrm>
              <a:off x="332936" y="2627766"/>
              <a:ext cx="2926080" cy="461665"/>
            </a:xfrm>
            <a:prstGeom prst="rect">
              <a:avLst/>
            </a:prstGeom>
            <a:noFill/>
          </p:spPr>
          <p:txBody>
            <a:bodyPr wrap="square" lIns="0" rIns="0" rtlCol="0" anchor="b">
              <a:spAutoFit/>
            </a:bodyPr>
            <a:lstStyle/>
            <a:p>
              <a:pPr algn="r"/>
              <a:r>
                <a:rPr lang="en-US" sz="2400" b="1" noProof="1">
                  <a:solidFill>
                    <a:schemeClr val="accent1">
                      <a:lumMod val="75000"/>
                    </a:schemeClr>
                  </a:solidFill>
                </a:rPr>
                <a:t>Lorem Ipsum</a:t>
              </a:r>
            </a:p>
          </p:txBody>
        </p:sp>
        <p:sp>
          <p:nvSpPr>
            <p:cNvPr id="22" name="TextBox 21">
              <a:extLst>
                <a:ext uri="{FF2B5EF4-FFF2-40B4-BE49-F238E27FC236}">
                  <a16:creationId xmlns:a16="http://schemas.microsoft.com/office/drawing/2014/main" id="{F018FE6A-1240-1BAD-A44E-F7F0C88AB608}"/>
                </a:ext>
              </a:extLst>
            </p:cNvPr>
            <p:cNvSpPr txBox="1"/>
            <p:nvPr/>
          </p:nvSpPr>
          <p:spPr>
            <a:xfrm>
              <a:off x="332936" y="3086922"/>
              <a:ext cx="2926080" cy="830997"/>
            </a:xfrm>
            <a:prstGeom prst="rect">
              <a:avLst/>
            </a:prstGeom>
            <a:noFill/>
          </p:spPr>
          <p:txBody>
            <a:bodyPr wrap="square" lIns="0" rIns="0" rtlCol="0" anchor="t">
              <a:spAutoFit/>
            </a:bodyPr>
            <a:lstStyle/>
            <a:p>
              <a:pPr algn="just"/>
              <a:r>
                <a:rPr lang="en-US" sz="1200" noProof="1">
                  <a:solidFill>
                    <a:schemeClr val="tx1">
                      <a:lumMod val="65000"/>
                      <a:lumOff val="35000"/>
                    </a:schemeClr>
                  </a:solidFill>
                </a:rPr>
                <a:t>Lorem ipsum dolor sit amet, nibh est. A magna maecenas, quam magna nec quis, lorem nunc. Suspendisse viverra sodales mauris, cras pharetra proin egestas arcu erat dolor, at amet. </a:t>
              </a:r>
            </a:p>
          </p:txBody>
        </p:sp>
      </p:grpSp>
      <p:grpSp>
        <p:nvGrpSpPr>
          <p:cNvPr id="23" name="Group 22">
            <a:extLst>
              <a:ext uri="{FF2B5EF4-FFF2-40B4-BE49-F238E27FC236}">
                <a16:creationId xmlns:a16="http://schemas.microsoft.com/office/drawing/2014/main" id="{09912F8F-797D-4298-CC20-9100D78C8D08}"/>
              </a:ext>
            </a:extLst>
          </p:cNvPr>
          <p:cNvGrpSpPr/>
          <p:nvPr/>
        </p:nvGrpSpPr>
        <p:grpSpPr>
          <a:xfrm>
            <a:off x="5515356" y="2848354"/>
            <a:ext cx="1161288" cy="1161288"/>
            <a:chOff x="4709719" y="1843836"/>
            <a:chExt cx="1959428" cy="1959428"/>
          </a:xfrm>
        </p:grpSpPr>
        <p:sp>
          <p:nvSpPr>
            <p:cNvPr id="24" name="Freeform: Shape 28">
              <a:extLst>
                <a:ext uri="{FF2B5EF4-FFF2-40B4-BE49-F238E27FC236}">
                  <a16:creationId xmlns:a16="http://schemas.microsoft.com/office/drawing/2014/main" id="{DA3C0982-DB0A-5C29-35E3-8B2FE8578B97}"/>
                </a:ext>
              </a:extLst>
            </p:cNvPr>
            <p:cNvSpPr/>
            <p:nvPr/>
          </p:nvSpPr>
          <p:spPr>
            <a:xfrm>
              <a:off x="5689433" y="1843836"/>
              <a:ext cx="979714" cy="980365"/>
            </a:xfrm>
            <a:custGeom>
              <a:avLst/>
              <a:gdLst>
                <a:gd name="connsiteX0" fmla="*/ 0 w 979714"/>
                <a:gd name="connsiteY0" fmla="*/ 0 h 980365"/>
                <a:gd name="connsiteX1" fmla="*/ 979714 w 979714"/>
                <a:gd name="connsiteY1" fmla="*/ 979714 h 980365"/>
                <a:gd name="connsiteX2" fmla="*/ 979681 w 979714"/>
                <a:gd name="connsiteY2" fmla="*/ 980365 h 980365"/>
                <a:gd name="connsiteX3" fmla="*/ 0 w 979714"/>
                <a:gd name="connsiteY3" fmla="*/ 980365 h 980365"/>
              </a:gdLst>
              <a:ahLst/>
              <a:cxnLst>
                <a:cxn ang="0">
                  <a:pos x="connsiteX0" y="connsiteY0"/>
                </a:cxn>
                <a:cxn ang="0">
                  <a:pos x="connsiteX1" y="connsiteY1"/>
                </a:cxn>
                <a:cxn ang="0">
                  <a:pos x="connsiteX2" y="connsiteY2"/>
                </a:cxn>
                <a:cxn ang="0">
                  <a:pos x="connsiteX3" y="connsiteY3"/>
                </a:cxn>
              </a:cxnLst>
              <a:rect l="l" t="t" r="r" b="b"/>
              <a:pathLst>
                <a:path w="979714" h="980365">
                  <a:moveTo>
                    <a:pt x="0" y="0"/>
                  </a:moveTo>
                  <a:cubicBezTo>
                    <a:pt x="541081" y="0"/>
                    <a:pt x="979714" y="438633"/>
                    <a:pt x="979714" y="979714"/>
                  </a:cubicBezTo>
                  <a:lnTo>
                    <a:pt x="979681" y="980365"/>
                  </a:lnTo>
                  <a:lnTo>
                    <a:pt x="0" y="980365"/>
                  </a:ln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rtlCol="0" anchor="ctr">
              <a:noAutofit/>
            </a:bodyPr>
            <a:lstStyle/>
            <a:p>
              <a:pPr algn="ctr"/>
              <a:r>
                <a:rPr lang="en-US" sz="1400" b="1">
                  <a:solidFill>
                    <a:schemeClr val="accent2">
                      <a:lumMod val="50000"/>
                    </a:schemeClr>
                  </a:solidFill>
                </a:rPr>
                <a:t>01</a:t>
              </a:r>
            </a:p>
          </p:txBody>
        </p:sp>
        <p:sp>
          <p:nvSpPr>
            <p:cNvPr id="25" name="Freeform: Shape 29">
              <a:extLst>
                <a:ext uri="{FF2B5EF4-FFF2-40B4-BE49-F238E27FC236}">
                  <a16:creationId xmlns:a16="http://schemas.microsoft.com/office/drawing/2014/main" id="{245D5FF3-1EFB-C21A-66E7-B7184661A683}"/>
                </a:ext>
              </a:extLst>
            </p:cNvPr>
            <p:cNvSpPr/>
            <p:nvPr/>
          </p:nvSpPr>
          <p:spPr>
            <a:xfrm>
              <a:off x="4709719" y="1843836"/>
              <a:ext cx="979714" cy="979931"/>
            </a:xfrm>
            <a:custGeom>
              <a:avLst/>
              <a:gdLst>
                <a:gd name="connsiteX0" fmla="*/ 979714 w 979714"/>
                <a:gd name="connsiteY0" fmla="*/ 0 h 979931"/>
                <a:gd name="connsiteX1" fmla="*/ 979714 w 979714"/>
                <a:gd name="connsiteY1" fmla="*/ 979931 h 979931"/>
                <a:gd name="connsiteX2" fmla="*/ 11 w 979714"/>
                <a:gd name="connsiteY2" fmla="*/ 979931 h 979931"/>
                <a:gd name="connsiteX3" fmla="*/ 0 w 979714"/>
                <a:gd name="connsiteY3" fmla="*/ 979714 h 979931"/>
                <a:gd name="connsiteX4" fmla="*/ 979714 w 979714"/>
                <a:gd name="connsiteY4" fmla="*/ 0 h 9799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714" h="979931">
                  <a:moveTo>
                    <a:pt x="979714" y="0"/>
                  </a:moveTo>
                  <a:lnTo>
                    <a:pt x="979714" y="979931"/>
                  </a:lnTo>
                  <a:lnTo>
                    <a:pt x="11" y="979931"/>
                  </a:lnTo>
                  <a:lnTo>
                    <a:pt x="0" y="979714"/>
                  </a:lnTo>
                  <a:cubicBezTo>
                    <a:pt x="0" y="438633"/>
                    <a:pt x="438633" y="0"/>
                    <a:pt x="979714" y="0"/>
                  </a:cubicBezTo>
                  <a:close/>
                </a:path>
              </a:pathLst>
            </a:custGeom>
            <a:ln>
              <a:noFill/>
            </a:ln>
          </p:spPr>
          <p:style>
            <a:lnRef idx="2">
              <a:schemeClr val="accent1">
                <a:shade val="15000"/>
              </a:schemeClr>
            </a:lnRef>
            <a:fillRef idx="1">
              <a:schemeClr val="accent1"/>
            </a:fillRef>
            <a:effectRef idx="0">
              <a:schemeClr val="accent1"/>
            </a:effectRef>
            <a:fontRef idx="minor">
              <a:schemeClr val="lt1"/>
            </a:fontRef>
          </p:style>
          <p:txBody>
            <a:bodyPr wrap="square" rIns="0" rtlCol="0" anchor="ctr">
              <a:noAutofit/>
            </a:bodyPr>
            <a:lstStyle/>
            <a:p>
              <a:pPr algn="ctr"/>
              <a:r>
                <a:rPr lang="en-US" sz="1400" b="1">
                  <a:solidFill>
                    <a:schemeClr val="accent1">
                      <a:lumMod val="50000"/>
                    </a:schemeClr>
                  </a:solidFill>
                </a:rPr>
                <a:t>04</a:t>
              </a:r>
            </a:p>
          </p:txBody>
        </p:sp>
        <p:sp>
          <p:nvSpPr>
            <p:cNvPr id="26" name="Freeform: Shape 30">
              <a:extLst>
                <a:ext uri="{FF2B5EF4-FFF2-40B4-BE49-F238E27FC236}">
                  <a16:creationId xmlns:a16="http://schemas.microsoft.com/office/drawing/2014/main" id="{3FCEF8CA-B5AB-829D-CE09-C75041BD687C}"/>
                </a:ext>
              </a:extLst>
            </p:cNvPr>
            <p:cNvSpPr/>
            <p:nvPr/>
          </p:nvSpPr>
          <p:spPr>
            <a:xfrm>
              <a:off x="5689433" y="2824201"/>
              <a:ext cx="979681" cy="979063"/>
            </a:xfrm>
            <a:custGeom>
              <a:avLst/>
              <a:gdLst>
                <a:gd name="connsiteX0" fmla="*/ 0 w 979681"/>
                <a:gd name="connsiteY0" fmla="*/ 0 h 979063"/>
                <a:gd name="connsiteX1" fmla="*/ 979681 w 979681"/>
                <a:gd name="connsiteY1" fmla="*/ 0 h 979063"/>
                <a:gd name="connsiteX2" fmla="*/ 974656 w 979681"/>
                <a:gd name="connsiteY2" fmla="*/ 99519 h 979063"/>
                <a:gd name="connsiteX3" fmla="*/ 0 w 979681"/>
                <a:gd name="connsiteY3" fmla="*/ 979063 h 979063"/>
              </a:gdLst>
              <a:ahLst/>
              <a:cxnLst>
                <a:cxn ang="0">
                  <a:pos x="connsiteX0" y="connsiteY0"/>
                </a:cxn>
                <a:cxn ang="0">
                  <a:pos x="connsiteX1" y="connsiteY1"/>
                </a:cxn>
                <a:cxn ang="0">
                  <a:pos x="connsiteX2" y="connsiteY2"/>
                </a:cxn>
                <a:cxn ang="0">
                  <a:pos x="connsiteX3" y="connsiteY3"/>
                </a:cxn>
              </a:cxnLst>
              <a:rect l="l" t="t" r="r" b="b"/>
              <a:pathLst>
                <a:path w="979681" h="979063">
                  <a:moveTo>
                    <a:pt x="0" y="0"/>
                  </a:moveTo>
                  <a:lnTo>
                    <a:pt x="979681" y="0"/>
                  </a:lnTo>
                  <a:lnTo>
                    <a:pt x="974656" y="99519"/>
                  </a:lnTo>
                  <a:cubicBezTo>
                    <a:pt x="924485" y="593546"/>
                    <a:pt x="507264" y="979063"/>
                    <a:pt x="0" y="979063"/>
                  </a:cubicBezTo>
                  <a:close/>
                </a:path>
              </a:pathLst>
            </a:cu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rtlCol="0" anchor="ctr">
              <a:noAutofit/>
            </a:bodyPr>
            <a:lstStyle/>
            <a:p>
              <a:pPr algn="ctr"/>
              <a:r>
                <a:rPr lang="en-US" sz="1400" b="1">
                  <a:solidFill>
                    <a:schemeClr val="accent4">
                      <a:lumMod val="50000"/>
                    </a:schemeClr>
                  </a:solidFill>
                </a:rPr>
                <a:t>02</a:t>
              </a:r>
            </a:p>
          </p:txBody>
        </p:sp>
        <p:sp>
          <p:nvSpPr>
            <p:cNvPr id="27" name="Freeform: Shape 31">
              <a:extLst>
                <a:ext uri="{FF2B5EF4-FFF2-40B4-BE49-F238E27FC236}">
                  <a16:creationId xmlns:a16="http://schemas.microsoft.com/office/drawing/2014/main" id="{088F49C5-AF15-9580-9DE2-E8B6CCED6F22}"/>
                </a:ext>
              </a:extLst>
            </p:cNvPr>
            <p:cNvSpPr/>
            <p:nvPr/>
          </p:nvSpPr>
          <p:spPr>
            <a:xfrm>
              <a:off x="4709730" y="2823767"/>
              <a:ext cx="979703" cy="979497"/>
            </a:xfrm>
            <a:custGeom>
              <a:avLst/>
              <a:gdLst>
                <a:gd name="connsiteX0" fmla="*/ 0 w 979703"/>
                <a:gd name="connsiteY0" fmla="*/ 0 h 979497"/>
                <a:gd name="connsiteX1" fmla="*/ 979703 w 979703"/>
                <a:gd name="connsiteY1" fmla="*/ 0 h 979497"/>
                <a:gd name="connsiteX2" fmla="*/ 979703 w 979703"/>
                <a:gd name="connsiteY2" fmla="*/ 979497 h 979497"/>
                <a:gd name="connsiteX3" fmla="*/ 5047 w 979703"/>
                <a:gd name="connsiteY3" fmla="*/ 99953 h 979497"/>
              </a:gdLst>
              <a:ahLst/>
              <a:cxnLst>
                <a:cxn ang="0">
                  <a:pos x="connsiteX0" y="connsiteY0"/>
                </a:cxn>
                <a:cxn ang="0">
                  <a:pos x="connsiteX1" y="connsiteY1"/>
                </a:cxn>
                <a:cxn ang="0">
                  <a:pos x="connsiteX2" y="connsiteY2"/>
                </a:cxn>
                <a:cxn ang="0">
                  <a:pos x="connsiteX3" y="connsiteY3"/>
                </a:cxn>
              </a:cxnLst>
              <a:rect l="l" t="t" r="r" b="b"/>
              <a:pathLst>
                <a:path w="979703" h="979497">
                  <a:moveTo>
                    <a:pt x="0" y="0"/>
                  </a:moveTo>
                  <a:lnTo>
                    <a:pt x="979703" y="0"/>
                  </a:lnTo>
                  <a:lnTo>
                    <a:pt x="979703" y="979497"/>
                  </a:lnTo>
                  <a:cubicBezTo>
                    <a:pt x="472440" y="979497"/>
                    <a:pt x="55219" y="593980"/>
                    <a:pt x="5047" y="99953"/>
                  </a:cubicBezTo>
                  <a:close/>
                </a:path>
              </a:pathLst>
            </a:cu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91440" rIns="0" rtlCol="0" anchor="ctr">
              <a:noAutofit/>
            </a:bodyPr>
            <a:lstStyle/>
            <a:p>
              <a:pPr algn="ctr"/>
              <a:r>
                <a:rPr lang="en-US" sz="1400" b="1">
                  <a:solidFill>
                    <a:schemeClr val="accent5">
                      <a:lumMod val="50000"/>
                    </a:schemeClr>
                  </a:solidFill>
                </a:rPr>
                <a:t>03</a:t>
              </a:r>
            </a:p>
          </p:txBody>
        </p:sp>
      </p:grpSp>
      <p:pic>
        <p:nvPicPr>
          <p:cNvPr id="28" name="Graphic 27" descr="Rocket with solid fill">
            <a:extLst>
              <a:ext uri="{FF2B5EF4-FFF2-40B4-BE49-F238E27FC236}">
                <a16:creationId xmlns:a16="http://schemas.microsoft.com/office/drawing/2014/main" id="{76FB1745-4597-73FF-F57A-DA2130591AD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314930" y="1647929"/>
            <a:ext cx="1155908" cy="1155908"/>
          </a:xfrm>
          <a:prstGeom prst="rect">
            <a:avLst/>
          </a:prstGeom>
        </p:spPr>
      </p:pic>
      <p:pic>
        <p:nvPicPr>
          <p:cNvPr id="29" name="Graphic 28" descr="Users with solid fill">
            <a:extLst>
              <a:ext uri="{FF2B5EF4-FFF2-40B4-BE49-F238E27FC236}">
                <a16:creationId xmlns:a16="http://schemas.microsoft.com/office/drawing/2014/main" id="{940865B6-C0E1-B2B9-9FA5-386DA156D20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314930" y="4054161"/>
            <a:ext cx="1155908" cy="1155908"/>
          </a:xfrm>
          <a:prstGeom prst="rect">
            <a:avLst/>
          </a:prstGeom>
        </p:spPr>
      </p:pic>
      <p:pic>
        <p:nvPicPr>
          <p:cNvPr id="30" name="Graphic 29" descr="Gears with solid fill">
            <a:extLst>
              <a:ext uri="{FF2B5EF4-FFF2-40B4-BE49-F238E27FC236}">
                <a16:creationId xmlns:a16="http://schemas.microsoft.com/office/drawing/2014/main" id="{7D283646-7DE8-BCD3-9D71-BE5B7703D06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721162" y="4054161"/>
            <a:ext cx="1155908" cy="1155908"/>
          </a:xfrm>
          <a:prstGeom prst="rect">
            <a:avLst/>
          </a:prstGeom>
        </p:spPr>
      </p:pic>
      <p:pic>
        <p:nvPicPr>
          <p:cNvPr id="31" name="Graphic 30" descr="Lights On with solid fill">
            <a:extLst>
              <a:ext uri="{FF2B5EF4-FFF2-40B4-BE49-F238E27FC236}">
                <a16:creationId xmlns:a16="http://schemas.microsoft.com/office/drawing/2014/main" id="{9B7972AA-CEBE-A78D-F998-EBD965F596D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721161" y="1652476"/>
            <a:ext cx="1155908" cy="1155908"/>
          </a:xfrm>
          <a:prstGeom prst="rect">
            <a:avLst/>
          </a:prstGeom>
        </p:spPr>
      </p:pic>
    </p:spTree>
    <p:extLst>
      <p:ext uri="{BB962C8B-B14F-4D97-AF65-F5344CB8AC3E}">
        <p14:creationId xmlns:p14="http://schemas.microsoft.com/office/powerpoint/2010/main" val="131324158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_Use this_Citizens_Corp_rev">
  <a:themeElements>
    <a:clrScheme name="Citizens">
      <a:dk1>
        <a:srgbClr val="231F20"/>
      </a:dk1>
      <a:lt1>
        <a:srgbClr val="FFFFFF"/>
      </a:lt1>
      <a:dk2>
        <a:srgbClr val="006450"/>
      </a:dk2>
      <a:lt2>
        <a:srgbClr val="EEEEEE"/>
      </a:lt2>
      <a:accent1>
        <a:srgbClr val="008555"/>
      </a:accent1>
      <a:accent2>
        <a:srgbClr val="006450"/>
      </a:accent2>
      <a:accent3>
        <a:srgbClr val="F0F0E6"/>
      </a:accent3>
      <a:accent4>
        <a:srgbClr val="49FF75"/>
      </a:accent4>
      <a:accent5>
        <a:srgbClr val="003422"/>
      </a:accent5>
      <a:accent6>
        <a:srgbClr val="99CEBB"/>
      </a:accent6>
      <a:hlink>
        <a:srgbClr val="339D76"/>
      </a:hlink>
      <a:folHlink>
        <a:srgbClr val="878686"/>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1">
          <a:schemeClr val="accent1"/>
        </a:lnRef>
        <a:fillRef idx="3">
          <a:schemeClr val="accent1"/>
        </a:fillRef>
        <a:effectRef idx="2">
          <a:schemeClr val="accent1"/>
        </a:effectRef>
        <a:fontRef idx="minor">
          <a:schemeClr val="lt1"/>
        </a:fontRef>
      </a:style>
    </a:spDef>
    <a:lnDef>
      <a:spPr>
        <a:effectLst/>
        <a:scene3d>
          <a:camera prst="orthographicFront"/>
          <a:lightRig rig="threePt" dir="t"/>
        </a:scene3d>
        <a:sp3d>
          <a:bevelT w="0" h="0"/>
          <a:bevelB w="0" h="0"/>
        </a:sp3d>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E0A964CF61C5404C9C03C8DD1A1C2C51" ma:contentTypeVersion="9" ma:contentTypeDescription="Create a new document." ma:contentTypeScope="" ma:versionID="42bbfd673c6aa96c82a09dd0c201aba5">
  <xsd:schema xmlns:xsd="http://www.w3.org/2001/XMLSchema" xmlns:xs="http://www.w3.org/2001/XMLSchema" xmlns:p="http://schemas.microsoft.com/office/2006/metadata/properties" xmlns:ns2="f8b29536-11fa-42f0-a0f6-3983029b614c" targetNamespace="http://schemas.microsoft.com/office/2006/metadata/properties" ma:root="true" ma:fieldsID="db9487e670d955200506670954127f70" ns2:_="">
    <xsd:import namespace="f8b29536-11fa-42f0-a0f6-3983029b614c"/>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8b29536-11fa-42f0-a0f6-3983029b614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MediaServiceBillingMetadata" ma:index="16" nillable="true" ma:displayName="MediaServiceBillingMetadata" ma:hidden="true" ma:internalName="MediaServiceBilling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1782109-BDD8-4432-8255-562A2D07A6D9}">
  <ds:schemaRefs>
    <ds:schemaRef ds:uri="http://schemas.microsoft.com/sharepoint/v3/contenttype/forms"/>
  </ds:schemaRefs>
</ds:datastoreItem>
</file>

<file path=customXml/itemProps2.xml><?xml version="1.0" encoding="utf-8"?>
<ds:datastoreItem xmlns:ds="http://schemas.openxmlformats.org/officeDocument/2006/customXml" ds:itemID="{8CE847C1-9C50-471A-989F-CEEE791F939D}">
  <ds:schemaRefs>
    <ds:schemaRef ds:uri="f8b29536-11fa-42f0-a0f6-3983029b614c"/>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E1E255B1-EACB-468A-BB11-D89195723238}">
  <ds:schemaRefs>
    <ds:schemaRef ds:uri="f8b29536-11fa-42f0-a0f6-3983029b614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e0793d39-0939-496d-b129-198edd916feb}" enabled="0" method="" siteId="{e0793d39-0939-496d-b129-198edd916feb}" removed="1"/>
</clbl:labelList>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97</Slides>
  <Notes>33</Notes>
  <HiddenSlides>59</HiddenSlides>
  <ScaleCrop>false</ScaleCrop>
  <HeadingPairs>
    <vt:vector size="4" baseType="variant">
      <vt:variant>
        <vt:lpstr>Theme</vt:lpstr>
      </vt:variant>
      <vt:variant>
        <vt:i4>1</vt:i4>
      </vt:variant>
      <vt:variant>
        <vt:lpstr>Slide Titles</vt:lpstr>
      </vt:variant>
      <vt:variant>
        <vt:i4>97</vt:i4>
      </vt:variant>
    </vt:vector>
  </HeadingPairs>
  <TitlesOfParts>
    <vt:vector size="98" baseType="lpstr">
      <vt:lpstr>5_Use this_Citizens_Corp_rev</vt:lpstr>
      <vt:lpstr>PowerPoint Presentation</vt:lpstr>
      <vt:lpstr>AI Agents</vt:lpstr>
      <vt:lpstr>Agenda</vt:lpstr>
      <vt:lpstr>Intro To Agentic AI</vt:lpstr>
      <vt:lpstr>AI Agents Explained</vt:lpstr>
      <vt:lpstr>Is everything with an LLM an Agent?</vt:lpstr>
      <vt:lpstr>Is everything with an LLM an Agent?</vt:lpstr>
      <vt:lpstr>Agentic Progression Framework</vt:lpstr>
      <vt:lpstr>SPAR Framework</vt:lpstr>
      <vt:lpstr>How is Agentic AI different than GenAI?</vt:lpstr>
      <vt:lpstr>AI Agent vs. Traditional AI models/Chatbot</vt:lpstr>
      <vt:lpstr>AI Adoption is Up, Cost Down, And Revenue Increase</vt:lpstr>
      <vt:lpstr>Key Terminology</vt:lpstr>
      <vt:lpstr>Why do we use the term Agentic?</vt:lpstr>
      <vt:lpstr>AI Agent Market Growth</vt:lpstr>
      <vt:lpstr>Key Benefits &amp; Business Impact</vt:lpstr>
      <vt:lpstr>Understanding AI Agents &amp; Multi-Agent Systems</vt:lpstr>
      <vt:lpstr>Building a System of Agents</vt:lpstr>
      <vt:lpstr>Multi-Agent Systems</vt:lpstr>
      <vt:lpstr>Multi-Agent Systems</vt:lpstr>
      <vt:lpstr>Multi-Agent Systems</vt:lpstr>
      <vt:lpstr>Multi-Agent Systems</vt:lpstr>
      <vt:lpstr>The Rise of Language Agents</vt:lpstr>
      <vt:lpstr>A Single Agent View</vt:lpstr>
      <vt:lpstr>Why are AI Agents Important? (Key Benefits)</vt:lpstr>
      <vt:lpstr>The Core Agent Cycle</vt:lpstr>
      <vt:lpstr>The Role of Orchestration</vt:lpstr>
      <vt:lpstr>Challenges in AI Agent Systems</vt:lpstr>
      <vt:lpstr>Key Steps to Build an AI Agent</vt:lpstr>
      <vt:lpstr>Best Practices for Success</vt:lpstr>
      <vt:lpstr>AI Agent Platforms and Tools Landscape</vt:lpstr>
      <vt:lpstr>Top Open-Source AI Agent Platforms</vt:lpstr>
      <vt:lpstr>Key Infrastructure Layers</vt:lpstr>
      <vt:lpstr>Future Trends in AI Agent Development</vt:lpstr>
      <vt:lpstr>Picture This: Booking a Vacation</vt:lpstr>
      <vt:lpstr>Excelling at the wrong thing</vt:lpstr>
      <vt:lpstr>An alignment problem</vt:lpstr>
      <vt:lpstr>Scenario 1:</vt:lpstr>
      <vt:lpstr>Scenario 2:</vt:lpstr>
      <vt:lpstr>What is an Agent?</vt:lpstr>
      <vt:lpstr>A Common Thread</vt:lpstr>
      <vt:lpstr>Agentic AI: A Story of Revolution</vt:lpstr>
      <vt:lpstr>The Dream and Mirage of Autonomy</vt:lpstr>
      <vt:lpstr>Why Agents</vt:lpstr>
      <vt:lpstr>Profile and Persona</vt:lpstr>
      <vt:lpstr>Action and Tool Capabilities</vt:lpstr>
      <vt:lpstr>Knowledge and Memory</vt:lpstr>
      <vt:lpstr>Reasoning and Evaluation</vt:lpstr>
      <vt:lpstr>Planning and Feedback</vt:lpstr>
      <vt:lpstr>Demo: What does Orchestration Look Like?</vt:lpstr>
      <vt:lpstr>Building Your First Agent on Bedrock</vt:lpstr>
      <vt:lpstr>AI Agents: From Automation To Autonomy</vt:lpstr>
      <vt:lpstr>Prompting for Agents</vt:lpstr>
      <vt:lpstr>Intro to Agentic Concepts</vt:lpstr>
      <vt:lpstr>Reasoning</vt:lpstr>
      <vt:lpstr>Planning </vt:lpstr>
      <vt:lpstr>Tool Use for AI Agents</vt:lpstr>
      <vt:lpstr>PowerPoint Presentation</vt:lpstr>
      <vt:lpstr>Retrieval Augmented Generation for Agents</vt:lpstr>
      <vt:lpstr>Building Agentic Workflows</vt:lpstr>
      <vt:lpstr>Benchmarking Agentic Applications</vt:lpstr>
      <vt:lpstr>Building Agentic Workflows</vt:lpstr>
      <vt:lpstr>Privacy Safety and Ethics with Agents</vt:lpstr>
      <vt:lpstr>Human Agent Interaction</vt:lpstr>
      <vt:lpstr>Building Multi Agent Systems</vt:lpstr>
      <vt:lpstr>Tool Use for AI Agents</vt:lpstr>
      <vt:lpstr>PowerPoint Presentation</vt:lpstr>
      <vt:lpstr>What we will cover…</vt:lpstr>
      <vt:lpstr>Why Tools Matter in the Age of AI Agents</vt:lpstr>
      <vt:lpstr>The Detective’s Dilemma</vt:lpstr>
      <vt:lpstr>Dilemmas, Dilemmas, Dilemmas</vt:lpstr>
      <vt:lpstr>Let’s Solve A Crime with Tools</vt:lpstr>
      <vt:lpstr>Mo Tools, Mo Problems?</vt:lpstr>
      <vt:lpstr>Mo Tools, Mo Problems?</vt:lpstr>
      <vt:lpstr>Tools as Building Blocks: Demystifying Digital Capabilities</vt:lpstr>
      <vt:lpstr>What are some of the tools we can enable with Agents?</vt:lpstr>
      <vt:lpstr>Four Essential Components for Tool Usage</vt:lpstr>
      <vt:lpstr>Tools in a Broader Ecosystem RAISE Framework</vt:lpstr>
      <vt:lpstr>Operationalizing the RAISE Framework</vt:lpstr>
      <vt:lpstr>Find the tool internal monologue in your code</vt:lpstr>
      <vt:lpstr>Bridge Tooling</vt:lpstr>
      <vt:lpstr>Bridge Tooling</vt:lpstr>
      <vt:lpstr>PowerPoint Presentation</vt:lpstr>
      <vt:lpstr>Thought Exercise</vt:lpstr>
      <vt:lpstr>Avoid Tool Overload: The Art of Minimalism in AI Design</vt:lpstr>
      <vt:lpstr>How Agents See Their Tools</vt:lpstr>
      <vt:lpstr>Inside the AI Agent’s Toolkit: From Words to Actions</vt:lpstr>
      <vt:lpstr>Bridge Tool Use</vt:lpstr>
      <vt:lpstr>How AI Agents Plan, Organize, and Adapt</vt:lpstr>
      <vt:lpstr>Tool Resilience: Planning for the Inevitable</vt:lpstr>
      <vt:lpstr>The Science Behind AI Agent Behavior</vt:lpstr>
      <vt:lpstr>When Tools Meet Trust</vt:lpstr>
      <vt:lpstr>Monitoring, Auditing, and Keeping Agents in Check</vt:lpstr>
      <vt:lpstr>When Things Go Wrong: Lessons from the Field</vt:lpstr>
      <vt:lpstr>The Future of Agent Adoption</vt:lpstr>
      <vt:lpstr>Paradox of Plenty: Why More Tools Can Mean More Constraint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Jones, Rebecca</dc:creator>
  <cp:revision>1</cp:revision>
  <dcterms:created xsi:type="dcterms:W3CDTF">2025-02-05T21:25:25Z</dcterms:created>
  <dcterms:modified xsi:type="dcterms:W3CDTF">2025-08-21T20:59: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0A964CF61C5404C9C03C8DD1A1C2C51</vt:lpwstr>
  </property>
  <property fmtid="{D5CDD505-2E9C-101B-9397-08002B2CF9AE}" pid="3" name="MediaServiceImageTags">
    <vt:lpwstr/>
  </property>
</Properties>
</file>